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2" r:id="rId15"/>
    <p:sldId id="271" r:id="rId16"/>
    <p:sldId id="270" r:id="rId17"/>
    <p:sldId id="276" r:id="rId18"/>
    <p:sldId id="307" r:id="rId19"/>
    <p:sldId id="306" r:id="rId20"/>
    <p:sldId id="308" r:id="rId21"/>
    <p:sldId id="309" r:id="rId22"/>
    <p:sldId id="310" r:id="rId23"/>
    <p:sldId id="311" r:id="rId24"/>
    <p:sldId id="312" r:id="rId25"/>
    <p:sldId id="299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3" d="100"/>
          <a:sy n="73" d="100"/>
        </p:scale>
        <p:origin x="-1284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2943B6-5852-46FA-B03E-77A9D6C0C530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5CA598-2AC6-465F-A53A-C79C49AC6CD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42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5CA598-2AC6-465F-A53A-C79C49AC6CD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03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3072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F344021A-72FD-4720-87E0-4450996F1FAD}" type="slidenum">
              <a:rPr lang="en-US" sz="1200"/>
              <a:pPr eaLnBrk="1" hangingPunct="1"/>
              <a:t>25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3984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871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2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www.domainname.com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2330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N°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98721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N°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14281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ACE8A1A-EF06-42BD-8183-7D22FECA910D}" type="slidenum">
              <a:rPr lang="en-US" smtClean="0"/>
              <a:pPr/>
              <a:t>‹N°›</a:t>
            </a:fld>
            <a:r>
              <a:rPr lang="en-US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67137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48585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24069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rgbClr val="D5D5D5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85275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FFFFFF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5"/>
          </p:nvPr>
        </p:nvSpPr>
        <p:spPr>
          <a:xfrm>
            <a:off x="6858000" y="6483841"/>
            <a:ext cx="2133600" cy="383193"/>
          </a:xfrm>
        </p:spPr>
        <p:txBody>
          <a:bodyPr/>
          <a:lstStyle/>
          <a:p>
            <a:r>
              <a:rPr lang="en-US" smtClean="0"/>
              <a:t>www.domainname.com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152400" y="6484937"/>
            <a:ext cx="1333500" cy="381000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343400" y="6492875"/>
            <a:ext cx="457200" cy="365125"/>
          </a:xfrm>
        </p:spPr>
        <p:txBody>
          <a:bodyPr/>
          <a:lstStyle/>
          <a:p>
            <a:fld id="{3101D46F-57A9-43DB-8B55-C38BE222674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938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°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407834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5177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685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351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231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763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05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761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39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623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1E27D-3888-458A-B1C5-46C7959EC9BC}" type="datetimeFigureOut">
              <a:rPr lang="en-US" smtClean="0"/>
              <a:t>2/7/201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4B718C-D705-4066-8227-2DC8FB3878E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60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84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notesSlide" Target="../notesSlides/notesSlide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vmlDrawing" Target="../drawings/vmlDrawing1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1.emf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7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/>
          <p:cNvCxnSpPr>
            <a:endCxn id="44" idx="1"/>
          </p:cNvCxnSpPr>
          <p:nvPr>
            <p:custDataLst>
              <p:tags r:id="rId1"/>
            </p:custDataLst>
          </p:nvPr>
        </p:nvCxnSpPr>
        <p:spPr>
          <a:xfrm>
            <a:off x="0" y="6334155"/>
            <a:ext cx="4074169" cy="0"/>
          </a:xfrm>
          <a:prstGeom prst="line">
            <a:avLst/>
          </a:prstGeom>
          <a:ln w="12700">
            <a:solidFill>
              <a:srgbClr val="F1C4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44" idx="3"/>
          </p:cNvCxnSpPr>
          <p:nvPr>
            <p:custDataLst>
              <p:tags r:id="rId2"/>
            </p:custDataLst>
          </p:nvPr>
        </p:nvCxnSpPr>
        <p:spPr>
          <a:xfrm>
            <a:off x="5069827" y="6334155"/>
            <a:ext cx="4074173" cy="0"/>
          </a:xfrm>
          <a:prstGeom prst="line">
            <a:avLst/>
          </a:prstGeom>
          <a:ln w="12700">
            <a:solidFill>
              <a:srgbClr val="F1C4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3"/>
            </p:custDataLst>
          </p:nvPr>
        </p:nvSpPr>
        <p:spPr>
          <a:xfrm>
            <a:off x="4074169" y="6180266"/>
            <a:ext cx="9956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err="1" smtClean="0">
                <a:solidFill>
                  <a:srgbClr val="F1C40F"/>
                </a:solidFill>
                <a:latin typeface="Calibri Light" pitchFamily="34" charset="0"/>
              </a:rPr>
              <a:t>DataNest</a:t>
            </a:r>
            <a:r>
              <a:rPr lang="en-US" sz="1400" dirty="0" smtClean="0">
                <a:solidFill>
                  <a:srgbClr val="F1C40F"/>
                </a:solidFill>
                <a:latin typeface="Calibri Light" pitchFamily="34" charset="0"/>
              </a:rPr>
              <a:t>©</a:t>
            </a:r>
            <a:endParaRPr lang="en-US" sz="1400" dirty="0">
              <a:solidFill>
                <a:srgbClr val="F1C40F"/>
              </a:solidFill>
              <a:latin typeface="Calibri Light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70567" y="3432885"/>
            <a:ext cx="8202888" cy="1354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5400" b="1" dirty="0" err="1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tx2"/>
                </a:solidFill>
                <a:latin typeface="Khmer UI" pitchFamily="34" charset="0"/>
                <a:cs typeface="Khmer UI" pitchFamily="34" charset="0"/>
              </a:rPr>
              <a:t>DataNest</a:t>
            </a:r>
            <a:r>
              <a:rPr lang="fr-FR" sz="5400" b="1" dirty="0" smtClean="0">
                <a:solidFill>
                  <a:srgbClr val="F1C40F"/>
                </a:solidFill>
                <a:latin typeface="Khmer UI" pitchFamily="34" charset="0"/>
                <a:cs typeface="Khmer UI" pitchFamily="34" charset="0"/>
              </a:rPr>
              <a:t>©</a:t>
            </a:r>
            <a:endParaRPr lang="en-US" sz="5400" b="1" dirty="0" smtClean="0">
              <a:solidFill>
                <a:srgbClr val="F1C40F"/>
              </a:solidFill>
              <a:latin typeface="Khmer UI" pitchFamily="34" charset="0"/>
              <a:cs typeface="Khmer UI" pitchFamily="34" charset="0"/>
            </a:endParaRPr>
          </a:p>
          <a:p>
            <a:pPr algn="ctr"/>
            <a:r>
              <a:rPr lang="fr-FR" sz="2800" b="1" i="1" dirty="0" err="1" smtClean="0">
                <a:solidFill>
                  <a:srgbClr val="F1C40F"/>
                </a:solidFill>
                <a:latin typeface="Yu Gothic Light" pitchFamily="34" charset="-128"/>
                <a:ea typeface="Yu Gothic Light" pitchFamily="34" charset="-128"/>
              </a:rPr>
              <a:t>BigData</a:t>
            </a:r>
            <a:r>
              <a:rPr lang="fr-FR" sz="2800" b="1" i="1" dirty="0" smtClean="0">
                <a:solidFill>
                  <a:srgbClr val="F1C40F"/>
                </a:solidFill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2800" b="1" i="1" dirty="0" err="1" smtClean="0">
                <a:solidFill>
                  <a:srgbClr val="F1C40F"/>
                </a:solidFill>
                <a:latin typeface="Yu Gothic Light" pitchFamily="34" charset="-128"/>
                <a:ea typeface="Yu Gothic Light" pitchFamily="34" charset="-128"/>
              </a:rPr>
              <a:t>advise</a:t>
            </a:r>
            <a:r>
              <a:rPr lang="fr-FR" sz="2800" b="1" i="1" dirty="0" smtClean="0">
                <a:solidFill>
                  <a:srgbClr val="F1C40F"/>
                </a:solidFill>
                <a:latin typeface="Yu Gothic Light" pitchFamily="34" charset="-128"/>
                <a:ea typeface="Yu Gothic Light" pitchFamily="34" charset="-128"/>
              </a:rPr>
              <a:t> for </a:t>
            </a:r>
            <a:r>
              <a:rPr lang="fr-FR" sz="2800" b="1" i="1" dirty="0" err="1" smtClean="0">
                <a:solidFill>
                  <a:srgbClr val="F1C40F"/>
                </a:solidFill>
                <a:latin typeface="Yu Gothic Light" pitchFamily="34" charset="-128"/>
                <a:ea typeface="Yu Gothic Light" pitchFamily="34" charset="-128"/>
              </a:rPr>
              <a:t>your</a:t>
            </a:r>
            <a:r>
              <a:rPr lang="fr-FR" sz="2800" b="1" i="1" dirty="0" smtClean="0">
                <a:solidFill>
                  <a:srgbClr val="F1C40F"/>
                </a:solidFill>
                <a:latin typeface="Yu Gothic Light" pitchFamily="34" charset="-128"/>
                <a:ea typeface="Yu Gothic Light" pitchFamily="34" charset="-128"/>
              </a:rPr>
              <a:t> real-time social performance.</a:t>
            </a:r>
            <a:endParaRPr lang="fr-FR" sz="5400" b="1" i="1" dirty="0" smtClean="0">
              <a:solidFill>
                <a:srgbClr val="F1C40F"/>
              </a:solidFill>
              <a:latin typeface="Yu Gothic Light" pitchFamily="34" charset="-128"/>
              <a:ea typeface="Yu Gothic Light" pitchFamily="34" charset="-128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2819399" y="2682285"/>
            <a:ext cx="3605488" cy="746715"/>
            <a:chOff x="2819400" y="3450751"/>
            <a:chExt cx="3605488" cy="746715"/>
          </a:xfrm>
        </p:grpSpPr>
        <p:grpSp>
          <p:nvGrpSpPr>
            <p:cNvPr id="5" name="Group 4"/>
            <p:cNvGrpSpPr/>
            <p:nvPr/>
          </p:nvGrpSpPr>
          <p:grpSpPr>
            <a:xfrm>
              <a:off x="2819400" y="3450751"/>
              <a:ext cx="697500" cy="746715"/>
              <a:chOff x="2819400" y="3450751"/>
              <a:chExt cx="697500" cy="746715"/>
            </a:xfrm>
          </p:grpSpPr>
          <p:grpSp>
            <p:nvGrpSpPr>
              <p:cNvPr id="89" name="Group 88"/>
              <p:cNvGrpSpPr/>
              <p:nvPr/>
            </p:nvGrpSpPr>
            <p:grpSpPr>
              <a:xfrm>
                <a:off x="2819400" y="3450751"/>
                <a:ext cx="697500" cy="746715"/>
                <a:chOff x="-1046920" y="2123773"/>
                <a:chExt cx="1219200" cy="1305227"/>
              </a:xfrm>
            </p:grpSpPr>
            <p:sp>
              <p:nvSpPr>
                <p:cNvPr id="90" name="Oval 89"/>
                <p:cNvSpPr/>
                <p:nvPr/>
              </p:nvSpPr>
              <p:spPr>
                <a:xfrm>
                  <a:off x="-1046920" y="2209800"/>
                  <a:ext cx="1219200" cy="12192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000"/>
                </a:p>
              </p:txBody>
            </p:sp>
            <p:sp>
              <p:nvSpPr>
                <p:cNvPr id="91" name="Oval 90"/>
                <p:cNvSpPr/>
                <p:nvPr/>
              </p:nvSpPr>
              <p:spPr>
                <a:xfrm>
                  <a:off x="-961755" y="2294965"/>
                  <a:ext cx="1048871" cy="1048871"/>
                </a:xfrm>
                <a:prstGeom prst="ellipse">
                  <a:avLst/>
                </a:prstGeom>
                <a:solidFill>
                  <a:srgbClr val="F1C40F"/>
                </a:solidFill>
                <a:ln w="38100">
                  <a:solidFill>
                    <a:srgbClr val="D6DAD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000"/>
                </a:p>
              </p:txBody>
            </p:sp>
            <p:sp>
              <p:nvSpPr>
                <p:cNvPr id="92" name="Oval 91"/>
                <p:cNvSpPr/>
                <p:nvPr/>
              </p:nvSpPr>
              <p:spPr>
                <a:xfrm>
                  <a:off x="-627820" y="2123773"/>
                  <a:ext cx="381000" cy="381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rgbClr val="F1C40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sz="700" b="1" dirty="0" smtClean="0">
                      <a:solidFill>
                        <a:srgbClr val="7F8C8D"/>
                      </a:solidFill>
                      <a:latin typeface="Calibri Light" panose="020F0302020204030204" pitchFamily="34" charset="0"/>
                    </a:rPr>
                    <a:t>1</a:t>
                  </a:r>
                  <a:endParaRPr lang="id-ID" sz="700" b="1" dirty="0">
                    <a:solidFill>
                      <a:srgbClr val="7F8C8D"/>
                    </a:solidFill>
                    <a:latin typeface="Calibri Light" panose="020F0302020204030204" pitchFamily="34" charset="0"/>
                  </a:endParaRPr>
                </a:p>
              </p:txBody>
            </p:sp>
          </p:grpSp>
          <p:grpSp>
            <p:nvGrpSpPr>
              <p:cNvPr id="93" name="Group 92"/>
              <p:cNvGrpSpPr/>
              <p:nvPr/>
            </p:nvGrpSpPr>
            <p:grpSpPr>
              <a:xfrm>
                <a:off x="3059672" y="3711397"/>
                <a:ext cx="216956" cy="318836"/>
                <a:chOff x="7188200" y="1789113"/>
                <a:chExt cx="469901" cy="690563"/>
              </a:xfrm>
              <a:solidFill>
                <a:schemeClr val="bg1"/>
              </a:solidFill>
            </p:grpSpPr>
            <p:sp>
              <p:nvSpPr>
                <p:cNvPr id="94" name="Freeform 121"/>
                <p:cNvSpPr>
                  <a:spLocks/>
                </p:cNvSpPr>
                <p:nvPr/>
              </p:nvSpPr>
              <p:spPr bwMode="auto">
                <a:xfrm>
                  <a:off x="7243763" y="1925638"/>
                  <a:ext cx="220663" cy="28575"/>
                </a:xfrm>
                <a:custGeom>
                  <a:avLst/>
                  <a:gdLst>
                    <a:gd name="T0" fmla="*/ 391 w 417"/>
                    <a:gd name="T1" fmla="*/ 54 h 54"/>
                    <a:gd name="T2" fmla="*/ 26 w 417"/>
                    <a:gd name="T3" fmla="*/ 54 h 54"/>
                    <a:gd name="T4" fmla="*/ 21 w 417"/>
                    <a:gd name="T5" fmla="*/ 52 h 54"/>
                    <a:gd name="T6" fmla="*/ 15 w 417"/>
                    <a:gd name="T7" fmla="*/ 51 h 54"/>
                    <a:gd name="T8" fmla="*/ 11 w 417"/>
                    <a:gd name="T9" fmla="*/ 49 h 54"/>
                    <a:gd name="T10" fmla="*/ 7 w 417"/>
                    <a:gd name="T11" fmla="*/ 45 h 54"/>
                    <a:gd name="T12" fmla="*/ 4 w 417"/>
                    <a:gd name="T13" fmla="*/ 42 h 54"/>
                    <a:gd name="T14" fmla="*/ 3 w 417"/>
                    <a:gd name="T15" fmla="*/ 38 h 54"/>
                    <a:gd name="T16" fmla="*/ 1 w 417"/>
                    <a:gd name="T17" fmla="*/ 32 h 54"/>
                    <a:gd name="T18" fmla="*/ 0 w 417"/>
                    <a:gd name="T19" fmla="*/ 28 h 54"/>
                    <a:gd name="T20" fmla="*/ 1 w 417"/>
                    <a:gd name="T21" fmla="*/ 22 h 54"/>
                    <a:gd name="T22" fmla="*/ 3 w 417"/>
                    <a:gd name="T23" fmla="*/ 18 h 54"/>
                    <a:gd name="T24" fmla="*/ 4 w 417"/>
                    <a:gd name="T25" fmla="*/ 12 h 54"/>
                    <a:gd name="T26" fmla="*/ 7 w 417"/>
                    <a:gd name="T27" fmla="*/ 9 h 54"/>
                    <a:gd name="T28" fmla="*/ 11 w 417"/>
                    <a:gd name="T29" fmla="*/ 6 h 54"/>
                    <a:gd name="T30" fmla="*/ 15 w 417"/>
                    <a:gd name="T31" fmla="*/ 3 h 54"/>
                    <a:gd name="T32" fmla="*/ 21 w 417"/>
                    <a:gd name="T33" fmla="*/ 2 h 54"/>
                    <a:gd name="T34" fmla="*/ 26 w 417"/>
                    <a:gd name="T35" fmla="*/ 0 h 54"/>
                    <a:gd name="T36" fmla="*/ 391 w 417"/>
                    <a:gd name="T37" fmla="*/ 0 h 54"/>
                    <a:gd name="T38" fmla="*/ 397 w 417"/>
                    <a:gd name="T39" fmla="*/ 2 h 54"/>
                    <a:gd name="T40" fmla="*/ 401 w 417"/>
                    <a:gd name="T41" fmla="*/ 3 h 54"/>
                    <a:gd name="T42" fmla="*/ 406 w 417"/>
                    <a:gd name="T43" fmla="*/ 6 h 54"/>
                    <a:gd name="T44" fmla="*/ 410 w 417"/>
                    <a:gd name="T45" fmla="*/ 9 h 54"/>
                    <a:gd name="T46" fmla="*/ 413 w 417"/>
                    <a:gd name="T47" fmla="*/ 12 h 54"/>
                    <a:gd name="T48" fmla="*/ 416 w 417"/>
                    <a:gd name="T49" fmla="*/ 18 h 54"/>
                    <a:gd name="T50" fmla="*/ 417 w 417"/>
                    <a:gd name="T51" fmla="*/ 22 h 54"/>
                    <a:gd name="T52" fmla="*/ 417 w 417"/>
                    <a:gd name="T53" fmla="*/ 28 h 54"/>
                    <a:gd name="T54" fmla="*/ 417 w 417"/>
                    <a:gd name="T55" fmla="*/ 32 h 54"/>
                    <a:gd name="T56" fmla="*/ 416 w 417"/>
                    <a:gd name="T57" fmla="*/ 38 h 54"/>
                    <a:gd name="T58" fmla="*/ 413 w 417"/>
                    <a:gd name="T59" fmla="*/ 42 h 54"/>
                    <a:gd name="T60" fmla="*/ 410 w 417"/>
                    <a:gd name="T61" fmla="*/ 45 h 54"/>
                    <a:gd name="T62" fmla="*/ 406 w 417"/>
                    <a:gd name="T63" fmla="*/ 49 h 54"/>
                    <a:gd name="T64" fmla="*/ 401 w 417"/>
                    <a:gd name="T65" fmla="*/ 51 h 54"/>
                    <a:gd name="T66" fmla="*/ 397 w 417"/>
                    <a:gd name="T67" fmla="*/ 52 h 54"/>
                    <a:gd name="T68" fmla="*/ 391 w 417"/>
                    <a:gd name="T69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17" h="54">
                      <a:moveTo>
                        <a:pt x="391" y="54"/>
                      </a:moveTo>
                      <a:lnTo>
                        <a:pt x="26" y="54"/>
                      </a:lnTo>
                      <a:lnTo>
                        <a:pt x="21" y="52"/>
                      </a:lnTo>
                      <a:lnTo>
                        <a:pt x="15" y="51"/>
                      </a:lnTo>
                      <a:lnTo>
                        <a:pt x="11" y="49"/>
                      </a:lnTo>
                      <a:lnTo>
                        <a:pt x="7" y="45"/>
                      </a:lnTo>
                      <a:lnTo>
                        <a:pt x="4" y="42"/>
                      </a:lnTo>
                      <a:lnTo>
                        <a:pt x="3" y="38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1" y="22"/>
                      </a:lnTo>
                      <a:lnTo>
                        <a:pt x="3" y="18"/>
                      </a:lnTo>
                      <a:lnTo>
                        <a:pt x="4" y="12"/>
                      </a:lnTo>
                      <a:lnTo>
                        <a:pt x="7" y="9"/>
                      </a:lnTo>
                      <a:lnTo>
                        <a:pt x="11" y="6"/>
                      </a:lnTo>
                      <a:lnTo>
                        <a:pt x="15" y="3"/>
                      </a:lnTo>
                      <a:lnTo>
                        <a:pt x="21" y="2"/>
                      </a:lnTo>
                      <a:lnTo>
                        <a:pt x="26" y="0"/>
                      </a:lnTo>
                      <a:lnTo>
                        <a:pt x="391" y="0"/>
                      </a:lnTo>
                      <a:lnTo>
                        <a:pt x="397" y="2"/>
                      </a:lnTo>
                      <a:lnTo>
                        <a:pt x="401" y="3"/>
                      </a:lnTo>
                      <a:lnTo>
                        <a:pt x="406" y="6"/>
                      </a:lnTo>
                      <a:lnTo>
                        <a:pt x="410" y="9"/>
                      </a:lnTo>
                      <a:lnTo>
                        <a:pt x="413" y="12"/>
                      </a:lnTo>
                      <a:lnTo>
                        <a:pt x="416" y="18"/>
                      </a:lnTo>
                      <a:lnTo>
                        <a:pt x="417" y="22"/>
                      </a:lnTo>
                      <a:lnTo>
                        <a:pt x="417" y="28"/>
                      </a:lnTo>
                      <a:lnTo>
                        <a:pt x="417" y="32"/>
                      </a:lnTo>
                      <a:lnTo>
                        <a:pt x="416" y="38"/>
                      </a:lnTo>
                      <a:lnTo>
                        <a:pt x="413" y="42"/>
                      </a:lnTo>
                      <a:lnTo>
                        <a:pt x="410" y="45"/>
                      </a:lnTo>
                      <a:lnTo>
                        <a:pt x="406" y="49"/>
                      </a:lnTo>
                      <a:lnTo>
                        <a:pt x="401" y="51"/>
                      </a:lnTo>
                      <a:lnTo>
                        <a:pt x="397" y="52"/>
                      </a:lnTo>
                      <a:lnTo>
                        <a:pt x="391" y="5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95" name="Freeform 122"/>
                <p:cNvSpPr>
                  <a:spLocks/>
                </p:cNvSpPr>
                <p:nvPr/>
              </p:nvSpPr>
              <p:spPr bwMode="auto">
                <a:xfrm>
                  <a:off x="7243763" y="2038351"/>
                  <a:ext cx="220663" cy="26988"/>
                </a:xfrm>
                <a:custGeom>
                  <a:avLst/>
                  <a:gdLst>
                    <a:gd name="T0" fmla="*/ 391 w 417"/>
                    <a:gd name="T1" fmla="*/ 51 h 51"/>
                    <a:gd name="T2" fmla="*/ 26 w 417"/>
                    <a:gd name="T3" fmla="*/ 51 h 51"/>
                    <a:gd name="T4" fmla="*/ 21 w 417"/>
                    <a:gd name="T5" fmla="*/ 50 h 51"/>
                    <a:gd name="T6" fmla="*/ 15 w 417"/>
                    <a:gd name="T7" fmla="*/ 49 h 51"/>
                    <a:gd name="T8" fmla="*/ 11 w 417"/>
                    <a:gd name="T9" fmla="*/ 47 h 51"/>
                    <a:gd name="T10" fmla="*/ 7 w 417"/>
                    <a:gd name="T11" fmla="*/ 44 h 51"/>
                    <a:gd name="T12" fmla="*/ 4 w 417"/>
                    <a:gd name="T13" fmla="*/ 40 h 51"/>
                    <a:gd name="T14" fmla="*/ 3 w 417"/>
                    <a:gd name="T15" fmla="*/ 36 h 51"/>
                    <a:gd name="T16" fmla="*/ 1 w 417"/>
                    <a:gd name="T17" fmla="*/ 30 h 51"/>
                    <a:gd name="T18" fmla="*/ 0 w 417"/>
                    <a:gd name="T19" fmla="*/ 26 h 51"/>
                    <a:gd name="T20" fmla="*/ 1 w 417"/>
                    <a:gd name="T21" fmla="*/ 20 h 51"/>
                    <a:gd name="T22" fmla="*/ 3 w 417"/>
                    <a:gd name="T23" fmla="*/ 15 h 51"/>
                    <a:gd name="T24" fmla="*/ 4 w 417"/>
                    <a:gd name="T25" fmla="*/ 11 h 51"/>
                    <a:gd name="T26" fmla="*/ 7 w 417"/>
                    <a:gd name="T27" fmla="*/ 7 h 51"/>
                    <a:gd name="T28" fmla="*/ 11 w 417"/>
                    <a:gd name="T29" fmla="*/ 4 h 51"/>
                    <a:gd name="T30" fmla="*/ 15 w 417"/>
                    <a:gd name="T31" fmla="*/ 1 h 51"/>
                    <a:gd name="T32" fmla="*/ 21 w 417"/>
                    <a:gd name="T33" fmla="*/ 0 h 51"/>
                    <a:gd name="T34" fmla="*/ 26 w 417"/>
                    <a:gd name="T35" fmla="*/ 0 h 51"/>
                    <a:gd name="T36" fmla="*/ 391 w 417"/>
                    <a:gd name="T37" fmla="*/ 0 h 51"/>
                    <a:gd name="T38" fmla="*/ 397 w 417"/>
                    <a:gd name="T39" fmla="*/ 0 h 51"/>
                    <a:gd name="T40" fmla="*/ 401 w 417"/>
                    <a:gd name="T41" fmla="*/ 1 h 51"/>
                    <a:gd name="T42" fmla="*/ 406 w 417"/>
                    <a:gd name="T43" fmla="*/ 4 h 51"/>
                    <a:gd name="T44" fmla="*/ 410 w 417"/>
                    <a:gd name="T45" fmla="*/ 7 h 51"/>
                    <a:gd name="T46" fmla="*/ 413 w 417"/>
                    <a:gd name="T47" fmla="*/ 11 h 51"/>
                    <a:gd name="T48" fmla="*/ 416 w 417"/>
                    <a:gd name="T49" fmla="*/ 15 h 51"/>
                    <a:gd name="T50" fmla="*/ 417 w 417"/>
                    <a:gd name="T51" fmla="*/ 20 h 51"/>
                    <a:gd name="T52" fmla="*/ 417 w 417"/>
                    <a:gd name="T53" fmla="*/ 26 h 51"/>
                    <a:gd name="T54" fmla="*/ 417 w 417"/>
                    <a:gd name="T55" fmla="*/ 30 h 51"/>
                    <a:gd name="T56" fmla="*/ 416 w 417"/>
                    <a:gd name="T57" fmla="*/ 36 h 51"/>
                    <a:gd name="T58" fmla="*/ 413 w 417"/>
                    <a:gd name="T59" fmla="*/ 40 h 51"/>
                    <a:gd name="T60" fmla="*/ 410 w 417"/>
                    <a:gd name="T61" fmla="*/ 44 h 51"/>
                    <a:gd name="T62" fmla="*/ 406 w 417"/>
                    <a:gd name="T63" fmla="*/ 47 h 51"/>
                    <a:gd name="T64" fmla="*/ 401 w 417"/>
                    <a:gd name="T65" fmla="*/ 49 h 51"/>
                    <a:gd name="T66" fmla="*/ 397 w 417"/>
                    <a:gd name="T67" fmla="*/ 50 h 51"/>
                    <a:gd name="T68" fmla="*/ 391 w 417"/>
                    <a:gd name="T69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17" h="51">
                      <a:moveTo>
                        <a:pt x="391" y="51"/>
                      </a:moveTo>
                      <a:lnTo>
                        <a:pt x="26" y="51"/>
                      </a:lnTo>
                      <a:lnTo>
                        <a:pt x="21" y="50"/>
                      </a:lnTo>
                      <a:lnTo>
                        <a:pt x="15" y="49"/>
                      </a:lnTo>
                      <a:lnTo>
                        <a:pt x="11" y="47"/>
                      </a:lnTo>
                      <a:lnTo>
                        <a:pt x="7" y="44"/>
                      </a:lnTo>
                      <a:lnTo>
                        <a:pt x="4" y="40"/>
                      </a:lnTo>
                      <a:lnTo>
                        <a:pt x="3" y="36"/>
                      </a:lnTo>
                      <a:lnTo>
                        <a:pt x="1" y="30"/>
                      </a:lnTo>
                      <a:lnTo>
                        <a:pt x="0" y="26"/>
                      </a:lnTo>
                      <a:lnTo>
                        <a:pt x="1" y="20"/>
                      </a:lnTo>
                      <a:lnTo>
                        <a:pt x="3" y="15"/>
                      </a:lnTo>
                      <a:lnTo>
                        <a:pt x="4" y="11"/>
                      </a:lnTo>
                      <a:lnTo>
                        <a:pt x="7" y="7"/>
                      </a:lnTo>
                      <a:lnTo>
                        <a:pt x="11" y="4"/>
                      </a:lnTo>
                      <a:lnTo>
                        <a:pt x="15" y="1"/>
                      </a:lnTo>
                      <a:lnTo>
                        <a:pt x="21" y="0"/>
                      </a:lnTo>
                      <a:lnTo>
                        <a:pt x="26" y="0"/>
                      </a:lnTo>
                      <a:lnTo>
                        <a:pt x="391" y="0"/>
                      </a:lnTo>
                      <a:lnTo>
                        <a:pt x="397" y="0"/>
                      </a:lnTo>
                      <a:lnTo>
                        <a:pt x="401" y="1"/>
                      </a:lnTo>
                      <a:lnTo>
                        <a:pt x="406" y="4"/>
                      </a:lnTo>
                      <a:lnTo>
                        <a:pt x="410" y="7"/>
                      </a:lnTo>
                      <a:lnTo>
                        <a:pt x="413" y="11"/>
                      </a:lnTo>
                      <a:lnTo>
                        <a:pt x="416" y="15"/>
                      </a:lnTo>
                      <a:lnTo>
                        <a:pt x="417" y="20"/>
                      </a:lnTo>
                      <a:lnTo>
                        <a:pt x="417" y="26"/>
                      </a:lnTo>
                      <a:lnTo>
                        <a:pt x="417" y="30"/>
                      </a:lnTo>
                      <a:lnTo>
                        <a:pt x="416" y="36"/>
                      </a:lnTo>
                      <a:lnTo>
                        <a:pt x="413" y="40"/>
                      </a:lnTo>
                      <a:lnTo>
                        <a:pt x="410" y="44"/>
                      </a:lnTo>
                      <a:lnTo>
                        <a:pt x="406" y="47"/>
                      </a:lnTo>
                      <a:lnTo>
                        <a:pt x="401" y="49"/>
                      </a:lnTo>
                      <a:lnTo>
                        <a:pt x="397" y="50"/>
                      </a:lnTo>
                      <a:lnTo>
                        <a:pt x="391" y="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96" name="Freeform 123"/>
                <p:cNvSpPr>
                  <a:spLocks/>
                </p:cNvSpPr>
                <p:nvPr/>
              </p:nvSpPr>
              <p:spPr bwMode="auto">
                <a:xfrm>
                  <a:off x="7243763" y="2147888"/>
                  <a:ext cx="220663" cy="26988"/>
                </a:xfrm>
                <a:custGeom>
                  <a:avLst/>
                  <a:gdLst>
                    <a:gd name="T0" fmla="*/ 391 w 417"/>
                    <a:gd name="T1" fmla="*/ 52 h 52"/>
                    <a:gd name="T2" fmla="*/ 26 w 417"/>
                    <a:gd name="T3" fmla="*/ 52 h 52"/>
                    <a:gd name="T4" fmla="*/ 21 w 417"/>
                    <a:gd name="T5" fmla="*/ 52 h 52"/>
                    <a:gd name="T6" fmla="*/ 15 w 417"/>
                    <a:gd name="T7" fmla="*/ 51 h 52"/>
                    <a:gd name="T8" fmla="*/ 11 w 417"/>
                    <a:gd name="T9" fmla="*/ 48 h 52"/>
                    <a:gd name="T10" fmla="*/ 7 w 417"/>
                    <a:gd name="T11" fmla="*/ 45 h 52"/>
                    <a:gd name="T12" fmla="*/ 4 w 417"/>
                    <a:gd name="T13" fmla="*/ 41 h 52"/>
                    <a:gd name="T14" fmla="*/ 3 w 417"/>
                    <a:gd name="T15" fmla="*/ 36 h 52"/>
                    <a:gd name="T16" fmla="*/ 1 w 417"/>
                    <a:gd name="T17" fmla="*/ 31 h 52"/>
                    <a:gd name="T18" fmla="*/ 0 w 417"/>
                    <a:gd name="T19" fmla="*/ 26 h 52"/>
                    <a:gd name="T20" fmla="*/ 1 w 417"/>
                    <a:gd name="T21" fmla="*/ 21 h 52"/>
                    <a:gd name="T22" fmla="*/ 3 w 417"/>
                    <a:gd name="T23" fmla="*/ 16 h 52"/>
                    <a:gd name="T24" fmla="*/ 4 w 417"/>
                    <a:gd name="T25" fmla="*/ 12 h 52"/>
                    <a:gd name="T26" fmla="*/ 7 w 417"/>
                    <a:gd name="T27" fmla="*/ 8 h 52"/>
                    <a:gd name="T28" fmla="*/ 11 w 417"/>
                    <a:gd name="T29" fmla="*/ 5 h 52"/>
                    <a:gd name="T30" fmla="*/ 15 w 417"/>
                    <a:gd name="T31" fmla="*/ 2 h 52"/>
                    <a:gd name="T32" fmla="*/ 21 w 417"/>
                    <a:gd name="T33" fmla="*/ 0 h 52"/>
                    <a:gd name="T34" fmla="*/ 26 w 417"/>
                    <a:gd name="T35" fmla="*/ 0 h 52"/>
                    <a:gd name="T36" fmla="*/ 391 w 417"/>
                    <a:gd name="T37" fmla="*/ 0 h 52"/>
                    <a:gd name="T38" fmla="*/ 397 w 417"/>
                    <a:gd name="T39" fmla="*/ 0 h 52"/>
                    <a:gd name="T40" fmla="*/ 401 w 417"/>
                    <a:gd name="T41" fmla="*/ 2 h 52"/>
                    <a:gd name="T42" fmla="*/ 406 w 417"/>
                    <a:gd name="T43" fmla="*/ 5 h 52"/>
                    <a:gd name="T44" fmla="*/ 410 w 417"/>
                    <a:gd name="T45" fmla="*/ 8 h 52"/>
                    <a:gd name="T46" fmla="*/ 413 w 417"/>
                    <a:gd name="T47" fmla="*/ 12 h 52"/>
                    <a:gd name="T48" fmla="*/ 416 w 417"/>
                    <a:gd name="T49" fmla="*/ 16 h 52"/>
                    <a:gd name="T50" fmla="*/ 417 w 417"/>
                    <a:gd name="T51" fmla="*/ 21 h 52"/>
                    <a:gd name="T52" fmla="*/ 417 w 417"/>
                    <a:gd name="T53" fmla="*/ 26 h 52"/>
                    <a:gd name="T54" fmla="*/ 417 w 417"/>
                    <a:gd name="T55" fmla="*/ 31 h 52"/>
                    <a:gd name="T56" fmla="*/ 416 w 417"/>
                    <a:gd name="T57" fmla="*/ 36 h 52"/>
                    <a:gd name="T58" fmla="*/ 413 w 417"/>
                    <a:gd name="T59" fmla="*/ 41 h 52"/>
                    <a:gd name="T60" fmla="*/ 410 w 417"/>
                    <a:gd name="T61" fmla="*/ 45 h 52"/>
                    <a:gd name="T62" fmla="*/ 406 w 417"/>
                    <a:gd name="T63" fmla="*/ 48 h 52"/>
                    <a:gd name="T64" fmla="*/ 401 w 417"/>
                    <a:gd name="T65" fmla="*/ 51 h 52"/>
                    <a:gd name="T66" fmla="*/ 397 w 417"/>
                    <a:gd name="T67" fmla="*/ 52 h 52"/>
                    <a:gd name="T68" fmla="*/ 391 w 417"/>
                    <a:gd name="T6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17" h="52">
                      <a:moveTo>
                        <a:pt x="391" y="52"/>
                      </a:moveTo>
                      <a:lnTo>
                        <a:pt x="26" y="52"/>
                      </a:lnTo>
                      <a:lnTo>
                        <a:pt x="21" y="52"/>
                      </a:lnTo>
                      <a:lnTo>
                        <a:pt x="15" y="51"/>
                      </a:lnTo>
                      <a:lnTo>
                        <a:pt x="11" y="48"/>
                      </a:lnTo>
                      <a:lnTo>
                        <a:pt x="7" y="45"/>
                      </a:lnTo>
                      <a:lnTo>
                        <a:pt x="4" y="41"/>
                      </a:lnTo>
                      <a:lnTo>
                        <a:pt x="3" y="36"/>
                      </a:lnTo>
                      <a:lnTo>
                        <a:pt x="1" y="31"/>
                      </a:lnTo>
                      <a:lnTo>
                        <a:pt x="0" y="26"/>
                      </a:lnTo>
                      <a:lnTo>
                        <a:pt x="1" y="21"/>
                      </a:lnTo>
                      <a:lnTo>
                        <a:pt x="3" y="16"/>
                      </a:lnTo>
                      <a:lnTo>
                        <a:pt x="4" y="12"/>
                      </a:lnTo>
                      <a:lnTo>
                        <a:pt x="7" y="8"/>
                      </a:lnTo>
                      <a:lnTo>
                        <a:pt x="11" y="5"/>
                      </a:lnTo>
                      <a:lnTo>
                        <a:pt x="15" y="2"/>
                      </a:lnTo>
                      <a:lnTo>
                        <a:pt x="21" y="0"/>
                      </a:lnTo>
                      <a:lnTo>
                        <a:pt x="26" y="0"/>
                      </a:lnTo>
                      <a:lnTo>
                        <a:pt x="391" y="0"/>
                      </a:lnTo>
                      <a:lnTo>
                        <a:pt x="397" y="0"/>
                      </a:lnTo>
                      <a:lnTo>
                        <a:pt x="401" y="2"/>
                      </a:lnTo>
                      <a:lnTo>
                        <a:pt x="406" y="5"/>
                      </a:lnTo>
                      <a:lnTo>
                        <a:pt x="410" y="8"/>
                      </a:lnTo>
                      <a:lnTo>
                        <a:pt x="413" y="12"/>
                      </a:lnTo>
                      <a:lnTo>
                        <a:pt x="416" y="16"/>
                      </a:lnTo>
                      <a:lnTo>
                        <a:pt x="417" y="21"/>
                      </a:lnTo>
                      <a:lnTo>
                        <a:pt x="417" y="26"/>
                      </a:lnTo>
                      <a:lnTo>
                        <a:pt x="417" y="31"/>
                      </a:lnTo>
                      <a:lnTo>
                        <a:pt x="416" y="36"/>
                      </a:lnTo>
                      <a:lnTo>
                        <a:pt x="413" y="41"/>
                      </a:lnTo>
                      <a:lnTo>
                        <a:pt x="410" y="45"/>
                      </a:lnTo>
                      <a:lnTo>
                        <a:pt x="406" y="48"/>
                      </a:lnTo>
                      <a:lnTo>
                        <a:pt x="401" y="51"/>
                      </a:lnTo>
                      <a:lnTo>
                        <a:pt x="397" y="52"/>
                      </a:lnTo>
                      <a:lnTo>
                        <a:pt x="391" y="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97" name="Freeform 124"/>
                <p:cNvSpPr>
                  <a:spLocks/>
                </p:cNvSpPr>
                <p:nvPr/>
              </p:nvSpPr>
              <p:spPr bwMode="auto">
                <a:xfrm>
                  <a:off x="7243763" y="2259013"/>
                  <a:ext cx="220663" cy="26988"/>
                </a:xfrm>
                <a:custGeom>
                  <a:avLst/>
                  <a:gdLst>
                    <a:gd name="T0" fmla="*/ 391 w 417"/>
                    <a:gd name="T1" fmla="*/ 52 h 52"/>
                    <a:gd name="T2" fmla="*/ 26 w 417"/>
                    <a:gd name="T3" fmla="*/ 52 h 52"/>
                    <a:gd name="T4" fmla="*/ 21 w 417"/>
                    <a:gd name="T5" fmla="*/ 52 h 52"/>
                    <a:gd name="T6" fmla="*/ 15 w 417"/>
                    <a:gd name="T7" fmla="*/ 51 h 52"/>
                    <a:gd name="T8" fmla="*/ 11 w 417"/>
                    <a:gd name="T9" fmla="*/ 48 h 52"/>
                    <a:gd name="T10" fmla="*/ 7 w 417"/>
                    <a:gd name="T11" fmla="*/ 45 h 52"/>
                    <a:gd name="T12" fmla="*/ 4 w 417"/>
                    <a:gd name="T13" fmla="*/ 41 h 52"/>
                    <a:gd name="T14" fmla="*/ 3 w 417"/>
                    <a:gd name="T15" fmla="*/ 36 h 52"/>
                    <a:gd name="T16" fmla="*/ 1 w 417"/>
                    <a:gd name="T17" fmla="*/ 32 h 52"/>
                    <a:gd name="T18" fmla="*/ 0 w 417"/>
                    <a:gd name="T19" fmla="*/ 26 h 52"/>
                    <a:gd name="T20" fmla="*/ 1 w 417"/>
                    <a:gd name="T21" fmla="*/ 20 h 52"/>
                    <a:gd name="T22" fmla="*/ 3 w 417"/>
                    <a:gd name="T23" fmla="*/ 16 h 52"/>
                    <a:gd name="T24" fmla="*/ 4 w 417"/>
                    <a:gd name="T25" fmla="*/ 12 h 52"/>
                    <a:gd name="T26" fmla="*/ 7 w 417"/>
                    <a:gd name="T27" fmla="*/ 7 h 52"/>
                    <a:gd name="T28" fmla="*/ 11 w 417"/>
                    <a:gd name="T29" fmla="*/ 5 h 52"/>
                    <a:gd name="T30" fmla="*/ 15 w 417"/>
                    <a:gd name="T31" fmla="*/ 2 h 52"/>
                    <a:gd name="T32" fmla="*/ 21 w 417"/>
                    <a:gd name="T33" fmla="*/ 0 h 52"/>
                    <a:gd name="T34" fmla="*/ 26 w 417"/>
                    <a:gd name="T35" fmla="*/ 0 h 52"/>
                    <a:gd name="T36" fmla="*/ 391 w 417"/>
                    <a:gd name="T37" fmla="*/ 0 h 52"/>
                    <a:gd name="T38" fmla="*/ 397 w 417"/>
                    <a:gd name="T39" fmla="*/ 0 h 52"/>
                    <a:gd name="T40" fmla="*/ 401 w 417"/>
                    <a:gd name="T41" fmla="*/ 2 h 52"/>
                    <a:gd name="T42" fmla="*/ 406 w 417"/>
                    <a:gd name="T43" fmla="*/ 5 h 52"/>
                    <a:gd name="T44" fmla="*/ 410 w 417"/>
                    <a:gd name="T45" fmla="*/ 7 h 52"/>
                    <a:gd name="T46" fmla="*/ 413 w 417"/>
                    <a:gd name="T47" fmla="*/ 12 h 52"/>
                    <a:gd name="T48" fmla="*/ 416 w 417"/>
                    <a:gd name="T49" fmla="*/ 16 h 52"/>
                    <a:gd name="T50" fmla="*/ 417 w 417"/>
                    <a:gd name="T51" fmla="*/ 20 h 52"/>
                    <a:gd name="T52" fmla="*/ 417 w 417"/>
                    <a:gd name="T53" fmla="*/ 26 h 52"/>
                    <a:gd name="T54" fmla="*/ 417 w 417"/>
                    <a:gd name="T55" fmla="*/ 32 h 52"/>
                    <a:gd name="T56" fmla="*/ 416 w 417"/>
                    <a:gd name="T57" fmla="*/ 36 h 52"/>
                    <a:gd name="T58" fmla="*/ 413 w 417"/>
                    <a:gd name="T59" fmla="*/ 41 h 52"/>
                    <a:gd name="T60" fmla="*/ 410 w 417"/>
                    <a:gd name="T61" fmla="*/ 45 h 52"/>
                    <a:gd name="T62" fmla="*/ 406 w 417"/>
                    <a:gd name="T63" fmla="*/ 48 h 52"/>
                    <a:gd name="T64" fmla="*/ 401 w 417"/>
                    <a:gd name="T65" fmla="*/ 51 h 52"/>
                    <a:gd name="T66" fmla="*/ 397 w 417"/>
                    <a:gd name="T67" fmla="*/ 52 h 52"/>
                    <a:gd name="T68" fmla="*/ 391 w 417"/>
                    <a:gd name="T6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17" h="52">
                      <a:moveTo>
                        <a:pt x="391" y="52"/>
                      </a:moveTo>
                      <a:lnTo>
                        <a:pt x="26" y="52"/>
                      </a:lnTo>
                      <a:lnTo>
                        <a:pt x="21" y="52"/>
                      </a:lnTo>
                      <a:lnTo>
                        <a:pt x="15" y="51"/>
                      </a:lnTo>
                      <a:lnTo>
                        <a:pt x="11" y="48"/>
                      </a:lnTo>
                      <a:lnTo>
                        <a:pt x="7" y="45"/>
                      </a:lnTo>
                      <a:lnTo>
                        <a:pt x="4" y="41"/>
                      </a:lnTo>
                      <a:lnTo>
                        <a:pt x="3" y="36"/>
                      </a:lnTo>
                      <a:lnTo>
                        <a:pt x="1" y="32"/>
                      </a:lnTo>
                      <a:lnTo>
                        <a:pt x="0" y="26"/>
                      </a:lnTo>
                      <a:lnTo>
                        <a:pt x="1" y="20"/>
                      </a:lnTo>
                      <a:lnTo>
                        <a:pt x="3" y="16"/>
                      </a:lnTo>
                      <a:lnTo>
                        <a:pt x="4" y="12"/>
                      </a:lnTo>
                      <a:lnTo>
                        <a:pt x="7" y="7"/>
                      </a:lnTo>
                      <a:lnTo>
                        <a:pt x="11" y="5"/>
                      </a:lnTo>
                      <a:lnTo>
                        <a:pt x="15" y="2"/>
                      </a:lnTo>
                      <a:lnTo>
                        <a:pt x="21" y="0"/>
                      </a:lnTo>
                      <a:lnTo>
                        <a:pt x="26" y="0"/>
                      </a:lnTo>
                      <a:lnTo>
                        <a:pt x="391" y="0"/>
                      </a:lnTo>
                      <a:lnTo>
                        <a:pt x="397" y="0"/>
                      </a:lnTo>
                      <a:lnTo>
                        <a:pt x="401" y="2"/>
                      </a:lnTo>
                      <a:lnTo>
                        <a:pt x="406" y="5"/>
                      </a:lnTo>
                      <a:lnTo>
                        <a:pt x="410" y="7"/>
                      </a:lnTo>
                      <a:lnTo>
                        <a:pt x="413" y="12"/>
                      </a:lnTo>
                      <a:lnTo>
                        <a:pt x="416" y="16"/>
                      </a:lnTo>
                      <a:lnTo>
                        <a:pt x="417" y="20"/>
                      </a:lnTo>
                      <a:lnTo>
                        <a:pt x="417" y="26"/>
                      </a:lnTo>
                      <a:lnTo>
                        <a:pt x="417" y="32"/>
                      </a:lnTo>
                      <a:lnTo>
                        <a:pt x="416" y="36"/>
                      </a:lnTo>
                      <a:lnTo>
                        <a:pt x="413" y="41"/>
                      </a:lnTo>
                      <a:lnTo>
                        <a:pt x="410" y="45"/>
                      </a:lnTo>
                      <a:lnTo>
                        <a:pt x="406" y="48"/>
                      </a:lnTo>
                      <a:lnTo>
                        <a:pt x="401" y="51"/>
                      </a:lnTo>
                      <a:lnTo>
                        <a:pt x="397" y="52"/>
                      </a:lnTo>
                      <a:lnTo>
                        <a:pt x="391" y="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98" name="Freeform 217"/>
                <p:cNvSpPr>
                  <a:spLocks noEditPoints="1"/>
                </p:cNvSpPr>
                <p:nvPr/>
              </p:nvSpPr>
              <p:spPr bwMode="auto">
                <a:xfrm>
                  <a:off x="7188200" y="1789113"/>
                  <a:ext cx="469900" cy="690563"/>
                </a:xfrm>
                <a:custGeom>
                  <a:avLst/>
                  <a:gdLst>
                    <a:gd name="T0" fmla="*/ 52 w 887"/>
                    <a:gd name="T1" fmla="*/ 1254 h 1306"/>
                    <a:gd name="T2" fmla="*/ 642 w 887"/>
                    <a:gd name="T3" fmla="*/ 1254 h 1306"/>
                    <a:gd name="T4" fmla="*/ 835 w 887"/>
                    <a:gd name="T5" fmla="*/ 1060 h 1306"/>
                    <a:gd name="T6" fmla="*/ 835 w 887"/>
                    <a:gd name="T7" fmla="*/ 52 h 1306"/>
                    <a:gd name="T8" fmla="*/ 52 w 887"/>
                    <a:gd name="T9" fmla="*/ 52 h 1306"/>
                    <a:gd name="T10" fmla="*/ 52 w 887"/>
                    <a:gd name="T11" fmla="*/ 1254 h 1306"/>
                    <a:gd name="T12" fmla="*/ 652 w 887"/>
                    <a:gd name="T13" fmla="*/ 1306 h 1306"/>
                    <a:gd name="T14" fmla="*/ 26 w 887"/>
                    <a:gd name="T15" fmla="*/ 1306 h 1306"/>
                    <a:gd name="T16" fmla="*/ 20 w 887"/>
                    <a:gd name="T17" fmla="*/ 1306 h 1306"/>
                    <a:gd name="T18" fmla="*/ 16 w 887"/>
                    <a:gd name="T19" fmla="*/ 1304 h 1306"/>
                    <a:gd name="T20" fmla="*/ 11 w 887"/>
                    <a:gd name="T21" fmla="*/ 1301 h 1306"/>
                    <a:gd name="T22" fmla="*/ 7 w 887"/>
                    <a:gd name="T23" fmla="*/ 1299 h 1306"/>
                    <a:gd name="T24" fmla="*/ 4 w 887"/>
                    <a:gd name="T25" fmla="*/ 1294 h 1306"/>
                    <a:gd name="T26" fmla="*/ 1 w 887"/>
                    <a:gd name="T27" fmla="*/ 1290 h 1306"/>
                    <a:gd name="T28" fmla="*/ 0 w 887"/>
                    <a:gd name="T29" fmla="*/ 1286 h 1306"/>
                    <a:gd name="T30" fmla="*/ 0 w 887"/>
                    <a:gd name="T31" fmla="*/ 1280 h 1306"/>
                    <a:gd name="T32" fmla="*/ 0 w 887"/>
                    <a:gd name="T33" fmla="*/ 26 h 1306"/>
                    <a:gd name="T34" fmla="*/ 0 w 887"/>
                    <a:gd name="T35" fmla="*/ 21 h 1306"/>
                    <a:gd name="T36" fmla="*/ 1 w 887"/>
                    <a:gd name="T37" fmla="*/ 16 h 1306"/>
                    <a:gd name="T38" fmla="*/ 4 w 887"/>
                    <a:gd name="T39" fmla="*/ 11 h 1306"/>
                    <a:gd name="T40" fmla="*/ 7 w 887"/>
                    <a:gd name="T41" fmla="*/ 7 h 1306"/>
                    <a:gd name="T42" fmla="*/ 11 w 887"/>
                    <a:gd name="T43" fmla="*/ 4 h 1306"/>
                    <a:gd name="T44" fmla="*/ 16 w 887"/>
                    <a:gd name="T45" fmla="*/ 1 h 1306"/>
                    <a:gd name="T46" fmla="*/ 20 w 887"/>
                    <a:gd name="T47" fmla="*/ 0 h 1306"/>
                    <a:gd name="T48" fmla="*/ 26 w 887"/>
                    <a:gd name="T49" fmla="*/ 0 h 1306"/>
                    <a:gd name="T50" fmla="*/ 861 w 887"/>
                    <a:gd name="T51" fmla="*/ 0 h 1306"/>
                    <a:gd name="T52" fmla="*/ 867 w 887"/>
                    <a:gd name="T53" fmla="*/ 0 h 1306"/>
                    <a:gd name="T54" fmla="*/ 871 w 887"/>
                    <a:gd name="T55" fmla="*/ 1 h 1306"/>
                    <a:gd name="T56" fmla="*/ 875 w 887"/>
                    <a:gd name="T57" fmla="*/ 4 h 1306"/>
                    <a:gd name="T58" fmla="*/ 880 w 887"/>
                    <a:gd name="T59" fmla="*/ 7 h 1306"/>
                    <a:gd name="T60" fmla="*/ 883 w 887"/>
                    <a:gd name="T61" fmla="*/ 11 h 1306"/>
                    <a:gd name="T62" fmla="*/ 886 w 887"/>
                    <a:gd name="T63" fmla="*/ 16 h 1306"/>
                    <a:gd name="T64" fmla="*/ 887 w 887"/>
                    <a:gd name="T65" fmla="*/ 21 h 1306"/>
                    <a:gd name="T66" fmla="*/ 887 w 887"/>
                    <a:gd name="T67" fmla="*/ 26 h 1306"/>
                    <a:gd name="T68" fmla="*/ 887 w 887"/>
                    <a:gd name="T69" fmla="*/ 1071 h 1306"/>
                    <a:gd name="T70" fmla="*/ 887 w 887"/>
                    <a:gd name="T71" fmla="*/ 1075 h 1306"/>
                    <a:gd name="T72" fmla="*/ 886 w 887"/>
                    <a:gd name="T73" fmla="*/ 1081 h 1306"/>
                    <a:gd name="T74" fmla="*/ 883 w 887"/>
                    <a:gd name="T75" fmla="*/ 1085 h 1306"/>
                    <a:gd name="T76" fmla="*/ 880 w 887"/>
                    <a:gd name="T77" fmla="*/ 1090 h 1306"/>
                    <a:gd name="T78" fmla="*/ 671 w 887"/>
                    <a:gd name="T79" fmla="*/ 1299 h 1306"/>
                    <a:gd name="T80" fmla="*/ 667 w 887"/>
                    <a:gd name="T81" fmla="*/ 1301 h 1306"/>
                    <a:gd name="T82" fmla="*/ 662 w 887"/>
                    <a:gd name="T83" fmla="*/ 1304 h 1306"/>
                    <a:gd name="T84" fmla="*/ 658 w 887"/>
                    <a:gd name="T85" fmla="*/ 1306 h 1306"/>
                    <a:gd name="T86" fmla="*/ 652 w 887"/>
                    <a:gd name="T87" fmla="*/ 1306 h 13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887" h="1306">
                      <a:moveTo>
                        <a:pt x="52" y="1254"/>
                      </a:moveTo>
                      <a:lnTo>
                        <a:pt x="642" y="1254"/>
                      </a:lnTo>
                      <a:lnTo>
                        <a:pt x="835" y="1060"/>
                      </a:lnTo>
                      <a:lnTo>
                        <a:pt x="835" y="52"/>
                      </a:lnTo>
                      <a:lnTo>
                        <a:pt x="52" y="52"/>
                      </a:lnTo>
                      <a:lnTo>
                        <a:pt x="52" y="1254"/>
                      </a:lnTo>
                      <a:close/>
                      <a:moveTo>
                        <a:pt x="652" y="1306"/>
                      </a:moveTo>
                      <a:lnTo>
                        <a:pt x="26" y="1306"/>
                      </a:lnTo>
                      <a:lnTo>
                        <a:pt x="20" y="1306"/>
                      </a:lnTo>
                      <a:lnTo>
                        <a:pt x="16" y="1304"/>
                      </a:lnTo>
                      <a:lnTo>
                        <a:pt x="11" y="1301"/>
                      </a:lnTo>
                      <a:lnTo>
                        <a:pt x="7" y="1299"/>
                      </a:lnTo>
                      <a:lnTo>
                        <a:pt x="4" y="1294"/>
                      </a:lnTo>
                      <a:lnTo>
                        <a:pt x="1" y="1290"/>
                      </a:lnTo>
                      <a:lnTo>
                        <a:pt x="0" y="1286"/>
                      </a:lnTo>
                      <a:lnTo>
                        <a:pt x="0" y="1280"/>
                      </a:lnTo>
                      <a:lnTo>
                        <a:pt x="0" y="26"/>
                      </a:lnTo>
                      <a:lnTo>
                        <a:pt x="0" y="21"/>
                      </a:lnTo>
                      <a:lnTo>
                        <a:pt x="1" y="16"/>
                      </a:lnTo>
                      <a:lnTo>
                        <a:pt x="4" y="11"/>
                      </a:lnTo>
                      <a:lnTo>
                        <a:pt x="7" y="7"/>
                      </a:lnTo>
                      <a:lnTo>
                        <a:pt x="11" y="4"/>
                      </a:lnTo>
                      <a:lnTo>
                        <a:pt x="16" y="1"/>
                      </a:lnTo>
                      <a:lnTo>
                        <a:pt x="20" y="0"/>
                      </a:lnTo>
                      <a:lnTo>
                        <a:pt x="26" y="0"/>
                      </a:lnTo>
                      <a:lnTo>
                        <a:pt x="861" y="0"/>
                      </a:lnTo>
                      <a:lnTo>
                        <a:pt x="867" y="0"/>
                      </a:lnTo>
                      <a:lnTo>
                        <a:pt x="871" y="1"/>
                      </a:lnTo>
                      <a:lnTo>
                        <a:pt x="875" y="4"/>
                      </a:lnTo>
                      <a:lnTo>
                        <a:pt x="880" y="7"/>
                      </a:lnTo>
                      <a:lnTo>
                        <a:pt x="883" y="11"/>
                      </a:lnTo>
                      <a:lnTo>
                        <a:pt x="886" y="16"/>
                      </a:lnTo>
                      <a:lnTo>
                        <a:pt x="887" y="21"/>
                      </a:lnTo>
                      <a:lnTo>
                        <a:pt x="887" y="26"/>
                      </a:lnTo>
                      <a:lnTo>
                        <a:pt x="887" y="1071"/>
                      </a:lnTo>
                      <a:lnTo>
                        <a:pt x="887" y="1075"/>
                      </a:lnTo>
                      <a:lnTo>
                        <a:pt x="886" y="1081"/>
                      </a:lnTo>
                      <a:lnTo>
                        <a:pt x="883" y="1085"/>
                      </a:lnTo>
                      <a:lnTo>
                        <a:pt x="880" y="1090"/>
                      </a:lnTo>
                      <a:lnTo>
                        <a:pt x="671" y="1299"/>
                      </a:lnTo>
                      <a:lnTo>
                        <a:pt x="667" y="1301"/>
                      </a:lnTo>
                      <a:lnTo>
                        <a:pt x="662" y="1304"/>
                      </a:lnTo>
                      <a:lnTo>
                        <a:pt x="658" y="1306"/>
                      </a:lnTo>
                      <a:lnTo>
                        <a:pt x="652" y="13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99" name="Freeform 220"/>
                <p:cNvSpPr>
                  <a:spLocks/>
                </p:cNvSpPr>
                <p:nvPr/>
              </p:nvSpPr>
              <p:spPr bwMode="auto">
                <a:xfrm>
                  <a:off x="7519988" y="2341563"/>
                  <a:ext cx="138113" cy="138113"/>
                </a:xfrm>
                <a:custGeom>
                  <a:avLst/>
                  <a:gdLst>
                    <a:gd name="T0" fmla="*/ 26 w 261"/>
                    <a:gd name="T1" fmla="*/ 261 h 261"/>
                    <a:gd name="T2" fmla="*/ 21 w 261"/>
                    <a:gd name="T3" fmla="*/ 261 h 261"/>
                    <a:gd name="T4" fmla="*/ 16 w 261"/>
                    <a:gd name="T5" fmla="*/ 259 h 261"/>
                    <a:gd name="T6" fmla="*/ 12 w 261"/>
                    <a:gd name="T7" fmla="*/ 256 h 261"/>
                    <a:gd name="T8" fmla="*/ 8 w 261"/>
                    <a:gd name="T9" fmla="*/ 254 h 261"/>
                    <a:gd name="T10" fmla="*/ 5 w 261"/>
                    <a:gd name="T11" fmla="*/ 249 h 261"/>
                    <a:gd name="T12" fmla="*/ 2 w 261"/>
                    <a:gd name="T13" fmla="*/ 245 h 261"/>
                    <a:gd name="T14" fmla="*/ 0 w 261"/>
                    <a:gd name="T15" fmla="*/ 241 h 261"/>
                    <a:gd name="T16" fmla="*/ 0 w 261"/>
                    <a:gd name="T17" fmla="*/ 235 h 261"/>
                    <a:gd name="T18" fmla="*/ 0 w 261"/>
                    <a:gd name="T19" fmla="*/ 26 h 261"/>
                    <a:gd name="T20" fmla="*/ 0 w 261"/>
                    <a:gd name="T21" fmla="*/ 20 h 261"/>
                    <a:gd name="T22" fmla="*/ 2 w 261"/>
                    <a:gd name="T23" fmla="*/ 16 h 261"/>
                    <a:gd name="T24" fmla="*/ 5 w 261"/>
                    <a:gd name="T25" fmla="*/ 12 h 261"/>
                    <a:gd name="T26" fmla="*/ 8 w 261"/>
                    <a:gd name="T27" fmla="*/ 7 h 261"/>
                    <a:gd name="T28" fmla="*/ 12 w 261"/>
                    <a:gd name="T29" fmla="*/ 4 h 261"/>
                    <a:gd name="T30" fmla="*/ 16 w 261"/>
                    <a:gd name="T31" fmla="*/ 2 h 261"/>
                    <a:gd name="T32" fmla="*/ 21 w 261"/>
                    <a:gd name="T33" fmla="*/ 0 h 261"/>
                    <a:gd name="T34" fmla="*/ 26 w 261"/>
                    <a:gd name="T35" fmla="*/ 0 h 261"/>
                    <a:gd name="T36" fmla="*/ 235 w 261"/>
                    <a:gd name="T37" fmla="*/ 0 h 261"/>
                    <a:gd name="T38" fmla="*/ 241 w 261"/>
                    <a:gd name="T39" fmla="*/ 0 h 261"/>
                    <a:gd name="T40" fmla="*/ 245 w 261"/>
                    <a:gd name="T41" fmla="*/ 2 h 261"/>
                    <a:gd name="T42" fmla="*/ 249 w 261"/>
                    <a:gd name="T43" fmla="*/ 4 h 261"/>
                    <a:gd name="T44" fmla="*/ 254 w 261"/>
                    <a:gd name="T45" fmla="*/ 7 h 261"/>
                    <a:gd name="T46" fmla="*/ 257 w 261"/>
                    <a:gd name="T47" fmla="*/ 12 h 261"/>
                    <a:gd name="T48" fmla="*/ 260 w 261"/>
                    <a:gd name="T49" fmla="*/ 16 h 261"/>
                    <a:gd name="T50" fmla="*/ 261 w 261"/>
                    <a:gd name="T51" fmla="*/ 20 h 261"/>
                    <a:gd name="T52" fmla="*/ 261 w 261"/>
                    <a:gd name="T53" fmla="*/ 26 h 261"/>
                    <a:gd name="T54" fmla="*/ 261 w 261"/>
                    <a:gd name="T55" fmla="*/ 30 h 261"/>
                    <a:gd name="T56" fmla="*/ 260 w 261"/>
                    <a:gd name="T57" fmla="*/ 36 h 261"/>
                    <a:gd name="T58" fmla="*/ 257 w 261"/>
                    <a:gd name="T59" fmla="*/ 40 h 261"/>
                    <a:gd name="T60" fmla="*/ 254 w 261"/>
                    <a:gd name="T61" fmla="*/ 45 h 261"/>
                    <a:gd name="T62" fmla="*/ 249 w 261"/>
                    <a:gd name="T63" fmla="*/ 48 h 261"/>
                    <a:gd name="T64" fmla="*/ 245 w 261"/>
                    <a:gd name="T65" fmla="*/ 51 h 261"/>
                    <a:gd name="T66" fmla="*/ 241 w 261"/>
                    <a:gd name="T67" fmla="*/ 52 h 261"/>
                    <a:gd name="T68" fmla="*/ 235 w 261"/>
                    <a:gd name="T69" fmla="*/ 52 h 261"/>
                    <a:gd name="T70" fmla="*/ 52 w 261"/>
                    <a:gd name="T71" fmla="*/ 52 h 261"/>
                    <a:gd name="T72" fmla="*/ 52 w 261"/>
                    <a:gd name="T73" fmla="*/ 235 h 261"/>
                    <a:gd name="T74" fmla="*/ 52 w 261"/>
                    <a:gd name="T75" fmla="*/ 241 h 261"/>
                    <a:gd name="T76" fmla="*/ 51 w 261"/>
                    <a:gd name="T77" fmla="*/ 245 h 261"/>
                    <a:gd name="T78" fmla="*/ 48 w 261"/>
                    <a:gd name="T79" fmla="*/ 249 h 261"/>
                    <a:gd name="T80" fmla="*/ 45 w 261"/>
                    <a:gd name="T81" fmla="*/ 254 h 261"/>
                    <a:gd name="T82" fmla="*/ 41 w 261"/>
                    <a:gd name="T83" fmla="*/ 256 h 261"/>
                    <a:gd name="T84" fmla="*/ 36 w 261"/>
                    <a:gd name="T85" fmla="*/ 259 h 261"/>
                    <a:gd name="T86" fmla="*/ 32 w 261"/>
                    <a:gd name="T87" fmla="*/ 261 h 261"/>
                    <a:gd name="T88" fmla="*/ 26 w 261"/>
                    <a:gd name="T8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61" h="261">
                      <a:moveTo>
                        <a:pt x="26" y="261"/>
                      </a:moveTo>
                      <a:lnTo>
                        <a:pt x="21" y="261"/>
                      </a:lnTo>
                      <a:lnTo>
                        <a:pt x="16" y="259"/>
                      </a:lnTo>
                      <a:lnTo>
                        <a:pt x="12" y="256"/>
                      </a:lnTo>
                      <a:lnTo>
                        <a:pt x="8" y="254"/>
                      </a:lnTo>
                      <a:lnTo>
                        <a:pt x="5" y="249"/>
                      </a:lnTo>
                      <a:lnTo>
                        <a:pt x="2" y="245"/>
                      </a:lnTo>
                      <a:lnTo>
                        <a:pt x="0" y="241"/>
                      </a:lnTo>
                      <a:lnTo>
                        <a:pt x="0" y="235"/>
                      </a:lnTo>
                      <a:lnTo>
                        <a:pt x="0" y="26"/>
                      </a:lnTo>
                      <a:lnTo>
                        <a:pt x="0" y="20"/>
                      </a:lnTo>
                      <a:lnTo>
                        <a:pt x="2" y="16"/>
                      </a:lnTo>
                      <a:lnTo>
                        <a:pt x="5" y="12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6" y="2"/>
                      </a:lnTo>
                      <a:lnTo>
                        <a:pt x="21" y="0"/>
                      </a:lnTo>
                      <a:lnTo>
                        <a:pt x="26" y="0"/>
                      </a:lnTo>
                      <a:lnTo>
                        <a:pt x="235" y="0"/>
                      </a:lnTo>
                      <a:lnTo>
                        <a:pt x="241" y="0"/>
                      </a:lnTo>
                      <a:lnTo>
                        <a:pt x="245" y="2"/>
                      </a:lnTo>
                      <a:lnTo>
                        <a:pt x="249" y="4"/>
                      </a:lnTo>
                      <a:lnTo>
                        <a:pt x="254" y="7"/>
                      </a:lnTo>
                      <a:lnTo>
                        <a:pt x="257" y="12"/>
                      </a:lnTo>
                      <a:lnTo>
                        <a:pt x="260" y="16"/>
                      </a:lnTo>
                      <a:lnTo>
                        <a:pt x="261" y="20"/>
                      </a:lnTo>
                      <a:lnTo>
                        <a:pt x="261" y="26"/>
                      </a:lnTo>
                      <a:lnTo>
                        <a:pt x="261" y="30"/>
                      </a:lnTo>
                      <a:lnTo>
                        <a:pt x="260" y="36"/>
                      </a:lnTo>
                      <a:lnTo>
                        <a:pt x="257" y="40"/>
                      </a:lnTo>
                      <a:lnTo>
                        <a:pt x="254" y="45"/>
                      </a:lnTo>
                      <a:lnTo>
                        <a:pt x="249" y="48"/>
                      </a:lnTo>
                      <a:lnTo>
                        <a:pt x="245" y="51"/>
                      </a:lnTo>
                      <a:lnTo>
                        <a:pt x="241" y="52"/>
                      </a:lnTo>
                      <a:lnTo>
                        <a:pt x="235" y="52"/>
                      </a:lnTo>
                      <a:lnTo>
                        <a:pt x="52" y="52"/>
                      </a:lnTo>
                      <a:lnTo>
                        <a:pt x="52" y="235"/>
                      </a:lnTo>
                      <a:lnTo>
                        <a:pt x="52" y="241"/>
                      </a:lnTo>
                      <a:lnTo>
                        <a:pt x="51" y="245"/>
                      </a:lnTo>
                      <a:lnTo>
                        <a:pt x="48" y="249"/>
                      </a:lnTo>
                      <a:lnTo>
                        <a:pt x="45" y="254"/>
                      </a:lnTo>
                      <a:lnTo>
                        <a:pt x="41" y="256"/>
                      </a:lnTo>
                      <a:lnTo>
                        <a:pt x="36" y="259"/>
                      </a:lnTo>
                      <a:lnTo>
                        <a:pt x="32" y="261"/>
                      </a:lnTo>
                      <a:lnTo>
                        <a:pt x="26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00" name="Freeform 223"/>
                <p:cNvSpPr>
                  <a:spLocks/>
                </p:cNvSpPr>
                <p:nvPr/>
              </p:nvSpPr>
              <p:spPr bwMode="auto">
                <a:xfrm>
                  <a:off x="7493000" y="1898651"/>
                  <a:ext cx="109538" cy="84138"/>
                </a:xfrm>
                <a:custGeom>
                  <a:avLst/>
                  <a:gdLst>
                    <a:gd name="T0" fmla="*/ 77 w 208"/>
                    <a:gd name="T1" fmla="*/ 157 h 157"/>
                    <a:gd name="T2" fmla="*/ 73 w 208"/>
                    <a:gd name="T3" fmla="*/ 157 h 157"/>
                    <a:gd name="T4" fmla="*/ 67 w 208"/>
                    <a:gd name="T5" fmla="*/ 155 h 157"/>
                    <a:gd name="T6" fmla="*/ 63 w 208"/>
                    <a:gd name="T7" fmla="*/ 152 h 157"/>
                    <a:gd name="T8" fmla="*/ 59 w 208"/>
                    <a:gd name="T9" fmla="*/ 149 h 157"/>
                    <a:gd name="T10" fmla="*/ 7 w 208"/>
                    <a:gd name="T11" fmla="*/ 96 h 157"/>
                    <a:gd name="T12" fmla="*/ 4 w 208"/>
                    <a:gd name="T13" fmla="*/ 93 h 157"/>
                    <a:gd name="T14" fmla="*/ 1 w 208"/>
                    <a:gd name="T15" fmla="*/ 87 h 157"/>
                    <a:gd name="T16" fmla="*/ 0 w 208"/>
                    <a:gd name="T17" fmla="*/ 83 h 157"/>
                    <a:gd name="T18" fmla="*/ 0 w 208"/>
                    <a:gd name="T19" fmla="*/ 79 h 157"/>
                    <a:gd name="T20" fmla="*/ 0 w 208"/>
                    <a:gd name="T21" fmla="*/ 73 h 157"/>
                    <a:gd name="T22" fmla="*/ 1 w 208"/>
                    <a:gd name="T23" fmla="*/ 69 h 157"/>
                    <a:gd name="T24" fmla="*/ 4 w 208"/>
                    <a:gd name="T25" fmla="*/ 64 h 157"/>
                    <a:gd name="T26" fmla="*/ 7 w 208"/>
                    <a:gd name="T27" fmla="*/ 60 h 157"/>
                    <a:gd name="T28" fmla="*/ 11 w 208"/>
                    <a:gd name="T29" fmla="*/ 56 h 157"/>
                    <a:gd name="T30" fmla="*/ 15 w 208"/>
                    <a:gd name="T31" fmla="*/ 54 h 157"/>
                    <a:gd name="T32" fmla="*/ 20 w 208"/>
                    <a:gd name="T33" fmla="*/ 53 h 157"/>
                    <a:gd name="T34" fmla="*/ 25 w 208"/>
                    <a:gd name="T35" fmla="*/ 51 h 157"/>
                    <a:gd name="T36" fmla="*/ 30 w 208"/>
                    <a:gd name="T37" fmla="*/ 53 h 157"/>
                    <a:gd name="T38" fmla="*/ 36 w 208"/>
                    <a:gd name="T39" fmla="*/ 54 h 157"/>
                    <a:gd name="T40" fmla="*/ 40 w 208"/>
                    <a:gd name="T41" fmla="*/ 56 h 157"/>
                    <a:gd name="T42" fmla="*/ 44 w 208"/>
                    <a:gd name="T43" fmla="*/ 60 h 157"/>
                    <a:gd name="T44" fmla="*/ 77 w 208"/>
                    <a:gd name="T45" fmla="*/ 93 h 157"/>
                    <a:gd name="T46" fmla="*/ 164 w 208"/>
                    <a:gd name="T47" fmla="*/ 7 h 157"/>
                    <a:gd name="T48" fmla="*/ 168 w 208"/>
                    <a:gd name="T49" fmla="*/ 4 h 157"/>
                    <a:gd name="T50" fmla="*/ 172 w 208"/>
                    <a:gd name="T51" fmla="*/ 2 h 157"/>
                    <a:gd name="T52" fmla="*/ 177 w 208"/>
                    <a:gd name="T53" fmla="*/ 1 h 157"/>
                    <a:gd name="T54" fmla="*/ 182 w 208"/>
                    <a:gd name="T55" fmla="*/ 0 h 157"/>
                    <a:gd name="T56" fmla="*/ 187 w 208"/>
                    <a:gd name="T57" fmla="*/ 1 h 157"/>
                    <a:gd name="T58" fmla="*/ 191 w 208"/>
                    <a:gd name="T59" fmla="*/ 2 h 157"/>
                    <a:gd name="T60" fmla="*/ 197 w 208"/>
                    <a:gd name="T61" fmla="*/ 4 h 157"/>
                    <a:gd name="T62" fmla="*/ 200 w 208"/>
                    <a:gd name="T63" fmla="*/ 7 h 157"/>
                    <a:gd name="T64" fmla="*/ 204 w 208"/>
                    <a:gd name="T65" fmla="*/ 11 h 157"/>
                    <a:gd name="T66" fmla="*/ 205 w 208"/>
                    <a:gd name="T67" fmla="*/ 15 h 157"/>
                    <a:gd name="T68" fmla="*/ 207 w 208"/>
                    <a:gd name="T69" fmla="*/ 21 h 157"/>
                    <a:gd name="T70" fmla="*/ 208 w 208"/>
                    <a:gd name="T71" fmla="*/ 25 h 157"/>
                    <a:gd name="T72" fmla="*/ 207 w 208"/>
                    <a:gd name="T73" fmla="*/ 31 h 157"/>
                    <a:gd name="T74" fmla="*/ 205 w 208"/>
                    <a:gd name="T75" fmla="*/ 36 h 157"/>
                    <a:gd name="T76" fmla="*/ 204 w 208"/>
                    <a:gd name="T77" fmla="*/ 40 h 157"/>
                    <a:gd name="T78" fmla="*/ 200 w 208"/>
                    <a:gd name="T79" fmla="*/ 44 h 157"/>
                    <a:gd name="T80" fmla="*/ 96 w 208"/>
                    <a:gd name="T81" fmla="*/ 149 h 157"/>
                    <a:gd name="T82" fmla="*/ 92 w 208"/>
                    <a:gd name="T83" fmla="*/ 152 h 157"/>
                    <a:gd name="T84" fmla="*/ 87 w 208"/>
                    <a:gd name="T85" fmla="*/ 155 h 157"/>
                    <a:gd name="T86" fmla="*/ 83 w 208"/>
                    <a:gd name="T87" fmla="*/ 157 h 157"/>
                    <a:gd name="T88" fmla="*/ 77 w 208"/>
                    <a:gd name="T89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8" h="157">
                      <a:moveTo>
                        <a:pt x="77" y="157"/>
                      </a:moveTo>
                      <a:lnTo>
                        <a:pt x="73" y="157"/>
                      </a:lnTo>
                      <a:lnTo>
                        <a:pt x="67" y="155"/>
                      </a:lnTo>
                      <a:lnTo>
                        <a:pt x="63" y="152"/>
                      </a:lnTo>
                      <a:lnTo>
                        <a:pt x="59" y="149"/>
                      </a:lnTo>
                      <a:lnTo>
                        <a:pt x="7" y="96"/>
                      </a:lnTo>
                      <a:lnTo>
                        <a:pt x="4" y="93"/>
                      </a:lnTo>
                      <a:lnTo>
                        <a:pt x="1" y="87"/>
                      </a:lnTo>
                      <a:lnTo>
                        <a:pt x="0" y="83"/>
                      </a:lnTo>
                      <a:lnTo>
                        <a:pt x="0" y="79"/>
                      </a:lnTo>
                      <a:lnTo>
                        <a:pt x="0" y="73"/>
                      </a:lnTo>
                      <a:lnTo>
                        <a:pt x="1" y="69"/>
                      </a:lnTo>
                      <a:lnTo>
                        <a:pt x="4" y="64"/>
                      </a:lnTo>
                      <a:lnTo>
                        <a:pt x="7" y="60"/>
                      </a:lnTo>
                      <a:lnTo>
                        <a:pt x="11" y="56"/>
                      </a:lnTo>
                      <a:lnTo>
                        <a:pt x="15" y="54"/>
                      </a:lnTo>
                      <a:lnTo>
                        <a:pt x="20" y="53"/>
                      </a:lnTo>
                      <a:lnTo>
                        <a:pt x="25" y="51"/>
                      </a:lnTo>
                      <a:lnTo>
                        <a:pt x="30" y="53"/>
                      </a:lnTo>
                      <a:lnTo>
                        <a:pt x="36" y="54"/>
                      </a:lnTo>
                      <a:lnTo>
                        <a:pt x="40" y="56"/>
                      </a:lnTo>
                      <a:lnTo>
                        <a:pt x="44" y="60"/>
                      </a:lnTo>
                      <a:lnTo>
                        <a:pt x="77" y="93"/>
                      </a:lnTo>
                      <a:lnTo>
                        <a:pt x="164" y="7"/>
                      </a:lnTo>
                      <a:lnTo>
                        <a:pt x="168" y="4"/>
                      </a:lnTo>
                      <a:lnTo>
                        <a:pt x="172" y="2"/>
                      </a:lnTo>
                      <a:lnTo>
                        <a:pt x="177" y="1"/>
                      </a:lnTo>
                      <a:lnTo>
                        <a:pt x="182" y="0"/>
                      </a:lnTo>
                      <a:lnTo>
                        <a:pt x="187" y="1"/>
                      </a:lnTo>
                      <a:lnTo>
                        <a:pt x="191" y="2"/>
                      </a:lnTo>
                      <a:lnTo>
                        <a:pt x="197" y="4"/>
                      </a:lnTo>
                      <a:lnTo>
                        <a:pt x="200" y="7"/>
                      </a:lnTo>
                      <a:lnTo>
                        <a:pt x="204" y="11"/>
                      </a:lnTo>
                      <a:lnTo>
                        <a:pt x="205" y="15"/>
                      </a:lnTo>
                      <a:lnTo>
                        <a:pt x="207" y="21"/>
                      </a:lnTo>
                      <a:lnTo>
                        <a:pt x="208" y="25"/>
                      </a:lnTo>
                      <a:lnTo>
                        <a:pt x="207" y="31"/>
                      </a:lnTo>
                      <a:lnTo>
                        <a:pt x="205" y="36"/>
                      </a:lnTo>
                      <a:lnTo>
                        <a:pt x="204" y="40"/>
                      </a:lnTo>
                      <a:lnTo>
                        <a:pt x="200" y="44"/>
                      </a:lnTo>
                      <a:lnTo>
                        <a:pt x="96" y="149"/>
                      </a:lnTo>
                      <a:lnTo>
                        <a:pt x="92" y="152"/>
                      </a:lnTo>
                      <a:lnTo>
                        <a:pt x="87" y="155"/>
                      </a:lnTo>
                      <a:lnTo>
                        <a:pt x="83" y="157"/>
                      </a:lnTo>
                      <a:lnTo>
                        <a:pt x="77" y="15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01" name="Freeform 224"/>
                <p:cNvSpPr>
                  <a:spLocks/>
                </p:cNvSpPr>
                <p:nvPr/>
              </p:nvSpPr>
              <p:spPr bwMode="auto">
                <a:xfrm>
                  <a:off x="7493000" y="2009776"/>
                  <a:ext cx="109538" cy="82550"/>
                </a:xfrm>
                <a:custGeom>
                  <a:avLst/>
                  <a:gdLst>
                    <a:gd name="T0" fmla="*/ 77 w 208"/>
                    <a:gd name="T1" fmla="*/ 157 h 157"/>
                    <a:gd name="T2" fmla="*/ 73 w 208"/>
                    <a:gd name="T3" fmla="*/ 157 h 157"/>
                    <a:gd name="T4" fmla="*/ 67 w 208"/>
                    <a:gd name="T5" fmla="*/ 156 h 157"/>
                    <a:gd name="T6" fmla="*/ 63 w 208"/>
                    <a:gd name="T7" fmla="*/ 153 h 157"/>
                    <a:gd name="T8" fmla="*/ 59 w 208"/>
                    <a:gd name="T9" fmla="*/ 150 h 157"/>
                    <a:gd name="T10" fmla="*/ 7 w 208"/>
                    <a:gd name="T11" fmla="*/ 98 h 157"/>
                    <a:gd name="T12" fmla="*/ 4 w 208"/>
                    <a:gd name="T13" fmla="*/ 94 h 157"/>
                    <a:gd name="T14" fmla="*/ 1 w 208"/>
                    <a:gd name="T15" fmla="*/ 90 h 157"/>
                    <a:gd name="T16" fmla="*/ 0 w 208"/>
                    <a:gd name="T17" fmla="*/ 84 h 157"/>
                    <a:gd name="T18" fmla="*/ 0 w 208"/>
                    <a:gd name="T19" fmla="*/ 80 h 157"/>
                    <a:gd name="T20" fmla="*/ 0 w 208"/>
                    <a:gd name="T21" fmla="*/ 74 h 157"/>
                    <a:gd name="T22" fmla="*/ 1 w 208"/>
                    <a:gd name="T23" fmla="*/ 69 h 157"/>
                    <a:gd name="T24" fmla="*/ 4 w 208"/>
                    <a:gd name="T25" fmla="*/ 65 h 157"/>
                    <a:gd name="T26" fmla="*/ 7 w 208"/>
                    <a:gd name="T27" fmla="*/ 61 h 157"/>
                    <a:gd name="T28" fmla="*/ 11 w 208"/>
                    <a:gd name="T29" fmla="*/ 58 h 157"/>
                    <a:gd name="T30" fmla="*/ 15 w 208"/>
                    <a:gd name="T31" fmla="*/ 55 h 157"/>
                    <a:gd name="T32" fmla="*/ 20 w 208"/>
                    <a:gd name="T33" fmla="*/ 54 h 157"/>
                    <a:gd name="T34" fmla="*/ 25 w 208"/>
                    <a:gd name="T35" fmla="*/ 54 h 157"/>
                    <a:gd name="T36" fmla="*/ 30 w 208"/>
                    <a:gd name="T37" fmla="*/ 54 h 157"/>
                    <a:gd name="T38" fmla="*/ 36 w 208"/>
                    <a:gd name="T39" fmla="*/ 55 h 157"/>
                    <a:gd name="T40" fmla="*/ 40 w 208"/>
                    <a:gd name="T41" fmla="*/ 58 h 157"/>
                    <a:gd name="T42" fmla="*/ 44 w 208"/>
                    <a:gd name="T43" fmla="*/ 61 h 157"/>
                    <a:gd name="T44" fmla="*/ 77 w 208"/>
                    <a:gd name="T45" fmla="*/ 94 h 157"/>
                    <a:gd name="T46" fmla="*/ 164 w 208"/>
                    <a:gd name="T47" fmla="*/ 9 h 157"/>
                    <a:gd name="T48" fmla="*/ 168 w 208"/>
                    <a:gd name="T49" fmla="*/ 5 h 157"/>
                    <a:gd name="T50" fmla="*/ 172 w 208"/>
                    <a:gd name="T51" fmla="*/ 3 h 157"/>
                    <a:gd name="T52" fmla="*/ 177 w 208"/>
                    <a:gd name="T53" fmla="*/ 2 h 157"/>
                    <a:gd name="T54" fmla="*/ 182 w 208"/>
                    <a:gd name="T55" fmla="*/ 0 h 157"/>
                    <a:gd name="T56" fmla="*/ 187 w 208"/>
                    <a:gd name="T57" fmla="*/ 2 h 157"/>
                    <a:gd name="T58" fmla="*/ 191 w 208"/>
                    <a:gd name="T59" fmla="*/ 3 h 157"/>
                    <a:gd name="T60" fmla="*/ 197 w 208"/>
                    <a:gd name="T61" fmla="*/ 5 h 157"/>
                    <a:gd name="T62" fmla="*/ 200 w 208"/>
                    <a:gd name="T63" fmla="*/ 9 h 157"/>
                    <a:gd name="T64" fmla="*/ 204 w 208"/>
                    <a:gd name="T65" fmla="*/ 12 h 157"/>
                    <a:gd name="T66" fmla="*/ 205 w 208"/>
                    <a:gd name="T67" fmla="*/ 18 h 157"/>
                    <a:gd name="T68" fmla="*/ 207 w 208"/>
                    <a:gd name="T69" fmla="*/ 22 h 157"/>
                    <a:gd name="T70" fmla="*/ 208 w 208"/>
                    <a:gd name="T71" fmla="*/ 26 h 157"/>
                    <a:gd name="T72" fmla="*/ 207 w 208"/>
                    <a:gd name="T73" fmla="*/ 32 h 157"/>
                    <a:gd name="T74" fmla="*/ 205 w 208"/>
                    <a:gd name="T75" fmla="*/ 36 h 157"/>
                    <a:gd name="T76" fmla="*/ 204 w 208"/>
                    <a:gd name="T77" fmla="*/ 41 h 157"/>
                    <a:gd name="T78" fmla="*/ 200 w 208"/>
                    <a:gd name="T79" fmla="*/ 45 h 157"/>
                    <a:gd name="T80" fmla="*/ 96 w 208"/>
                    <a:gd name="T81" fmla="*/ 150 h 157"/>
                    <a:gd name="T82" fmla="*/ 92 w 208"/>
                    <a:gd name="T83" fmla="*/ 153 h 157"/>
                    <a:gd name="T84" fmla="*/ 87 w 208"/>
                    <a:gd name="T85" fmla="*/ 156 h 157"/>
                    <a:gd name="T86" fmla="*/ 83 w 208"/>
                    <a:gd name="T87" fmla="*/ 157 h 157"/>
                    <a:gd name="T88" fmla="*/ 77 w 208"/>
                    <a:gd name="T89" fmla="*/ 15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8" h="157">
                      <a:moveTo>
                        <a:pt x="77" y="157"/>
                      </a:moveTo>
                      <a:lnTo>
                        <a:pt x="73" y="157"/>
                      </a:lnTo>
                      <a:lnTo>
                        <a:pt x="67" y="156"/>
                      </a:lnTo>
                      <a:lnTo>
                        <a:pt x="63" y="153"/>
                      </a:lnTo>
                      <a:lnTo>
                        <a:pt x="59" y="150"/>
                      </a:lnTo>
                      <a:lnTo>
                        <a:pt x="7" y="98"/>
                      </a:lnTo>
                      <a:lnTo>
                        <a:pt x="4" y="94"/>
                      </a:lnTo>
                      <a:lnTo>
                        <a:pt x="1" y="90"/>
                      </a:lnTo>
                      <a:lnTo>
                        <a:pt x="0" y="84"/>
                      </a:lnTo>
                      <a:lnTo>
                        <a:pt x="0" y="80"/>
                      </a:lnTo>
                      <a:lnTo>
                        <a:pt x="0" y="74"/>
                      </a:lnTo>
                      <a:lnTo>
                        <a:pt x="1" y="69"/>
                      </a:lnTo>
                      <a:lnTo>
                        <a:pt x="4" y="65"/>
                      </a:lnTo>
                      <a:lnTo>
                        <a:pt x="7" y="61"/>
                      </a:lnTo>
                      <a:lnTo>
                        <a:pt x="11" y="58"/>
                      </a:lnTo>
                      <a:lnTo>
                        <a:pt x="15" y="55"/>
                      </a:lnTo>
                      <a:lnTo>
                        <a:pt x="20" y="54"/>
                      </a:lnTo>
                      <a:lnTo>
                        <a:pt x="25" y="54"/>
                      </a:lnTo>
                      <a:lnTo>
                        <a:pt x="30" y="54"/>
                      </a:lnTo>
                      <a:lnTo>
                        <a:pt x="36" y="55"/>
                      </a:lnTo>
                      <a:lnTo>
                        <a:pt x="40" y="58"/>
                      </a:lnTo>
                      <a:lnTo>
                        <a:pt x="44" y="61"/>
                      </a:lnTo>
                      <a:lnTo>
                        <a:pt x="77" y="94"/>
                      </a:lnTo>
                      <a:lnTo>
                        <a:pt x="164" y="9"/>
                      </a:lnTo>
                      <a:lnTo>
                        <a:pt x="168" y="5"/>
                      </a:lnTo>
                      <a:lnTo>
                        <a:pt x="172" y="3"/>
                      </a:lnTo>
                      <a:lnTo>
                        <a:pt x="177" y="2"/>
                      </a:lnTo>
                      <a:lnTo>
                        <a:pt x="182" y="0"/>
                      </a:lnTo>
                      <a:lnTo>
                        <a:pt x="187" y="2"/>
                      </a:lnTo>
                      <a:lnTo>
                        <a:pt x="191" y="3"/>
                      </a:lnTo>
                      <a:lnTo>
                        <a:pt x="197" y="5"/>
                      </a:lnTo>
                      <a:lnTo>
                        <a:pt x="200" y="9"/>
                      </a:lnTo>
                      <a:lnTo>
                        <a:pt x="204" y="12"/>
                      </a:lnTo>
                      <a:lnTo>
                        <a:pt x="205" y="18"/>
                      </a:lnTo>
                      <a:lnTo>
                        <a:pt x="207" y="22"/>
                      </a:lnTo>
                      <a:lnTo>
                        <a:pt x="208" y="26"/>
                      </a:lnTo>
                      <a:lnTo>
                        <a:pt x="207" y="32"/>
                      </a:lnTo>
                      <a:lnTo>
                        <a:pt x="205" y="36"/>
                      </a:lnTo>
                      <a:lnTo>
                        <a:pt x="204" y="41"/>
                      </a:lnTo>
                      <a:lnTo>
                        <a:pt x="200" y="45"/>
                      </a:lnTo>
                      <a:lnTo>
                        <a:pt x="96" y="150"/>
                      </a:lnTo>
                      <a:lnTo>
                        <a:pt x="92" y="153"/>
                      </a:lnTo>
                      <a:lnTo>
                        <a:pt x="87" y="156"/>
                      </a:lnTo>
                      <a:lnTo>
                        <a:pt x="83" y="157"/>
                      </a:lnTo>
                      <a:lnTo>
                        <a:pt x="77" y="15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02" name="Freeform 225"/>
                <p:cNvSpPr>
                  <a:spLocks/>
                </p:cNvSpPr>
                <p:nvPr/>
              </p:nvSpPr>
              <p:spPr bwMode="auto">
                <a:xfrm>
                  <a:off x="7493000" y="2230438"/>
                  <a:ext cx="109538" cy="82550"/>
                </a:xfrm>
                <a:custGeom>
                  <a:avLst/>
                  <a:gdLst>
                    <a:gd name="T0" fmla="*/ 77 w 208"/>
                    <a:gd name="T1" fmla="*/ 156 h 156"/>
                    <a:gd name="T2" fmla="*/ 73 w 208"/>
                    <a:gd name="T3" fmla="*/ 156 h 156"/>
                    <a:gd name="T4" fmla="*/ 67 w 208"/>
                    <a:gd name="T5" fmla="*/ 154 h 156"/>
                    <a:gd name="T6" fmla="*/ 63 w 208"/>
                    <a:gd name="T7" fmla="*/ 152 h 156"/>
                    <a:gd name="T8" fmla="*/ 59 w 208"/>
                    <a:gd name="T9" fmla="*/ 149 h 156"/>
                    <a:gd name="T10" fmla="*/ 7 w 208"/>
                    <a:gd name="T11" fmla="*/ 97 h 156"/>
                    <a:gd name="T12" fmla="*/ 4 w 208"/>
                    <a:gd name="T13" fmla="*/ 93 h 156"/>
                    <a:gd name="T14" fmla="*/ 1 w 208"/>
                    <a:gd name="T15" fmla="*/ 88 h 156"/>
                    <a:gd name="T16" fmla="*/ 0 w 208"/>
                    <a:gd name="T17" fmla="*/ 82 h 156"/>
                    <a:gd name="T18" fmla="*/ 0 w 208"/>
                    <a:gd name="T19" fmla="*/ 78 h 156"/>
                    <a:gd name="T20" fmla="*/ 0 w 208"/>
                    <a:gd name="T21" fmla="*/ 74 h 156"/>
                    <a:gd name="T22" fmla="*/ 1 w 208"/>
                    <a:gd name="T23" fmla="*/ 68 h 156"/>
                    <a:gd name="T24" fmla="*/ 4 w 208"/>
                    <a:gd name="T25" fmla="*/ 64 h 156"/>
                    <a:gd name="T26" fmla="*/ 7 w 208"/>
                    <a:gd name="T27" fmla="*/ 59 h 156"/>
                    <a:gd name="T28" fmla="*/ 11 w 208"/>
                    <a:gd name="T29" fmla="*/ 57 h 156"/>
                    <a:gd name="T30" fmla="*/ 15 w 208"/>
                    <a:gd name="T31" fmla="*/ 54 h 156"/>
                    <a:gd name="T32" fmla="*/ 20 w 208"/>
                    <a:gd name="T33" fmla="*/ 52 h 156"/>
                    <a:gd name="T34" fmla="*/ 25 w 208"/>
                    <a:gd name="T35" fmla="*/ 52 h 156"/>
                    <a:gd name="T36" fmla="*/ 30 w 208"/>
                    <a:gd name="T37" fmla="*/ 52 h 156"/>
                    <a:gd name="T38" fmla="*/ 36 w 208"/>
                    <a:gd name="T39" fmla="*/ 54 h 156"/>
                    <a:gd name="T40" fmla="*/ 40 w 208"/>
                    <a:gd name="T41" fmla="*/ 57 h 156"/>
                    <a:gd name="T42" fmla="*/ 44 w 208"/>
                    <a:gd name="T43" fmla="*/ 59 h 156"/>
                    <a:gd name="T44" fmla="*/ 77 w 208"/>
                    <a:gd name="T45" fmla="*/ 94 h 156"/>
                    <a:gd name="T46" fmla="*/ 164 w 208"/>
                    <a:gd name="T47" fmla="*/ 8 h 156"/>
                    <a:gd name="T48" fmla="*/ 168 w 208"/>
                    <a:gd name="T49" fmla="*/ 5 h 156"/>
                    <a:gd name="T50" fmla="*/ 172 w 208"/>
                    <a:gd name="T51" fmla="*/ 2 h 156"/>
                    <a:gd name="T52" fmla="*/ 177 w 208"/>
                    <a:gd name="T53" fmla="*/ 0 h 156"/>
                    <a:gd name="T54" fmla="*/ 182 w 208"/>
                    <a:gd name="T55" fmla="*/ 0 h 156"/>
                    <a:gd name="T56" fmla="*/ 187 w 208"/>
                    <a:gd name="T57" fmla="*/ 0 h 156"/>
                    <a:gd name="T58" fmla="*/ 191 w 208"/>
                    <a:gd name="T59" fmla="*/ 2 h 156"/>
                    <a:gd name="T60" fmla="*/ 197 w 208"/>
                    <a:gd name="T61" fmla="*/ 5 h 156"/>
                    <a:gd name="T62" fmla="*/ 200 w 208"/>
                    <a:gd name="T63" fmla="*/ 8 h 156"/>
                    <a:gd name="T64" fmla="*/ 204 w 208"/>
                    <a:gd name="T65" fmla="*/ 12 h 156"/>
                    <a:gd name="T66" fmla="*/ 205 w 208"/>
                    <a:gd name="T67" fmla="*/ 16 h 156"/>
                    <a:gd name="T68" fmla="*/ 207 w 208"/>
                    <a:gd name="T69" fmla="*/ 21 h 156"/>
                    <a:gd name="T70" fmla="*/ 208 w 208"/>
                    <a:gd name="T71" fmla="*/ 26 h 156"/>
                    <a:gd name="T72" fmla="*/ 207 w 208"/>
                    <a:gd name="T73" fmla="*/ 31 h 156"/>
                    <a:gd name="T74" fmla="*/ 205 w 208"/>
                    <a:gd name="T75" fmla="*/ 36 h 156"/>
                    <a:gd name="T76" fmla="*/ 204 w 208"/>
                    <a:gd name="T77" fmla="*/ 41 h 156"/>
                    <a:gd name="T78" fmla="*/ 200 w 208"/>
                    <a:gd name="T79" fmla="*/ 45 h 156"/>
                    <a:gd name="T80" fmla="*/ 96 w 208"/>
                    <a:gd name="T81" fmla="*/ 149 h 156"/>
                    <a:gd name="T82" fmla="*/ 92 w 208"/>
                    <a:gd name="T83" fmla="*/ 152 h 156"/>
                    <a:gd name="T84" fmla="*/ 87 w 208"/>
                    <a:gd name="T85" fmla="*/ 154 h 156"/>
                    <a:gd name="T86" fmla="*/ 83 w 208"/>
                    <a:gd name="T87" fmla="*/ 156 h 156"/>
                    <a:gd name="T88" fmla="*/ 77 w 208"/>
                    <a:gd name="T89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8" h="156">
                      <a:moveTo>
                        <a:pt x="77" y="156"/>
                      </a:moveTo>
                      <a:lnTo>
                        <a:pt x="73" y="156"/>
                      </a:lnTo>
                      <a:lnTo>
                        <a:pt x="67" y="154"/>
                      </a:lnTo>
                      <a:lnTo>
                        <a:pt x="63" y="152"/>
                      </a:lnTo>
                      <a:lnTo>
                        <a:pt x="59" y="149"/>
                      </a:lnTo>
                      <a:lnTo>
                        <a:pt x="7" y="97"/>
                      </a:lnTo>
                      <a:lnTo>
                        <a:pt x="4" y="93"/>
                      </a:lnTo>
                      <a:lnTo>
                        <a:pt x="1" y="88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0" y="74"/>
                      </a:lnTo>
                      <a:lnTo>
                        <a:pt x="1" y="68"/>
                      </a:lnTo>
                      <a:lnTo>
                        <a:pt x="4" y="64"/>
                      </a:lnTo>
                      <a:lnTo>
                        <a:pt x="7" y="59"/>
                      </a:lnTo>
                      <a:lnTo>
                        <a:pt x="11" y="57"/>
                      </a:lnTo>
                      <a:lnTo>
                        <a:pt x="15" y="54"/>
                      </a:lnTo>
                      <a:lnTo>
                        <a:pt x="20" y="52"/>
                      </a:lnTo>
                      <a:lnTo>
                        <a:pt x="25" y="52"/>
                      </a:lnTo>
                      <a:lnTo>
                        <a:pt x="30" y="52"/>
                      </a:lnTo>
                      <a:lnTo>
                        <a:pt x="36" y="54"/>
                      </a:lnTo>
                      <a:lnTo>
                        <a:pt x="40" y="57"/>
                      </a:lnTo>
                      <a:lnTo>
                        <a:pt x="44" y="59"/>
                      </a:lnTo>
                      <a:lnTo>
                        <a:pt x="77" y="94"/>
                      </a:lnTo>
                      <a:lnTo>
                        <a:pt x="164" y="8"/>
                      </a:lnTo>
                      <a:lnTo>
                        <a:pt x="168" y="5"/>
                      </a:lnTo>
                      <a:lnTo>
                        <a:pt x="172" y="2"/>
                      </a:lnTo>
                      <a:lnTo>
                        <a:pt x="177" y="0"/>
                      </a:lnTo>
                      <a:lnTo>
                        <a:pt x="182" y="0"/>
                      </a:lnTo>
                      <a:lnTo>
                        <a:pt x="187" y="0"/>
                      </a:lnTo>
                      <a:lnTo>
                        <a:pt x="191" y="2"/>
                      </a:lnTo>
                      <a:lnTo>
                        <a:pt x="197" y="5"/>
                      </a:lnTo>
                      <a:lnTo>
                        <a:pt x="200" y="8"/>
                      </a:lnTo>
                      <a:lnTo>
                        <a:pt x="204" y="12"/>
                      </a:lnTo>
                      <a:lnTo>
                        <a:pt x="205" y="16"/>
                      </a:lnTo>
                      <a:lnTo>
                        <a:pt x="207" y="21"/>
                      </a:lnTo>
                      <a:lnTo>
                        <a:pt x="208" y="26"/>
                      </a:lnTo>
                      <a:lnTo>
                        <a:pt x="207" y="31"/>
                      </a:lnTo>
                      <a:lnTo>
                        <a:pt x="205" y="36"/>
                      </a:lnTo>
                      <a:lnTo>
                        <a:pt x="204" y="41"/>
                      </a:lnTo>
                      <a:lnTo>
                        <a:pt x="200" y="45"/>
                      </a:lnTo>
                      <a:lnTo>
                        <a:pt x="96" y="149"/>
                      </a:lnTo>
                      <a:lnTo>
                        <a:pt x="92" y="152"/>
                      </a:lnTo>
                      <a:lnTo>
                        <a:pt x="87" y="154"/>
                      </a:lnTo>
                      <a:lnTo>
                        <a:pt x="83" y="156"/>
                      </a:lnTo>
                      <a:lnTo>
                        <a:pt x="77" y="1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03" name="Freeform 226"/>
                <p:cNvSpPr>
                  <a:spLocks/>
                </p:cNvSpPr>
                <p:nvPr/>
              </p:nvSpPr>
              <p:spPr bwMode="auto">
                <a:xfrm>
                  <a:off x="7502525" y="2130426"/>
                  <a:ext cx="90488" cy="90488"/>
                </a:xfrm>
                <a:custGeom>
                  <a:avLst/>
                  <a:gdLst>
                    <a:gd name="T0" fmla="*/ 147 w 173"/>
                    <a:gd name="T1" fmla="*/ 173 h 173"/>
                    <a:gd name="T2" fmla="*/ 141 w 173"/>
                    <a:gd name="T3" fmla="*/ 171 h 173"/>
                    <a:gd name="T4" fmla="*/ 137 w 173"/>
                    <a:gd name="T5" fmla="*/ 170 h 173"/>
                    <a:gd name="T6" fmla="*/ 132 w 173"/>
                    <a:gd name="T7" fmla="*/ 168 h 173"/>
                    <a:gd name="T8" fmla="*/ 128 w 173"/>
                    <a:gd name="T9" fmla="*/ 164 h 173"/>
                    <a:gd name="T10" fmla="*/ 8 w 173"/>
                    <a:gd name="T11" fmla="*/ 44 h 173"/>
                    <a:gd name="T12" fmla="*/ 4 w 173"/>
                    <a:gd name="T13" fmla="*/ 40 h 173"/>
                    <a:gd name="T14" fmla="*/ 3 w 173"/>
                    <a:gd name="T15" fmla="*/ 36 h 173"/>
                    <a:gd name="T16" fmla="*/ 1 w 173"/>
                    <a:gd name="T17" fmla="*/ 32 h 173"/>
                    <a:gd name="T18" fmla="*/ 0 w 173"/>
                    <a:gd name="T19" fmla="*/ 26 h 173"/>
                    <a:gd name="T20" fmla="*/ 1 w 173"/>
                    <a:gd name="T21" fmla="*/ 21 h 173"/>
                    <a:gd name="T22" fmla="*/ 3 w 173"/>
                    <a:gd name="T23" fmla="*/ 17 h 173"/>
                    <a:gd name="T24" fmla="*/ 4 w 173"/>
                    <a:gd name="T25" fmla="*/ 11 h 173"/>
                    <a:gd name="T26" fmla="*/ 8 w 173"/>
                    <a:gd name="T27" fmla="*/ 9 h 173"/>
                    <a:gd name="T28" fmla="*/ 13 w 173"/>
                    <a:gd name="T29" fmla="*/ 4 h 173"/>
                    <a:gd name="T30" fmla="*/ 17 w 173"/>
                    <a:gd name="T31" fmla="*/ 3 h 173"/>
                    <a:gd name="T32" fmla="*/ 21 w 173"/>
                    <a:gd name="T33" fmla="*/ 1 h 173"/>
                    <a:gd name="T34" fmla="*/ 27 w 173"/>
                    <a:gd name="T35" fmla="*/ 0 h 173"/>
                    <a:gd name="T36" fmla="*/ 31 w 173"/>
                    <a:gd name="T37" fmla="*/ 1 h 173"/>
                    <a:gd name="T38" fmla="*/ 36 w 173"/>
                    <a:gd name="T39" fmla="*/ 3 h 173"/>
                    <a:gd name="T40" fmla="*/ 42 w 173"/>
                    <a:gd name="T41" fmla="*/ 4 h 173"/>
                    <a:gd name="T42" fmla="*/ 44 w 173"/>
                    <a:gd name="T43" fmla="*/ 9 h 173"/>
                    <a:gd name="T44" fmla="*/ 165 w 173"/>
                    <a:gd name="T45" fmla="*/ 128 h 173"/>
                    <a:gd name="T46" fmla="*/ 168 w 173"/>
                    <a:gd name="T47" fmla="*/ 132 h 173"/>
                    <a:gd name="T48" fmla="*/ 171 w 173"/>
                    <a:gd name="T49" fmla="*/ 137 h 173"/>
                    <a:gd name="T50" fmla="*/ 173 w 173"/>
                    <a:gd name="T51" fmla="*/ 141 h 173"/>
                    <a:gd name="T52" fmla="*/ 173 w 173"/>
                    <a:gd name="T53" fmla="*/ 147 h 173"/>
                    <a:gd name="T54" fmla="*/ 173 w 173"/>
                    <a:gd name="T55" fmla="*/ 151 h 173"/>
                    <a:gd name="T56" fmla="*/ 171 w 173"/>
                    <a:gd name="T57" fmla="*/ 155 h 173"/>
                    <a:gd name="T58" fmla="*/ 168 w 173"/>
                    <a:gd name="T59" fmla="*/ 161 h 173"/>
                    <a:gd name="T60" fmla="*/ 165 w 173"/>
                    <a:gd name="T61" fmla="*/ 164 h 173"/>
                    <a:gd name="T62" fmla="*/ 161 w 173"/>
                    <a:gd name="T63" fmla="*/ 168 h 173"/>
                    <a:gd name="T64" fmla="*/ 157 w 173"/>
                    <a:gd name="T65" fmla="*/ 170 h 173"/>
                    <a:gd name="T66" fmla="*/ 151 w 173"/>
                    <a:gd name="T67" fmla="*/ 171 h 173"/>
                    <a:gd name="T68" fmla="*/ 147 w 173"/>
                    <a:gd name="T69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3" h="173">
                      <a:moveTo>
                        <a:pt x="147" y="173"/>
                      </a:moveTo>
                      <a:lnTo>
                        <a:pt x="141" y="171"/>
                      </a:lnTo>
                      <a:lnTo>
                        <a:pt x="137" y="170"/>
                      </a:lnTo>
                      <a:lnTo>
                        <a:pt x="132" y="168"/>
                      </a:lnTo>
                      <a:lnTo>
                        <a:pt x="128" y="164"/>
                      </a:lnTo>
                      <a:lnTo>
                        <a:pt x="8" y="44"/>
                      </a:lnTo>
                      <a:lnTo>
                        <a:pt x="4" y="40"/>
                      </a:lnTo>
                      <a:lnTo>
                        <a:pt x="3" y="36"/>
                      </a:lnTo>
                      <a:lnTo>
                        <a:pt x="1" y="32"/>
                      </a:lnTo>
                      <a:lnTo>
                        <a:pt x="0" y="26"/>
                      </a:lnTo>
                      <a:lnTo>
                        <a:pt x="1" y="21"/>
                      </a:lnTo>
                      <a:lnTo>
                        <a:pt x="3" y="17"/>
                      </a:lnTo>
                      <a:lnTo>
                        <a:pt x="4" y="11"/>
                      </a:lnTo>
                      <a:lnTo>
                        <a:pt x="8" y="9"/>
                      </a:lnTo>
                      <a:lnTo>
                        <a:pt x="13" y="4"/>
                      </a:lnTo>
                      <a:lnTo>
                        <a:pt x="17" y="3"/>
                      </a:lnTo>
                      <a:lnTo>
                        <a:pt x="21" y="1"/>
                      </a:lnTo>
                      <a:lnTo>
                        <a:pt x="27" y="0"/>
                      </a:lnTo>
                      <a:lnTo>
                        <a:pt x="31" y="1"/>
                      </a:lnTo>
                      <a:lnTo>
                        <a:pt x="36" y="3"/>
                      </a:lnTo>
                      <a:lnTo>
                        <a:pt x="42" y="4"/>
                      </a:lnTo>
                      <a:lnTo>
                        <a:pt x="44" y="9"/>
                      </a:lnTo>
                      <a:lnTo>
                        <a:pt x="165" y="128"/>
                      </a:lnTo>
                      <a:lnTo>
                        <a:pt x="168" y="132"/>
                      </a:lnTo>
                      <a:lnTo>
                        <a:pt x="171" y="137"/>
                      </a:lnTo>
                      <a:lnTo>
                        <a:pt x="173" y="141"/>
                      </a:lnTo>
                      <a:lnTo>
                        <a:pt x="173" y="147"/>
                      </a:lnTo>
                      <a:lnTo>
                        <a:pt x="173" y="151"/>
                      </a:lnTo>
                      <a:lnTo>
                        <a:pt x="171" y="155"/>
                      </a:lnTo>
                      <a:lnTo>
                        <a:pt x="168" y="161"/>
                      </a:lnTo>
                      <a:lnTo>
                        <a:pt x="165" y="164"/>
                      </a:lnTo>
                      <a:lnTo>
                        <a:pt x="161" y="168"/>
                      </a:lnTo>
                      <a:lnTo>
                        <a:pt x="157" y="170"/>
                      </a:lnTo>
                      <a:lnTo>
                        <a:pt x="151" y="171"/>
                      </a:lnTo>
                      <a:lnTo>
                        <a:pt x="147" y="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04" name="Freeform 227"/>
                <p:cNvSpPr>
                  <a:spLocks/>
                </p:cNvSpPr>
                <p:nvPr/>
              </p:nvSpPr>
              <p:spPr bwMode="auto">
                <a:xfrm>
                  <a:off x="7502525" y="2130426"/>
                  <a:ext cx="90488" cy="90488"/>
                </a:xfrm>
                <a:custGeom>
                  <a:avLst/>
                  <a:gdLst>
                    <a:gd name="T0" fmla="*/ 27 w 173"/>
                    <a:gd name="T1" fmla="*/ 173 h 173"/>
                    <a:gd name="T2" fmla="*/ 21 w 173"/>
                    <a:gd name="T3" fmla="*/ 171 h 173"/>
                    <a:gd name="T4" fmla="*/ 17 w 173"/>
                    <a:gd name="T5" fmla="*/ 170 h 173"/>
                    <a:gd name="T6" fmla="*/ 13 w 173"/>
                    <a:gd name="T7" fmla="*/ 168 h 173"/>
                    <a:gd name="T8" fmla="*/ 8 w 173"/>
                    <a:gd name="T9" fmla="*/ 164 h 173"/>
                    <a:gd name="T10" fmla="*/ 4 w 173"/>
                    <a:gd name="T11" fmla="*/ 161 h 173"/>
                    <a:gd name="T12" fmla="*/ 3 w 173"/>
                    <a:gd name="T13" fmla="*/ 155 h 173"/>
                    <a:gd name="T14" fmla="*/ 1 w 173"/>
                    <a:gd name="T15" fmla="*/ 151 h 173"/>
                    <a:gd name="T16" fmla="*/ 0 w 173"/>
                    <a:gd name="T17" fmla="*/ 147 h 173"/>
                    <a:gd name="T18" fmla="*/ 1 w 173"/>
                    <a:gd name="T19" fmla="*/ 141 h 173"/>
                    <a:gd name="T20" fmla="*/ 3 w 173"/>
                    <a:gd name="T21" fmla="*/ 137 h 173"/>
                    <a:gd name="T22" fmla="*/ 4 w 173"/>
                    <a:gd name="T23" fmla="*/ 132 h 173"/>
                    <a:gd name="T24" fmla="*/ 8 w 173"/>
                    <a:gd name="T25" fmla="*/ 128 h 173"/>
                    <a:gd name="T26" fmla="*/ 128 w 173"/>
                    <a:gd name="T27" fmla="*/ 9 h 173"/>
                    <a:gd name="T28" fmla="*/ 132 w 173"/>
                    <a:gd name="T29" fmla="*/ 4 h 173"/>
                    <a:gd name="T30" fmla="*/ 137 w 173"/>
                    <a:gd name="T31" fmla="*/ 3 h 173"/>
                    <a:gd name="T32" fmla="*/ 141 w 173"/>
                    <a:gd name="T33" fmla="*/ 1 h 173"/>
                    <a:gd name="T34" fmla="*/ 147 w 173"/>
                    <a:gd name="T35" fmla="*/ 0 h 173"/>
                    <a:gd name="T36" fmla="*/ 151 w 173"/>
                    <a:gd name="T37" fmla="*/ 1 h 173"/>
                    <a:gd name="T38" fmla="*/ 157 w 173"/>
                    <a:gd name="T39" fmla="*/ 3 h 173"/>
                    <a:gd name="T40" fmla="*/ 161 w 173"/>
                    <a:gd name="T41" fmla="*/ 4 h 173"/>
                    <a:gd name="T42" fmla="*/ 165 w 173"/>
                    <a:gd name="T43" fmla="*/ 9 h 173"/>
                    <a:gd name="T44" fmla="*/ 168 w 173"/>
                    <a:gd name="T45" fmla="*/ 11 h 173"/>
                    <a:gd name="T46" fmla="*/ 171 w 173"/>
                    <a:gd name="T47" fmla="*/ 17 h 173"/>
                    <a:gd name="T48" fmla="*/ 173 w 173"/>
                    <a:gd name="T49" fmla="*/ 21 h 173"/>
                    <a:gd name="T50" fmla="*/ 173 w 173"/>
                    <a:gd name="T51" fmla="*/ 26 h 173"/>
                    <a:gd name="T52" fmla="*/ 173 w 173"/>
                    <a:gd name="T53" fmla="*/ 32 h 173"/>
                    <a:gd name="T54" fmla="*/ 171 w 173"/>
                    <a:gd name="T55" fmla="*/ 36 h 173"/>
                    <a:gd name="T56" fmla="*/ 168 w 173"/>
                    <a:gd name="T57" fmla="*/ 40 h 173"/>
                    <a:gd name="T58" fmla="*/ 165 w 173"/>
                    <a:gd name="T59" fmla="*/ 44 h 173"/>
                    <a:gd name="T60" fmla="*/ 44 w 173"/>
                    <a:gd name="T61" fmla="*/ 164 h 173"/>
                    <a:gd name="T62" fmla="*/ 42 w 173"/>
                    <a:gd name="T63" fmla="*/ 168 h 173"/>
                    <a:gd name="T64" fmla="*/ 36 w 173"/>
                    <a:gd name="T65" fmla="*/ 170 h 173"/>
                    <a:gd name="T66" fmla="*/ 31 w 173"/>
                    <a:gd name="T67" fmla="*/ 171 h 173"/>
                    <a:gd name="T68" fmla="*/ 27 w 173"/>
                    <a:gd name="T69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3" h="173">
                      <a:moveTo>
                        <a:pt x="27" y="173"/>
                      </a:moveTo>
                      <a:lnTo>
                        <a:pt x="21" y="171"/>
                      </a:lnTo>
                      <a:lnTo>
                        <a:pt x="17" y="170"/>
                      </a:lnTo>
                      <a:lnTo>
                        <a:pt x="13" y="168"/>
                      </a:lnTo>
                      <a:lnTo>
                        <a:pt x="8" y="164"/>
                      </a:lnTo>
                      <a:lnTo>
                        <a:pt x="4" y="161"/>
                      </a:lnTo>
                      <a:lnTo>
                        <a:pt x="3" y="155"/>
                      </a:lnTo>
                      <a:lnTo>
                        <a:pt x="1" y="151"/>
                      </a:lnTo>
                      <a:lnTo>
                        <a:pt x="0" y="147"/>
                      </a:lnTo>
                      <a:lnTo>
                        <a:pt x="1" y="141"/>
                      </a:lnTo>
                      <a:lnTo>
                        <a:pt x="3" y="137"/>
                      </a:lnTo>
                      <a:lnTo>
                        <a:pt x="4" y="132"/>
                      </a:lnTo>
                      <a:lnTo>
                        <a:pt x="8" y="128"/>
                      </a:lnTo>
                      <a:lnTo>
                        <a:pt x="128" y="9"/>
                      </a:lnTo>
                      <a:lnTo>
                        <a:pt x="132" y="4"/>
                      </a:lnTo>
                      <a:lnTo>
                        <a:pt x="137" y="3"/>
                      </a:lnTo>
                      <a:lnTo>
                        <a:pt x="141" y="1"/>
                      </a:lnTo>
                      <a:lnTo>
                        <a:pt x="147" y="0"/>
                      </a:lnTo>
                      <a:lnTo>
                        <a:pt x="151" y="1"/>
                      </a:lnTo>
                      <a:lnTo>
                        <a:pt x="157" y="3"/>
                      </a:lnTo>
                      <a:lnTo>
                        <a:pt x="161" y="4"/>
                      </a:lnTo>
                      <a:lnTo>
                        <a:pt x="165" y="9"/>
                      </a:lnTo>
                      <a:lnTo>
                        <a:pt x="168" y="11"/>
                      </a:lnTo>
                      <a:lnTo>
                        <a:pt x="171" y="17"/>
                      </a:lnTo>
                      <a:lnTo>
                        <a:pt x="173" y="21"/>
                      </a:lnTo>
                      <a:lnTo>
                        <a:pt x="173" y="26"/>
                      </a:lnTo>
                      <a:lnTo>
                        <a:pt x="173" y="32"/>
                      </a:lnTo>
                      <a:lnTo>
                        <a:pt x="171" y="36"/>
                      </a:lnTo>
                      <a:lnTo>
                        <a:pt x="168" y="40"/>
                      </a:lnTo>
                      <a:lnTo>
                        <a:pt x="165" y="44"/>
                      </a:lnTo>
                      <a:lnTo>
                        <a:pt x="44" y="164"/>
                      </a:lnTo>
                      <a:lnTo>
                        <a:pt x="42" y="168"/>
                      </a:lnTo>
                      <a:lnTo>
                        <a:pt x="36" y="170"/>
                      </a:lnTo>
                      <a:lnTo>
                        <a:pt x="31" y="171"/>
                      </a:lnTo>
                      <a:lnTo>
                        <a:pt x="27" y="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</p:grpSp>
        </p:grpSp>
        <p:grpSp>
          <p:nvGrpSpPr>
            <p:cNvPr id="126" name="Group 125"/>
            <p:cNvGrpSpPr/>
            <p:nvPr/>
          </p:nvGrpSpPr>
          <p:grpSpPr>
            <a:xfrm>
              <a:off x="5727388" y="3450751"/>
              <a:ext cx="697500" cy="746715"/>
              <a:chOff x="5727388" y="3450751"/>
              <a:chExt cx="697500" cy="746715"/>
            </a:xfrm>
          </p:grpSpPr>
          <p:grpSp>
            <p:nvGrpSpPr>
              <p:cNvPr id="105" name="Group 104"/>
              <p:cNvGrpSpPr/>
              <p:nvPr/>
            </p:nvGrpSpPr>
            <p:grpSpPr>
              <a:xfrm>
                <a:off x="5727388" y="3450751"/>
                <a:ext cx="697500" cy="746715"/>
                <a:chOff x="-1046920" y="2123773"/>
                <a:chExt cx="1219200" cy="1305227"/>
              </a:xfrm>
            </p:grpSpPr>
            <p:sp>
              <p:nvSpPr>
                <p:cNvPr id="106" name="Oval 105"/>
                <p:cNvSpPr/>
                <p:nvPr/>
              </p:nvSpPr>
              <p:spPr>
                <a:xfrm>
                  <a:off x="-1046920" y="2209800"/>
                  <a:ext cx="1219200" cy="12192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000"/>
                </a:p>
              </p:txBody>
            </p:sp>
            <p:sp>
              <p:nvSpPr>
                <p:cNvPr id="107" name="Oval 106"/>
                <p:cNvSpPr/>
                <p:nvPr/>
              </p:nvSpPr>
              <p:spPr>
                <a:xfrm>
                  <a:off x="-961755" y="2294965"/>
                  <a:ext cx="1048871" cy="1048871"/>
                </a:xfrm>
                <a:prstGeom prst="ellipse">
                  <a:avLst/>
                </a:prstGeom>
                <a:solidFill>
                  <a:srgbClr val="F1C40F"/>
                </a:solidFill>
                <a:ln w="38100">
                  <a:solidFill>
                    <a:srgbClr val="D6DAD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000"/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-627820" y="2123773"/>
                  <a:ext cx="381000" cy="381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rgbClr val="F1C40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sz="700" b="1" dirty="0" smtClean="0">
                      <a:solidFill>
                        <a:srgbClr val="7F8C8D"/>
                      </a:solidFill>
                      <a:latin typeface="Calibri Light" panose="020F0302020204030204" pitchFamily="34" charset="0"/>
                    </a:rPr>
                    <a:t>3</a:t>
                  </a:r>
                  <a:endParaRPr lang="id-ID" sz="700" b="1" dirty="0">
                    <a:solidFill>
                      <a:srgbClr val="7F8C8D"/>
                    </a:solidFill>
                    <a:latin typeface="Calibri Light" panose="020F0302020204030204" pitchFamily="34" charset="0"/>
                  </a:endParaRPr>
                </a:p>
              </p:txBody>
            </p:sp>
          </p:grpSp>
          <p:grpSp>
            <p:nvGrpSpPr>
              <p:cNvPr id="109" name="Group 108"/>
              <p:cNvGrpSpPr/>
              <p:nvPr/>
            </p:nvGrpSpPr>
            <p:grpSpPr>
              <a:xfrm>
                <a:off x="5965374" y="3707069"/>
                <a:ext cx="221528" cy="324972"/>
                <a:chOff x="8640211" y="1701541"/>
                <a:chExt cx="418808" cy="614374"/>
              </a:xfrm>
              <a:solidFill>
                <a:schemeClr val="bg1"/>
              </a:solidFill>
            </p:grpSpPr>
            <p:sp>
              <p:nvSpPr>
                <p:cNvPr id="110" name="Freeform 10"/>
                <p:cNvSpPr>
                  <a:spLocks noEditPoints="1"/>
                </p:cNvSpPr>
                <p:nvPr/>
              </p:nvSpPr>
              <p:spPr bwMode="auto">
                <a:xfrm>
                  <a:off x="8640211" y="1701541"/>
                  <a:ext cx="418808" cy="614374"/>
                </a:xfrm>
                <a:custGeom>
                  <a:avLst/>
                  <a:gdLst>
                    <a:gd name="T0" fmla="*/ 40 w 680"/>
                    <a:gd name="T1" fmla="*/ 960 h 1000"/>
                    <a:gd name="T2" fmla="*/ 640 w 680"/>
                    <a:gd name="T3" fmla="*/ 960 h 1000"/>
                    <a:gd name="T4" fmla="*/ 640 w 680"/>
                    <a:gd name="T5" fmla="*/ 40 h 1000"/>
                    <a:gd name="T6" fmla="*/ 189 w 680"/>
                    <a:gd name="T7" fmla="*/ 40 h 1000"/>
                    <a:gd name="T8" fmla="*/ 40 w 680"/>
                    <a:gd name="T9" fmla="*/ 189 h 1000"/>
                    <a:gd name="T10" fmla="*/ 40 w 680"/>
                    <a:gd name="T11" fmla="*/ 960 h 1000"/>
                    <a:gd name="T12" fmla="*/ 660 w 680"/>
                    <a:gd name="T13" fmla="*/ 1000 h 1000"/>
                    <a:gd name="T14" fmla="*/ 20 w 680"/>
                    <a:gd name="T15" fmla="*/ 1000 h 1000"/>
                    <a:gd name="T16" fmla="*/ 16 w 680"/>
                    <a:gd name="T17" fmla="*/ 999 h 1000"/>
                    <a:gd name="T18" fmla="*/ 13 w 680"/>
                    <a:gd name="T19" fmla="*/ 999 h 1000"/>
                    <a:gd name="T20" fmla="*/ 9 w 680"/>
                    <a:gd name="T21" fmla="*/ 996 h 1000"/>
                    <a:gd name="T22" fmla="*/ 7 w 680"/>
                    <a:gd name="T23" fmla="*/ 994 h 1000"/>
                    <a:gd name="T24" fmla="*/ 4 w 680"/>
                    <a:gd name="T25" fmla="*/ 991 h 1000"/>
                    <a:gd name="T26" fmla="*/ 2 w 680"/>
                    <a:gd name="T27" fmla="*/ 988 h 1000"/>
                    <a:gd name="T28" fmla="*/ 0 w 680"/>
                    <a:gd name="T29" fmla="*/ 984 h 1000"/>
                    <a:gd name="T30" fmla="*/ 0 w 680"/>
                    <a:gd name="T31" fmla="*/ 980 h 1000"/>
                    <a:gd name="T32" fmla="*/ 0 w 680"/>
                    <a:gd name="T33" fmla="*/ 180 h 1000"/>
                    <a:gd name="T34" fmla="*/ 0 w 680"/>
                    <a:gd name="T35" fmla="*/ 176 h 1000"/>
                    <a:gd name="T36" fmla="*/ 2 w 680"/>
                    <a:gd name="T37" fmla="*/ 173 h 1000"/>
                    <a:gd name="T38" fmla="*/ 4 w 680"/>
                    <a:gd name="T39" fmla="*/ 169 h 1000"/>
                    <a:gd name="T40" fmla="*/ 7 w 680"/>
                    <a:gd name="T41" fmla="*/ 165 h 1000"/>
                    <a:gd name="T42" fmla="*/ 167 w 680"/>
                    <a:gd name="T43" fmla="*/ 6 h 1000"/>
                    <a:gd name="T44" fmla="*/ 169 w 680"/>
                    <a:gd name="T45" fmla="*/ 4 h 1000"/>
                    <a:gd name="T46" fmla="*/ 173 w 680"/>
                    <a:gd name="T47" fmla="*/ 1 h 1000"/>
                    <a:gd name="T48" fmla="*/ 177 w 680"/>
                    <a:gd name="T49" fmla="*/ 0 h 1000"/>
                    <a:gd name="T50" fmla="*/ 180 w 680"/>
                    <a:gd name="T51" fmla="*/ 0 h 1000"/>
                    <a:gd name="T52" fmla="*/ 660 w 680"/>
                    <a:gd name="T53" fmla="*/ 0 h 1000"/>
                    <a:gd name="T54" fmla="*/ 664 w 680"/>
                    <a:gd name="T55" fmla="*/ 0 h 1000"/>
                    <a:gd name="T56" fmla="*/ 667 w 680"/>
                    <a:gd name="T57" fmla="*/ 1 h 1000"/>
                    <a:gd name="T58" fmla="*/ 671 w 680"/>
                    <a:gd name="T59" fmla="*/ 4 h 1000"/>
                    <a:gd name="T60" fmla="*/ 675 w 680"/>
                    <a:gd name="T61" fmla="*/ 6 h 1000"/>
                    <a:gd name="T62" fmla="*/ 677 w 680"/>
                    <a:gd name="T63" fmla="*/ 9 h 1000"/>
                    <a:gd name="T64" fmla="*/ 678 w 680"/>
                    <a:gd name="T65" fmla="*/ 12 h 1000"/>
                    <a:gd name="T66" fmla="*/ 680 w 680"/>
                    <a:gd name="T67" fmla="*/ 16 h 1000"/>
                    <a:gd name="T68" fmla="*/ 680 w 680"/>
                    <a:gd name="T69" fmla="*/ 20 h 1000"/>
                    <a:gd name="T70" fmla="*/ 680 w 680"/>
                    <a:gd name="T71" fmla="*/ 980 h 1000"/>
                    <a:gd name="T72" fmla="*/ 680 w 680"/>
                    <a:gd name="T73" fmla="*/ 984 h 1000"/>
                    <a:gd name="T74" fmla="*/ 678 w 680"/>
                    <a:gd name="T75" fmla="*/ 988 h 1000"/>
                    <a:gd name="T76" fmla="*/ 677 w 680"/>
                    <a:gd name="T77" fmla="*/ 991 h 1000"/>
                    <a:gd name="T78" fmla="*/ 675 w 680"/>
                    <a:gd name="T79" fmla="*/ 994 h 1000"/>
                    <a:gd name="T80" fmla="*/ 671 w 680"/>
                    <a:gd name="T81" fmla="*/ 996 h 1000"/>
                    <a:gd name="T82" fmla="*/ 667 w 680"/>
                    <a:gd name="T83" fmla="*/ 999 h 1000"/>
                    <a:gd name="T84" fmla="*/ 664 w 680"/>
                    <a:gd name="T85" fmla="*/ 999 h 1000"/>
                    <a:gd name="T86" fmla="*/ 660 w 680"/>
                    <a:gd name="T87" fmla="*/ 1000 h 10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80" h="1000">
                      <a:moveTo>
                        <a:pt x="40" y="960"/>
                      </a:moveTo>
                      <a:lnTo>
                        <a:pt x="640" y="960"/>
                      </a:lnTo>
                      <a:lnTo>
                        <a:pt x="640" y="40"/>
                      </a:lnTo>
                      <a:lnTo>
                        <a:pt x="189" y="40"/>
                      </a:lnTo>
                      <a:lnTo>
                        <a:pt x="40" y="189"/>
                      </a:lnTo>
                      <a:lnTo>
                        <a:pt x="40" y="960"/>
                      </a:lnTo>
                      <a:close/>
                      <a:moveTo>
                        <a:pt x="660" y="1000"/>
                      </a:moveTo>
                      <a:lnTo>
                        <a:pt x="20" y="1000"/>
                      </a:lnTo>
                      <a:lnTo>
                        <a:pt x="16" y="999"/>
                      </a:lnTo>
                      <a:lnTo>
                        <a:pt x="13" y="999"/>
                      </a:lnTo>
                      <a:lnTo>
                        <a:pt x="9" y="996"/>
                      </a:lnTo>
                      <a:lnTo>
                        <a:pt x="7" y="994"/>
                      </a:lnTo>
                      <a:lnTo>
                        <a:pt x="4" y="991"/>
                      </a:lnTo>
                      <a:lnTo>
                        <a:pt x="2" y="988"/>
                      </a:lnTo>
                      <a:lnTo>
                        <a:pt x="0" y="984"/>
                      </a:lnTo>
                      <a:lnTo>
                        <a:pt x="0" y="980"/>
                      </a:lnTo>
                      <a:lnTo>
                        <a:pt x="0" y="180"/>
                      </a:lnTo>
                      <a:lnTo>
                        <a:pt x="0" y="176"/>
                      </a:lnTo>
                      <a:lnTo>
                        <a:pt x="2" y="173"/>
                      </a:lnTo>
                      <a:lnTo>
                        <a:pt x="4" y="169"/>
                      </a:lnTo>
                      <a:lnTo>
                        <a:pt x="7" y="165"/>
                      </a:lnTo>
                      <a:lnTo>
                        <a:pt x="167" y="6"/>
                      </a:lnTo>
                      <a:lnTo>
                        <a:pt x="169" y="4"/>
                      </a:lnTo>
                      <a:lnTo>
                        <a:pt x="173" y="1"/>
                      </a:lnTo>
                      <a:lnTo>
                        <a:pt x="177" y="0"/>
                      </a:lnTo>
                      <a:lnTo>
                        <a:pt x="180" y="0"/>
                      </a:lnTo>
                      <a:lnTo>
                        <a:pt x="660" y="0"/>
                      </a:lnTo>
                      <a:lnTo>
                        <a:pt x="664" y="0"/>
                      </a:lnTo>
                      <a:lnTo>
                        <a:pt x="667" y="1"/>
                      </a:lnTo>
                      <a:lnTo>
                        <a:pt x="671" y="4"/>
                      </a:lnTo>
                      <a:lnTo>
                        <a:pt x="675" y="6"/>
                      </a:lnTo>
                      <a:lnTo>
                        <a:pt x="677" y="9"/>
                      </a:lnTo>
                      <a:lnTo>
                        <a:pt x="678" y="12"/>
                      </a:lnTo>
                      <a:lnTo>
                        <a:pt x="680" y="16"/>
                      </a:lnTo>
                      <a:lnTo>
                        <a:pt x="680" y="20"/>
                      </a:lnTo>
                      <a:lnTo>
                        <a:pt x="680" y="980"/>
                      </a:lnTo>
                      <a:lnTo>
                        <a:pt x="680" y="984"/>
                      </a:lnTo>
                      <a:lnTo>
                        <a:pt x="678" y="988"/>
                      </a:lnTo>
                      <a:lnTo>
                        <a:pt x="677" y="991"/>
                      </a:lnTo>
                      <a:lnTo>
                        <a:pt x="675" y="994"/>
                      </a:lnTo>
                      <a:lnTo>
                        <a:pt x="671" y="996"/>
                      </a:lnTo>
                      <a:lnTo>
                        <a:pt x="667" y="999"/>
                      </a:lnTo>
                      <a:lnTo>
                        <a:pt x="664" y="999"/>
                      </a:lnTo>
                      <a:lnTo>
                        <a:pt x="660" y="100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11" name="Freeform 11"/>
                <p:cNvSpPr>
                  <a:spLocks/>
                </p:cNvSpPr>
                <p:nvPr/>
              </p:nvSpPr>
              <p:spPr bwMode="auto">
                <a:xfrm>
                  <a:off x="8640211" y="1701541"/>
                  <a:ext cx="123613" cy="123613"/>
                </a:xfrm>
                <a:custGeom>
                  <a:avLst/>
                  <a:gdLst>
                    <a:gd name="T0" fmla="*/ 180 w 200"/>
                    <a:gd name="T1" fmla="*/ 200 h 200"/>
                    <a:gd name="T2" fmla="*/ 20 w 200"/>
                    <a:gd name="T3" fmla="*/ 200 h 200"/>
                    <a:gd name="T4" fmla="*/ 16 w 200"/>
                    <a:gd name="T5" fmla="*/ 200 h 200"/>
                    <a:gd name="T6" fmla="*/ 13 w 200"/>
                    <a:gd name="T7" fmla="*/ 199 h 200"/>
                    <a:gd name="T8" fmla="*/ 9 w 200"/>
                    <a:gd name="T9" fmla="*/ 196 h 200"/>
                    <a:gd name="T10" fmla="*/ 7 w 200"/>
                    <a:gd name="T11" fmla="*/ 194 h 200"/>
                    <a:gd name="T12" fmla="*/ 4 w 200"/>
                    <a:gd name="T13" fmla="*/ 191 h 200"/>
                    <a:gd name="T14" fmla="*/ 2 w 200"/>
                    <a:gd name="T15" fmla="*/ 188 h 200"/>
                    <a:gd name="T16" fmla="*/ 0 w 200"/>
                    <a:gd name="T17" fmla="*/ 184 h 200"/>
                    <a:gd name="T18" fmla="*/ 0 w 200"/>
                    <a:gd name="T19" fmla="*/ 180 h 200"/>
                    <a:gd name="T20" fmla="*/ 0 w 200"/>
                    <a:gd name="T21" fmla="*/ 176 h 200"/>
                    <a:gd name="T22" fmla="*/ 2 w 200"/>
                    <a:gd name="T23" fmla="*/ 173 h 200"/>
                    <a:gd name="T24" fmla="*/ 4 w 200"/>
                    <a:gd name="T25" fmla="*/ 169 h 200"/>
                    <a:gd name="T26" fmla="*/ 7 w 200"/>
                    <a:gd name="T27" fmla="*/ 165 h 200"/>
                    <a:gd name="T28" fmla="*/ 9 w 200"/>
                    <a:gd name="T29" fmla="*/ 164 h 200"/>
                    <a:gd name="T30" fmla="*/ 13 w 200"/>
                    <a:gd name="T31" fmla="*/ 162 h 200"/>
                    <a:gd name="T32" fmla="*/ 16 w 200"/>
                    <a:gd name="T33" fmla="*/ 160 h 200"/>
                    <a:gd name="T34" fmla="*/ 20 w 200"/>
                    <a:gd name="T35" fmla="*/ 160 h 200"/>
                    <a:gd name="T36" fmla="*/ 161 w 200"/>
                    <a:gd name="T37" fmla="*/ 160 h 200"/>
                    <a:gd name="T38" fmla="*/ 161 w 200"/>
                    <a:gd name="T39" fmla="*/ 20 h 200"/>
                    <a:gd name="T40" fmla="*/ 161 w 200"/>
                    <a:gd name="T41" fmla="*/ 16 h 200"/>
                    <a:gd name="T42" fmla="*/ 162 w 200"/>
                    <a:gd name="T43" fmla="*/ 12 h 200"/>
                    <a:gd name="T44" fmla="*/ 164 w 200"/>
                    <a:gd name="T45" fmla="*/ 9 h 200"/>
                    <a:gd name="T46" fmla="*/ 167 w 200"/>
                    <a:gd name="T47" fmla="*/ 6 h 200"/>
                    <a:gd name="T48" fmla="*/ 169 w 200"/>
                    <a:gd name="T49" fmla="*/ 4 h 200"/>
                    <a:gd name="T50" fmla="*/ 173 w 200"/>
                    <a:gd name="T51" fmla="*/ 1 h 200"/>
                    <a:gd name="T52" fmla="*/ 177 w 200"/>
                    <a:gd name="T53" fmla="*/ 0 h 200"/>
                    <a:gd name="T54" fmla="*/ 180 w 200"/>
                    <a:gd name="T55" fmla="*/ 0 h 200"/>
                    <a:gd name="T56" fmla="*/ 184 w 200"/>
                    <a:gd name="T57" fmla="*/ 0 h 200"/>
                    <a:gd name="T58" fmla="*/ 188 w 200"/>
                    <a:gd name="T59" fmla="*/ 1 h 200"/>
                    <a:gd name="T60" fmla="*/ 192 w 200"/>
                    <a:gd name="T61" fmla="*/ 4 h 200"/>
                    <a:gd name="T62" fmla="*/ 194 w 200"/>
                    <a:gd name="T63" fmla="*/ 6 h 200"/>
                    <a:gd name="T64" fmla="*/ 197 w 200"/>
                    <a:gd name="T65" fmla="*/ 9 h 200"/>
                    <a:gd name="T66" fmla="*/ 199 w 200"/>
                    <a:gd name="T67" fmla="*/ 12 h 200"/>
                    <a:gd name="T68" fmla="*/ 200 w 200"/>
                    <a:gd name="T69" fmla="*/ 16 h 200"/>
                    <a:gd name="T70" fmla="*/ 200 w 200"/>
                    <a:gd name="T71" fmla="*/ 20 h 200"/>
                    <a:gd name="T72" fmla="*/ 200 w 200"/>
                    <a:gd name="T73" fmla="*/ 180 h 200"/>
                    <a:gd name="T74" fmla="*/ 200 w 200"/>
                    <a:gd name="T75" fmla="*/ 184 h 200"/>
                    <a:gd name="T76" fmla="*/ 199 w 200"/>
                    <a:gd name="T77" fmla="*/ 188 h 200"/>
                    <a:gd name="T78" fmla="*/ 197 w 200"/>
                    <a:gd name="T79" fmla="*/ 191 h 200"/>
                    <a:gd name="T80" fmla="*/ 194 w 200"/>
                    <a:gd name="T81" fmla="*/ 194 h 200"/>
                    <a:gd name="T82" fmla="*/ 192 w 200"/>
                    <a:gd name="T83" fmla="*/ 196 h 200"/>
                    <a:gd name="T84" fmla="*/ 188 w 200"/>
                    <a:gd name="T85" fmla="*/ 199 h 200"/>
                    <a:gd name="T86" fmla="*/ 184 w 200"/>
                    <a:gd name="T87" fmla="*/ 200 h 200"/>
                    <a:gd name="T88" fmla="*/ 180 w 200"/>
                    <a:gd name="T89" fmla="*/ 200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0" h="200">
                      <a:moveTo>
                        <a:pt x="180" y="200"/>
                      </a:moveTo>
                      <a:lnTo>
                        <a:pt x="20" y="200"/>
                      </a:lnTo>
                      <a:lnTo>
                        <a:pt x="16" y="200"/>
                      </a:lnTo>
                      <a:lnTo>
                        <a:pt x="13" y="199"/>
                      </a:lnTo>
                      <a:lnTo>
                        <a:pt x="9" y="196"/>
                      </a:lnTo>
                      <a:lnTo>
                        <a:pt x="7" y="194"/>
                      </a:lnTo>
                      <a:lnTo>
                        <a:pt x="4" y="191"/>
                      </a:lnTo>
                      <a:lnTo>
                        <a:pt x="2" y="188"/>
                      </a:lnTo>
                      <a:lnTo>
                        <a:pt x="0" y="184"/>
                      </a:lnTo>
                      <a:lnTo>
                        <a:pt x="0" y="180"/>
                      </a:lnTo>
                      <a:lnTo>
                        <a:pt x="0" y="176"/>
                      </a:lnTo>
                      <a:lnTo>
                        <a:pt x="2" y="173"/>
                      </a:lnTo>
                      <a:lnTo>
                        <a:pt x="4" y="169"/>
                      </a:lnTo>
                      <a:lnTo>
                        <a:pt x="7" y="165"/>
                      </a:lnTo>
                      <a:lnTo>
                        <a:pt x="9" y="164"/>
                      </a:lnTo>
                      <a:lnTo>
                        <a:pt x="13" y="162"/>
                      </a:lnTo>
                      <a:lnTo>
                        <a:pt x="16" y="160"/>
                      </a:lnTo>
                      <a:lnTo>
                        <a:pt x="20" y="160"/>
                      </a:lnTo>
                      <a:lnTo>
                        <a:pt x="161" y="160"/>
                      </a:lnTo>
                      <a:lnTo>
                        <a:pt x="161" y="20"/>
                      </a:lnTo>
                      <a:lnTo>
                        <a:pt x="161" y="16"/>
                      </a:lnTo>
                      <a:lnTo>
                        <a:pt x="162" y="12"/>
                      </a:lnTo>
                      <a:lnTo>
                        <a:pt x="164" y="9"/>
                      </a:lnTo>
                      <a:lnTo>
                        <a:pt x="167" y="6"/>
                      </a:lnTo>
                      <a:lnTo>
                        <a:pt x="169" y="4"/>
                      </a:lnTo>
                      <a:lnTo>
                        <a:pt x="173" y="1"/>
                      </a:lnTo>
                      <a:lnTo>
                        <a:pt x="177" y="0"/>
                      </a:lnTo>
                      <a:lnTo>
                        <a:pt x="180" y="0"/>
                      </a:lnTo>
                      <a:lnTo>
                        <a:pt x="184" y="0"/>
                      </a:lnTo>
                      <a:lnTo>
                        <a:pt x="188" y="1"/>
                      </a:lnTo>
                      <a:lnTo>
                        <a:pt x="192" y="4"/>
                      </a:lnTo>
                      <a:lnTo>
                        <a:pt x="194" y="6"/>
                      </a:lnTo>
                      <a:lnTo>
                        <a:pt x="197" y="9"/>
                      </a:lnTo>
                      <a:lnTo>
                        <a:pt x="199" y="12"/>
                      </a:lnTo>
                      <a:lnTo>
                        <a:pt x="200" y="16"/>
                      </a:lnTo>
                      <a:lnTo>
                        <a:pt x="200" y="20"/>
                      </a:lnTo>
                      <a:lnTo>
                        <a:pt x="200" y="180"/>
                      </a:lnTo>
                      <a:lnTo>
                        <a:pt x="200" y="184"/>
                      </a:lnTo>
                      <a:lnTo>
                        <a:pt x="199" y="188"/>
                      </a:lnTo>
                      <a:lnTo>
                        <a:pt x="197" y="191"/>
                      </a:lnTo>
                      <a:lnTo>
                        <a:pt x="194" y="194"/>
                      </a:lnTo>
                      <a:lnTo>
                        <a:pt x="192" y="196"/>
                      </a:lnTo>
                      <a:lnTo>
                        <a:pt x="188" y="199"/>
                      </a:lnTo>
                      <a:lnTo>
                        <a:pt x="184" y="200"/>
                      </a:lnTo>
                      <a:lnTo>
                        <a:pt x="180" y="20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12" name="Freeform 59"/>
                <p:cNvSpPr>
                  <a:spLocks noEditPoints="1"/>
                </p:cNvSpPr>
                <p:nvPr/>
              </p:nvSpPr>
              <p:spPr bwMode="auto">
                <a:xfrm>
                  <a:off x="8715855" y="1898953"/>
                  <a:ext cx="269365" cy="269365"/>
                </a:xfrm>
                <a:custGeom>
                  <a:avLst/>
                  <a:gdLst>
                    <a:gd name="T0" fmla="*/ 184 w 439"/>
                    <a:gd name="T1" fmla="*/ 43 h 439"/>
                    <a:gd name="T2" fmla="*/ 134 w 439"/>
                    <a:gd name="T3" fmla="*/ 60 h 439"/>
                    <a:gd name="T4" fmla="*/ 92 w 439"/>
                    <a:gd name="T5" fmla="*/ 91 h 439"/>
                    <a:gd name="T6" fmla="*/ 61 w 439"/>
                    <a:gd name="T7" fmla="*/ 134 h 439"/>
                    <a:gd name="T8" fmla="*/ 43 w 439"/>
                    <a:gd name="T9" fmla="*/ 182 h 439"/>
                    <a:gd name="T10" fmla="*/ 41 w 439"/>
                    <a:gd name="T11" fmla="*/ 237 h 439"/>
                    <a:gd name="T12" fmla="*/ 53 w 439"/>
                    <a:gd name="T13" fmla="*/ 289 h 439"/>
                    <a:gd name="T14" fmla="*/ 81 w 439"/>
                    <a:gd name="T15" fmla="*/ 334 h 439"/>
                    <a:gd name="T16" fmla="*/ 119 w 439"/>
                    <a:gd name="T17" fmla="*/ 369 h 439"/>
                    <a:gd name="T18" fmla="*/ 166 w 439"/>
                    <a:gd name="T19" fmla="*/ 391 h 439"/>
                    <a:gd name="T20" fmla="*/ 220 w 439"/>
                    <a:gd name="T21" fmla="*/ 398 h 439"/>
                    <a:gd name="T22" fmla="*/ 273 w 439"/>
                    <a:gd name="T23" fmla="*/ 391 h 439"/>
                    <a:gd name="T24" fmla="*/ 320 w 439"/>
                    <a:gd name="T25" fmla="*/ 369 h 439"/>
                    <a:gd name="T26" fmla="*/ 358 w 439"/>
                    <a:gd name="T27" fmla="*/ 334 h 439"/>
                    <a:gd name="T28" fmla="*/ 385 w 439"/>
                    <a:gd name="T29" fmla="*/ 289 h 439"/>
                    <a:gd name="T30" fmla="*/ 399 w 439"/>
                    <a:gd name="T31" fmla="*/ 237 h 439"/>
                    <a:gd name="T32" fmla="*/ 396 w 439"/>
                    <a:gd name="T33" fmla="*/ 182 h 439"/>
                    <a:gd name="T34" fmla="*/ 377 w 439"/>
                    <a:gd name="T35" fmla="*/ 134 h 439"/>
                    <a:gd name="T36" fmla="*/ 346 w 439"/>
                    <a:gd name="T37" fmla="*/ 91 h 439"/>
                    <a:gd name="T38" fmla="*/ 305 w 439"/>
                    <a:gd name="T39" fmla="*/ 60 h 439"/>
                    <a:gd name="T40" fmla="*/ 256 w 439"/>
                    <a:gd name="T41" fmla="*/ 43 h 439"/>
                    <a:gd name="T42" fmla="*/ 220 w 439"/>
                    <a:gd name="T43" fmla="*/ 439 h 439"/>
                    <a:gd name="T44" fmla="*/ 154 w 439"/>
                    <a:gd name="T45" fmla="*/ 429 h 439"/>
                    <a:gd name="T46" fmla="*/ 97 w 439"/>
                    <a:gd name="T47" fmla="*/ 401 h 439"/>
                    <a:gd name="T48" fmla="*/ 49 w 439"/>
                    <a:gd name="T49" fmla="*/ 359 h 439"/>
                    <a:gd name="T50" fmla="*/ 17 w 439"/>
                    <a:gd name="T51" fmla="*/ 304 h 439"/>
                    <a:gd name="T52" fmla="*/ 1 w 439"/>
                    <a:gd name="T53" fmla="*/ 242 h 439"/>
                    <a:gd name="T54" fmla="*/ 4 w 439"/>
                    <a:gd name="T55" fmla="*/ 175 h 439"/>
                    <a:gd name="T56" fmla="*/ 26 w 439"/>
                    <a:gd name="T57" fmla="*/ 114 h 439"/>
                    <a:gd name="T58" fmla="*/ 64 w 439"/>
                    <a:gd name="T59" fmla="*/ 63 h 439"/>
                    <a:gd name="T60" fmla="*/ 114 w 439"/>
                    <a:gd name="T61" fmla="*/ 26 h 439"/>
                    <a:gd name="T62" fmla="*/ 175 w 439"/>
                    <a:gd name="T63" fmla="*/ 3 h 439"/>
                    <a:gd name="T64" fmla="*/ 242 w 439"/>
                    <a:gd name="T65" fmla="*/ 0 h 439"/>
                    <a:gd name="T66" fmla="*/ 305 w 439"/>
                    <a:gd name="T67" fmla="*/ 16 h 439"/>
                    <a:gd name="T68" fmla="*/ 359 w 439"/>
                    <a:gd name="T69" fmla="*/ 49 h 439"/>
                    <a:gd name="T70" fmla="*/ 401 w 439"/>
                    <a:gd name="T71" fmla="*/ 96 h 439"/>
                    <a:gd name="T72" fmla="*/ 430 w 439"/>
                    <a:gd name="T73" fmla="*/ 154 h 439"/>
                    <a:gd name="T74" fmla="*/ 439 w 439"/>
                    <a:gd name="T75" fmla="*/ 219 h 439"/>
                    <a:gd name="T76" fmla="*/ 430 w 439"/>
                    <a:gd name="T77" fmla="*/ 284 h 439"/>
                    <a:gd name="T78" fmla="*/ 401 w 439"/>
                    <a:gd name="T79" fmla="*/ 342 h 439"/>
                    <a:gd name="T80" fmla="*/ 359 w 439"/>
                    <a:gd name="T81" fmla="*/ 388 h 439"/>
                    <a:gd name="T82" fmla="*/ 305 w 439"/>
                    <a:gd name="T83" fmla="*/ 422 h 439"/>
                    <a:gd name="T84" fmla="*/ 242 w 439"/>
                    <a:gd name="T85" fmla="*/ 438 h 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39" h="439">
                      <a:moveTo>
                        <a:pt x="220" y="39"/>
                      </a:moveTo>
                      <a:lnTo>
                        <a:pt x="201" y="39"/>
                      </a:lnTo>
                      <a:lnTo>
                        <a:pt x="184" y="43"/>
                      </a:lnTo>
                      <a:lnTo>
                        <a:pt x="166" y="47"/>
                      </a:lnTo>
                      <a:lnTo>
                        <a:pt x="149" y="53"/>
                      </a:lnTo>
                      <a:lnTo>
                        <a:pt x="134" y="60"/>
                      </a:lnTo>
                      <a:lnTo>
                        <a:pt x="119" y="70"/>
                      </a:lnTo>
                      <a:lnTo>
                        <a:pt x="105" y="80"/>
                      </a:lnTo>
                      <a:lnTo>
                        <a:pt x="92" y="91"/>
                      </a:lnTo>
                      <a:lnTo>
                        <a:pt x="81" y="105"/>
                      </a:lnTo>
                      <a:lnTo>
                        <a:pt x="71" y="119"/>
                      </a:lnTo>
                      <a:lnTo>
                        <a:pt x="61" y="134"/>
                      </a:lnTo>
                      <a:lnTo>
                        <a:pt x="53" y="149"/>
                      </a:lnTo>
                      <a:lnTo>
                        <a:pt x="47" y="166"/>
                      </a:lnTo>
                      <a:lnTo>
                        <a:pt x="43" y="182"/>
                      </a:lnTo>
                      <a:lnTo>
                        <a:pt x="41" y="201"/>
                      </a:lnTo>
                      <a:lnTo>
                        <a:pt x="40" y="219"/>
                      </a:lnTo>
                      <a:lnTo>
                        <a:pt x="41" y="237"/>
                      </a:lnTo>
                      <a:lnTo>
                        <a:pt x="43" y="255"/>
                      </a:lnTo>
                      <a:lnTo>
                        <a:pt x="47" y="273"/>
                      </a:lnTo>
                      <a:lnTo>
                        <a:pt x="53" y="289"/>
                      </a:lnTo>
                      <a:lnTo>
                        <a:pt x="61" y="305"/>
                      </a:lnTo>
                      <a:lnTo>
                        <a:pt x="71" y="320"/>
                      </a:lnTo>
                      <a:lnTo>
                        <a:pt x="81" y="334"/>
                      </a:lnTo>
                      <a:lnTo>
                        <a:pt x="92" y="346"/>
                      </a:lnTo>
                      <a:lnTo>
                        <a:pt x="105" y="357"/>
                      </a:lnTo>
                      <a:lnTo>
                        <a:pt x="119" y="369"/>
                      </a:lnTo>
                      <a:lnTo>
                        <a:pt x="134" y="377"/>
                      </a:lnTo>
                      <a:lnTo>
                        <a:pt x="149" y="385"/>
                      </a:lnTo>
                      <a:lnTo>
                        <a:pt x="166" y="391"/>
                      </a:lnTo>
                      <a:lnTo>
                        <a:pt x="184" y="396"/>
                      </a:lnTo>
                      <a:lnTo>
                        <a:pt x="201" y="398"/>
                      </a:lnTo>
                      <a:lnTo>
                        <a:pt x="220" y="398"/>
                      </a:lnTo>
                      <a:lnTo>
                        <a:pt x="237" y="398"/>
                      </a:lnTo>
                      <a:lnTo>
                        <a:pt x="256" y="396"/>
                      </a:lnTo>
                      <a:lnTo>
                        <a:pt x="273" y="391"/>
                      </a:lnTo>
                      <a:lnTo>
                        <a:pt x="289" y="385"/>
                      </a:lnTo>
                      <a:lnTo>
                        <a:pt x="305" y="377"/>
                      </a:lnTo>
                      <a:lnTo>
                        <a:pt x="320" y="369"/>
                      </a:lnTo>
                      <a:lnTo>
                        <a:pt x="334" y="357"/>
                      </a:lnTo>
                      <a:lnTo>
                        <a:pt x="346" y="346"/>
                      </a:lnTo>
                      <a:lnTo>
                        <a:pt x="358" y="334"/>
                      </a:lnTo>
                      <a:lnTo>
                        <a:pt x="369" y="320"/>
                      </a:lnTo>
                      <a:lnTo>
                        <a:pt x="377" y="305"/>
                      </a:lnTo>
                      <a:lnTo>
                        <a:pt x="385" y="289"/>
                      </a:lnTo>
                      <a:lnTo>
                        <a:pt x="391" y="273"/>
                      </a:lnTo>
                      <a:lnTo>
                        <a:pt x="396" y="255"/>
                      </a:lnTo>
                      <a:lnTo>
                        <a:pt x="399" y="237"/>
                      </a:lnTo>
                      <a:lnTo>
                        <a:pt x="400" y="219"/>
                      </a:lnTo>
                      <a:lnTo>
                        <a:pt x="399" y="201"/>
                      </a:lnTo>
                      <a:lnTo>
                        <a:pt x="396" y="182"/>
                      </a:lnTo>
                      <a:lnTo>
                        <a:pt x="391" y="166"/>
                      </a:lnTo>
                      <a:lnTo>
                        <a:pt x="385" y="149"/>
                      </a:lnTo>
                      <a:lnTo>
                        <a:pt x="377" y="134"/>
                      </a:lnTo>
                      <a:lnTo>
                        <a:pt x="369" y="119"/>
                      </a:lnTo>
                      <a:lnTo>
                        <a:pt x="358" y="105"/>
                      </a:lnTo>
                      <a:lnTo>
                        <a:pt x="346" y="91"/>
                      </a:lnTo>
                      <a:lnTo>
                        <a:pt x="334" y="80"/>
                      </a:lnTo>
                      <a:lnTo>
                        <a:pt x="320" y="70"/>
                      </a:lnTo>
                      <a:lnTo>
                        <a:pt x="305" y="60"/>
                      </a:lnTo>
                      <a:lnTo>
                        <a:pt x="289" y="53"/>
                      </a:lnTo>
                      <a:lnTo>
                        <a:pt x="273" y="47"/>
                      </a:lnTo>
                      <a:lnTo>
                        <a:pt x="256" y="43"/>
                      </a:lnTo>
                      <a:lnTo>
                        <a:pt x="237" y="39"/>
                      </a:lnTo>
                      <a:lnTo>
                        <a:pt x="220" y="39"/>
                      </a:lnTo>
                      <a:close/>
                      <a:moveTo>
                        <a:pt x="220" y="439"/>
                      </a:moveTo>
                      <a:lnTo>
                        <a:pt x="197" y="438"/>
                      </a:lnTo>
                      <a:lnTo>
                        <a:pt x="175" y="434"/>
                      </a:lnTo>
                      <a:lnTo>
                        <a:pt x="154" y="429"/>
                      </a:lnTo>
                      <a:lnTo>
                        <a:pt x="134" y="422"/>
                      </a:lnTo>
                      <a:lnTo>
                        <a:pt x="114" y="412"/>
                      </a:lnTo>
                      <a:lnTo>
                        <a:pt x="97" y="401"/>
                      </a:lnTo>
                      <a:lnTo>
                        <a:pt x="79" y="388"/>
                      </a:lnTo>
                      <a:lnTo>
                        <a:pt x="64" y="375"/>
                      </a:lnTo>
                      <a:lnTo>
                        <a:pt x="49" y="359"/>
                      </a:lnTo>
                      <a:lnTo>
                        <a:pt x="37" y="342"/>
                      </a:lnTo>
                      <a:lnTo>
                        <a:pt x="26" y="324"/>
                      </a:lnTo>
                      <a:lnTo>
                        <a:pt x="17" y="304"/>
                      </a:lnTo>
                      <a:lnTo>
                        <a:pt x="10" y="284"/>
                      </a:lnTo>
                      <a:lnTo>
                        <a:pt x="4" y="263"/>
                      </a:lnTo>
                      <a:lnTo>
                        <a:pt x="1" y="242"/>
                      </a:lnTo>
                      <a:lnTo>
                        <a:pt x="0" y="219"/>
                      </a:lnTo>
                      <a:lnTo>
                        <a:pt x="1" y="197"/>
                      </a:lnTo>
                      <a:lnTo>
                        <a:pt x="4" y="175"/>
                      </a:lnTo>
                      <a:lnTo>
                        <a:pt x="10" y="154"/>
                      </a:lnTo>
                      <a:lnTo>
                        <a:pt x="17" y="134"/>
                      </a:lnTo>
                      <a:lnTo>
                        <a:pt x="26" y="114"/>
                      </a:lnTo>
                      <a:lnTo>
                        <a:pt x="37" y="96"/>
                      </a:lnTo>
                      <a:lnTo>
                        <a:pt x="49" y="79"/>
                      </a:lnTo>
                      <a:lnTo>
                        <a:pt x="64" y="63"/>
                      </a:lnTo>
                      <a:lnTo>
                        <a:pt x="79" y="49"/>
                      </a:lnTo>
                      <a:lnTo>
                        <a:pt x="97" y="37"/>
                      </a:lnTo>
                      <a:lnTo>
                        <a:pt x="114" y="26"/>
                      </a:lnTo>
                      <a:lnTo>
                        <a:pt x="134" y="16"/>
                      </a:lnTo>
                      <a:lnTo>
                        <a:pt x="154" y="9"/>
                      </a:lnTo>
                      <a:lnTo>
                        <a:pt x="175" y="3"/>
                      </a:lnTo>
                      <a:lnTo>
                        <a:pt x="197" y="0"/>
                      </a:lnTo>
                      <a:lnTo>
                        <a:pt x="220" y="0"/>
                      </a:lnTo>
                      <a:lnTo>
                        <a:pt x="242" y="0"/>
                      </a:lnTo>
                      <a:lnTo>
                        <a:pt x="263" y="3"/>
                      </a:lnTo>
                      <a:lnTo>
                        <a:pt x="284" y="9"/>
                      </a:lnTo>
                      <a:lnTo>
                        <a:pt x="305" y="16"/>
                      </a:lnTo>
                      <a:lnTo>
                        <a:pt x="324" y="26"/>
                      </a:lnTo>
                      <a:lnTo>
                        <a:pt x="343" y="37"/>
                      </a:lnTo>
                      <a:lnTo>
                        <a:pt x="359" y="49"/>
                      </a:lnTo>
                      <a:lnTo>
                        <a:pt x="375" y="63"/>
                      </a:lnTo>
                      <a:lnTo>
                        <a:pt x="389" y="79"/>
                      </a:lnTo>
                      <a:lnTo>
                        <a:pt x="401" y="96"/>
                      </a:lnTo>
                      <a:lnTo>
                        <a:pt x="412" y="114"/>
                      </a:lnTo>
                      <a:lnTo>
                        <a:pt x="422" y="134"/>
                      </a:lnTo>
                      <a:lnTo>
                        <a:pt x="430" y="154"/>
                      </a:lnTo>
                      <a:lnTo>
                        <a:pt x="435" y="175"/>
                      </a:lnTo>
                      <a:lnTo>
                        <a:pt x="438" y="197"/>
                      </a:lnTo>
                      <a:lnTo>
                        <a:pt x="439" y="219"/>
                      </a:lnTo>
                      <a:lnTo>
                        <a:pt x="438" y="242"/>
                      </a:lnTo>
                      <a:lnTo>
                        <a:pt x="435" y="263"/>
                      </a:lnTo>
                      <a:lnTo>
                        <a:pt x="430" y="284"/>
                      </a:lnTo>
                      <a:lnTo>
                        <a:pt x="422" y="304"/>
                      </a:lnTo>
                      <a:lnTo>
                        <a:pt x="412" y="324"/>
                      </a:lnTo>
                      <a:lnTo>
                        <a:pt x="401" y="342"/>
                      </a:lnTo>
                      <a:lnTo>
                        <a:pt x="389" y="359"/>
                      </a:lnTo>
                      <a:lnTo>
                        <a:pt x="375" y="375"/>
                      </a:lnTo>
                      <a:lnTo>
                        <a:pt x="359" y="388"/>
                      </a:lnTo>
                      <a:lnTo>
                        <a:pt x="343" y="401"/>
                      </a:lnTo>
                      <a:lnTo>
                        <a:pt x="324" y="412"/>
                      </a:lnTo>
                      <a:lnTo>
                        <a:pt x="305" y="422"/>
                      </a:lnTo>
                      <a:lnTo>
                        <a:pt x="284" y="429"/>
                      </a:lnTo>
                      <a:lnTo>
                        <a:pt x="263" y="434"/>
                      </a:lnTo>
                      <a:lnTo>
                        <a:pt x="242" y="438"/>
                      </a:lnTo>
                      <a:lnTo>
                        <a:pt x="220" y="4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13" name="Freeform 60"/>
                <p:cNvSpPr>
                  <a:spLocks/>
                </p:cNvSpPr>
                <p:nvPr/>
              </p:nvSpPr>
              <p:spPr bwMode="auto">
                <a:xfrm>
                  <a:off x="8763824" y="1983821"/>
                  <a:ext cx="160512" cy="110698"/>
                </a:xfrm>
                <a:custGeom>
                  <a:avLst/>
                  <a:gdLst>
                    <a:gd name="T0" fmla="*/ 100 w 260"/>
                    <a:gd name="T1" fmla="*/ 180 h 180"/>
                    <a:gd name="T2" fmla="*/ 96 w 260"/>
                    <a:gd name="T3" fmla="*/ 180 h 180"/>
                    <a:gd name="T4" fmla="*/ 92 w 260"/>
                    <a:gd name="T5" fmla="*/ 179 h 180"/>
                    <a:gd name="T6" fmla="*/ 90 w 260"/>
                    <a:gd name="T7" fmla="*/ 176 h 180"/>
                    <a:gd name="T8" fmla="*/ 86 w 260"/>
                    <a:gd name="T9" fmla="*/ 174 h 180"/>
                    <a:gd name="T10" fmla="*/ 7 w 260"/>
                    <a:gd name="T11" fmla="*/ 94 h 180"/>
                    <a:gd name="T12" fmla="*/ 4 w 260"/>
                    <a:gd name="T13" fmla="*/ 90 h 180"/>
                    <a:gd name="T14" fmla="*/ 2 w 260"/>
                    <a:gd name="T15" fmla="*/ 88 h 180"/>
                    <a:gd name="T16" fmla="*/ 0 w 260"/>
                    <a:gd name="T17" fmla="*/ 84 h 180"/>
                    <a:gd name="T18" fmla="*/ 0 w 260"/>
                    <a:gd name="T19" fmla="*/ 80 h 180"/>
                    <a:gd name="T20" fmla="*/ 0 w 260"/>
                    <a:gd name="T21" fmla="*/ 77 h 180"/>
                    <a:gd name="T22" fmla="*/ 2 w 260"/>
                    <a:gd name="T23" fmla="*/ 73 h 180"/>
                    <a:gd name="T24" fmla="*/ 4 w 260"/>
                    <a:gd name="T25" fmla="*/ 69 h 180"/>
                    <a:gd name="T26" fmla="*/ 7 w 260"/>
                    <a:gd name="T27" fmla="*/ 66 h 180"/>
                    <a:gd name="T28" fmla="*/ 9 w 260"/>
                    <a:gd name="T29" fmla="*/ 63 h 180"/>
                    <a:gd name="T30" fmla="*/ 13 w 260"/>
                    <a:gd name="T31" fmla="*/ 62 h 180"/>
                    <a:gd name="T32" fmla="*/ 16 w 260"/>
                    <a:gd name="T33" fmla="*/ 61 h 180"/>
                    <a:gd name="T34" fmla="*/ 20 w 260"/>
                    <a:gd name="T35" fmla="*/ 61 h 180"/>
                    <a:gd name="T36" fmla="*/ 24 w 260"/>
                    <a:gd name="T37" fmla="*/ 61 h 180"/>
                    <a:gd name="T38" fmla="*/ 28 w 260"/>
                    <a:gd name="T39" fmla="*/ 62 h 180"/>
                    <a:gd name="T40" fmla="*/ 31 w 260"/>
                    <a:gd name="T41" fmla="*/ 63 h 180"/>
                    <a:gd name="T42" fmla="*/ 34 w 260"/>
                    <a:gd name="T43" fmla="*/ 66 h 180"/>
                    <a:gd name="T44" fmla="*/ 100 w 260"/>
                    <a:gd name="T45" fmla="*/ 131 h 180"/>
                    <a:gd name="T46" fmla="*/ 226 w 260"/>
                    <a:gd name="T47" fmla="*/ 6 h 180"/>
                    <a:gd name="T48" fmla="*/ 229 w 260"/>
                    <a:gd name="T49" fmla="*/ 3 h 180"/>
                    <a:gd name="T50" fmla="*/ 233 w 260"/>
                    <a:gd name="T51" fmla="*/ 1 h 180"/>
                    <a:gd name="T52" fmla="*/ 236 w 260"/>
                    <a:gd name="T53" fmla="*/ 1 h 180"/>
                    <a:gd name="T54" fmla="*/ 240 w 260"/>
                    <a:gd name="T55" fmla="*/ 0 h 180"/>
                    <a:gd name="T56" fmla="*/ 244 w 260"/>
                    <a:gd name="T57" fmla="*/ 1 h 180"/>
                    <a:gd name="T58" fmla="*/ 247 w 260"/>
                    <a:gd name="T59" fmla="*/ 1 h 180"/>
                    <a:gd name="T60" fmla="*/ 251 w 260"/>
                    <a:gd name="T61" fmla="*/ 3 h 180"/>
                    <a:gd name="T62" fmla="*/ 255 w 260"/>
                    <a:gd name="T63" fmla="*/ 6 h 180"/>
                    <a:gd name="T64" fmla="*/ 257 w 260"/>
                    <a:gd name="T65" fmla="*/ 8 h 180"/>
                    <a:gd name="T66" fmla="*/ 259 w 260"/>
                    <a:gd name="T67" fmla="*/ 12 h 180"/>
                    <a:gd name="T68" fmla="*/ 260 w 260"/>
                    <a:gd name="T69" fmla="*/ 16 h 180"/>
                    <a:gd name="T70" fmla="*/ 260 w 260"/>
                    <a:gd name="T71" fmla="*/ 20 h 180"/>
                    <a:gd name="T72" fmla="*/ 260 w 260"/>
                    <a:gd name="T73" fmla="*/ 23 h 180"/>
                    <a:gd name="T74" fmla="*/ 259 w 260"/>
                    <a:gd name="T75" fmla="*/ 27 h 180"/>
                    <a:gd name="T76" fmla="*/ 257 w 260"/>
                    <a:gd name="T77" fmla="*/ 31 h 180"/>
                    <a:gd name="T78" fmla="*/ 255 w 260"/>
                    <a:gd name="T79" fmla="*/ 34 h 180"/>
                    <a:gd name="T80" fmla="*/ 115 w 260"/>
                    <a:gd name="T81" fmla="*/ 174 h 180"/>
                    <a:gd name="T82" fmla="*/ 111 w 260"/>
                    <a:gd name="T83" fmla="*/ 176 h 180"/>
                    <a:gd name="T84" fmla="*/ 108 w 260"/>
                    <a:gd name="T85" fmla="*/ 179 h 180"/>
                    <a:gd name="T86" fmla="*/ 105 w 260"/>
                    <a:gd name="T87" fmla="*/ 180 h 180"/>
                    <a:gd name="T88" fmla="*/ 100 w 260"/>
                    <a:gd name="T89" fmla="*/ 18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60" h="180">
                      <a:moveTo>
                        <a:pt x="100" y="180"/>
                      </a:moveTo>
                      <a:lnTo>
                        <a:pt x="96" y="180"/>
                      </a:lnTo>
                      <a:lnTo>
                        <a:pt x="92" y="179"/>
                      </a:lnTo>
                      <a:lnTo>
                        <a:pt x="90" y="176"/>
                      </a:lnTo>
                      <a:lnTo>
                        <a:pt x="86" y="174"/>
                      </a:lnTo>
                      <a:lnTo>
                        <a:pt x="7" y="94"/>
                      </a:lnTo>
                      <a:lnTo>
                        <a:pt x="4" y="90"/>
                      </a:lnTo>
                      <a:lnTo>
                        <a:pt x="2" y="88"/>
                      </a:lnTo>
                      <a:lnTo>
                        <a:pt x="0" y="84"/>
                      </a:lnTo>
                      <a:lnTo>
                        <a:pt x="0" y="80"/>
                      </a:lnTo>
                      <a:lnTo>
                        <a:pt x="0" y="77"/>
                      </a:lnTo>
                      <a:lnTo>
                        <a:pt x="2" y="73"/>
                      </a:lnTo>
                      <a:lnTo>
                        <a:pt x="4" y="69"/>
                      </a:lnTo>
                      <a:lnTo>
                        <a:pt x="7" y="66"/>
                      </a:lnTo>
                      <a:lnTo>
                        <a:pt x="9" y="63"/>
                      </a:lnTo>
                      <a:lnTo>
                        <a:pt x="13" y="62"/>
                      </a:lnTo>
                      <a:lnTo>
                        <a:pt x="16" y="61"/>
                      </a:lnTo>
                      <a:lnTo>
                        <a:pt x="20" y="61"/>
                      </a:lnTo>
                      <a:lnTo>
                        <a:pt x="24" y="61"/>
                      </a:lnTo>
                      <a:lnTo>
                        <a:pt x="28" y="62"/>
                      </a:lnTo>
                      <a:lnTo>
                        <a:pt x="31" y="63"/>
                      </a:lnTo>
                      <a:lnTo>
                        <a:pt x="34" y="66"/>
                      </a:lnTo>
                      <a:lnTo>
                        <a:pt x="100" y="131"/>
                      </a:lnTo>
                      <a:lnTo>
                        <a:pt x="226" y="6"/>
                      </a:lnTo>
                      <a:lnTo>
                        <a:pt x="229" y="3"/>
                      </a:lnTo>
                      <a:lnTo>
                        <a:pt x="233" y="1"/>
                      </a:lnTo>
                      <a:lnTo>
                        <a:pt x="236" y="1"/>
                      </a:lnTo>
                      <a:lnTo>
                        <a:pt x="240" y="0"/>
                      </a:lnTo>
                      <a:lnTo>
                        <a:pt x="244" y="1"/>
                      </a:lnTo>
                      <a:lnTo>
                        <a:pt x="247" y="1"/>
                      </a:lnTo>
                      <a:lnTo>
                        <a:pt x="251" y="3"/>
                      </a:lnTo>
                      <a:lnTo>
                        <a:pt x="255" y="6"/>
                      </a:lnTo>
                      <a:lnTo>
                        <a:pt x="257" y="8"/>
                      </a:lnTo>
                      <a:lnTo>
                        <a:pt x="259" y="12"/>
                      </a:lnTo>
                      <a:lnTo>
                        <a:pt x="260" y="16"/>
                      </a:lnTo>
                      <a:lnTo>
                        <a:pt x="260" y="20"/>
                      </a:lnTo>
                      <a:lnTo>
                        <a:pt x="260" y="23"/>
                      </a:lnTo>
                      <a:lnTo>
                        <a:pt x="259" y="27"/>
                      </a:lnTo>
                      <a:lnTo>
                        <a:pt x="257" y="31"/>
                      </a:lnTo>
                      <a:lnTo>
                        <a:pt x="255" y="34"/>
                      </a:lnTo>
                      <a:lnTo>
                        <a:pt x="115" y="174"/>
                      </a:lnTo>
                      <a:lnTo>
                        <a:pt x="111" y="176"/>
                      </a:lnTo>
                      <a:lnTo>
                        <a:pt x="108" y="179"/>
                      </a:lnTo>
                      <a:lnTo>
                        <a:pt x="105" y="180"/>
                      </a:lnTo>
                      <a:lnTo>
                        <a:pt x="100" y="1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</p:grpSp>
        </p:grpSp>
        <p:grpSp>
          <p:nvGrpSpPr>
            <p:cNvPr id="125" name="Group 124"/>
            <p:cNvGrpSpPr/>
            <p:nvPr/>
          </p:nvGrpSpPr>
          <p:grpSpPr>
            <a:xfrm>
              <a:off x="4273394" y="3450751"/>
              <a:ext cx="697500" cy="746715"/>
              <a:chOff x="4271774" y="3450751"/>
              <a:chExt cx="697500" cy="746715"/>
            </a:xfrm>
          </p:grpSpPr>
          <p:grpSp>
            <p:nvGrpSpPr>
              <p:cNvPr id="114" name="Group 113"/>
              <p:cNvGrpSpPr/>
              <p:nvPr/>
            </p:nvGrpSpPr>
            <p:grpSpPr>
              <a:xfrm>
                <a:off x="4271774" y="3450751"/>
                <a:ext cx="697500" cy="746715"/>
                <a:chOff x="-1046920" y="2123773"/>
                <a:chExt cx="1219200" cy="1305227"/>
              </a:xfrm>
            </p:grpSpPr>
            <p:sp>
              <p:nvSpPr>
                <p:cNvPr id="115" name="Oval 114"/>
                <p:cNvSpPr/>
                <p:nvPr/>
              </p:nvSpPr>
              <p:spPr>
                <a:xfrm>
                  <a:off x="-1046920" y="2209800"/>
                  <a:ext cx="1219200" cy="12192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000"/>
                </a:p>
              </p:txBody>
            </p:sp>
            <p:sp>
              <p:nvSpPr>
                <p:cNvPr id="116" name="Oval 115"/>
                <p:cNvSpPr/>
                <p:nvPr/>
              </p:nvSpPr>
              <p:spPr>
                <a:xfrm>
                  <a:off x="-961755" y="2294965"/>
                  <a:ext cx="1048871" cy="1048871"/>
                </a:xfrm>
                <a:prstGeom prst="ellipse">
                  <a:avLst/>
                </a:prstGeom>
                <a:solidFill>
                  <a:srgbClr val="F1C40F"/>
                </a:solidFill>
                <a:ln w="38100">
                  <a:solidFill>
                    <a:srgbClr val="D6DAD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 sz="1000"/>
                </a:p>
              </p:txBody>
            </p:sp>
            <p:sp>
              <p:nvSpPr>
                <p:cNvPr id="117" name="Oval 116"/>
                <p:cNvSpPr/>
                <p:nvPr/>
              </p:nvSpPr>
              <p:spPr>
                <a:xfrm>
                  <a:off x="-627820" y="2123773"/>
                  <a:ext cx="381000" cy="381000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rgbClr val="F1C40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d-ID" sz="700" b="1" dirty="0" smtClean="0">
                      <a:solidFill>
                        <a:srgbClr val="7F8C8D"/>
                      </a:solidFill>
                      <a:latin typeface="Calibri Light" panose="020F0302020204030204" pitchFamily="34" charset="0"/>
                    </a:rPr>
                    <a:t>2</a:t>
                  </a:r>
                  <a:endParaRPr lang="id-ID" sz="700" b="1" dirty="0">
                    <a:solidFill>
                      <a:srgbClr val="7F8C8D"/>
                    </a:solidFill>
                    <a:latin typeface="Calibri Light" panose="020F0302020204030204" pitchFamily="34" charset="0"/>
                  </a:endParaRPr>
                </a:p>
              </p:txBody>
            </p:sp>
          </p:grpSp>
          <p:grpSp>
            <p:nvGrpSpPr>
              <p:cNvPr id="118" name="Group 117"/>
              <p:cNvGrpSpPr/>
              <p:nvPr/>
            </p:nvGrpSpPr>
            <p:grpSpPr>
              <a:xfrm>
                <a:off x="4473584" y="3723026"/>
                <a:ext cx="293880" cy="291911"/>
                <a:chOff x="5507038" y="2324101"/>
                <a:chExt cx="711200" cy="706438"/>
              </a:xfrm>
              <a:solidFill>
                <a:schemeClr val="bg1"/>
              </a:solidFill>
            </p:grpSpPr>
            <p:sp>
              <p:nvSpPr>
                <p:cNvPr id="119" name="Freeform 23"/>
                <p:cNvSpPr>
                  <a:spLocks/>
                </p:cNvSpPr>
                <p:nvPr/>
              </p:nvSpPr>
              <p:spPr bwMode="auto">
                <a:xfrm>
                  <a:off x="5575300" y="2374901"/>
                  <a:ext cx="250825" cy="176213"/>
                </a:xfrm>
                <a:custGeom>
                  <a:avLst/>
                  <a:gdLst>
                    <a:gd name="T0" fmla="*/ 758 w 790"/>
                    <a:gd name="T1" fmla="*/ 78 h 559"/>
                    <a:gd name="T2" fmla="*/ 772 w 790"/>
                    <a:gd name="T3" fmla="*/ 72 h 559"/>
                    <a:gd name="T4" fmla="*/ 783 w 790"/>
                    <a:gd name="T5" fmla="*/ 61 h 559"/>
                    <a:gd name="T6" fmla="*/ 789 w 790"/>
                    <a:gd name="T7" fmla="*/ 48 h 559"/>
                    <a:gd name="T8" fmla="*/ 789 w 790"/>
                    <a:gd name="T9" fmla="*/ 31 h 559"/>
                    <a:gd name="T10" fmla="*/ 783 w 790"/>
                    <a:gd name="T11" fmla="*/ 18 h 559"/>
                    <a:gd name="T12" fmla="*/ 772 w 790"/>
                    <a:gd name="T13" fmla="*/ 6 h 559"/>
                    <a:gd name="T14" fmla="*/ 758 w 790"/>
                    <a:gd name="T15" fmla="*/ 0 h 559"/>
                    <a:gd name="T16" fmla="*/ 749 w 790"/>
                    <a:gd name="T17" fmla="*/ 0 h 559"/>
                    <a:gd name="T18" fmla="*/ 689 w 790"/>
                    <a:gd name="T19" fmla="*/ 2 h 559"/>
                    <a:gd name="T20" fmla="*/ 627 w 790"/>
                    <a:gd name="T21" fmla="*/ 9 h 559"/>
                    <a:gd name="T22" fmla="*/ 569 w 790"/>
                    <a:gd name="T23" fmla="*/ 20 h 559"/>
                    <a:gd name="T24" fmla="*/ 511 w 790"/>
                    <a:gd name="T25" fmla="*/ 36 h 559"/>
                    <a:gd name="T26" fmla="*/ 455 w 790"/>
                    <a:gd name="T27" fmla="*/ 55 h 559"/>
                    <a:gd name="T28" fmla="*/ 400 w 790"/>
                    <a:gd name="T29" fmla="*/ 78 h 559"/>
                    <a:gd name="T30" fmla="*/ 349 w 790"/>
                    <a:gd name="T31" fmla="*/ 106 h 559"/>
                    <a:gd name="T32" fmla="*/ 298 w 790"/>
                    <a:gd name="T33" fmla="*/ 137 h 559"/>
                    <a:gd name="T34" fmla="*/ 251 w 790"/>
                    <a:gd name="T35" fmla="*/ 172 h 559"/>
                    <a:gd name="T36" fmla="*/ 207 w 790"/>
                    <a:gd name="T37" fmla="*/ 210 h 559"/>
                    <a:gd name="T38" fmla="*/ 164 w 790"/>
                    <a:gd name="T39" fmla="*/ 252 h 559"/>
                    <a:gd name="T40" fmla="*/ 125 w 790"/>
                    <a:gd name="T41" fmla="*/ 296 h 559"/>
                    <a:gd name="T42" fmla="*/ 89 w 790"/>
                    <a:gd name="T43" fmla="*/ 344 h 559"/>
                    <a:gd name="T44" fmla="*/ 57 w 790"/>
                    <a:gd name="T45" fmla="*/ 395 h 559"/>
                    <a:gd name="T46" fmla="*/ 28 w 790"/>
                    <a:gd name="T47" fmla="*/ 449 h 559"/>
                    <a:gd name="T48" fmla="*/ 3 w 790"/>
                    <a:gd name="T49" fmla="*/ 505 h 559"/>
                    <a:gd name="T50" fmla="*/ 0 w 790"/>
                    <a:gd name="T51" fmla="*/ 520 h 559"/>
                    <a:gd name="T52" fmla="*/ 3 w 790"/>
                    <a:gd name="T53" fmla="*/ 535 h 559"/>
                    <a:gd name="T54" fmla="*/ 12 w 790"/>
                    <a:gd name="T55" fmla="*/ 548 h 559"/>
                    <a:gd name="T56" fmla="*/ 24 w 790"/>
                    <a:gd name="T57" fmla="*/ 556 h 559"/>
                    <a:gd name="T58" fmla="*/ 40 w 790"/>
                    <a:gd name="T59" fmla="*/ 559 h 559"/>
                    <a:gd name="T60" fmla="*/ 51 w 790"/>
                    <a:gd name="T61" fmla="*/ 557 h 559"/>
                    <a:gd name="T62" fmla="*/ 61 w 790"/>
                    <a:gd name="T63" fmla="*/ 553 h 559"/>
                    <a:gd name="T64" fmla="*/ 70 w 790"/>
                    <a:gd name="T65" fmla="*/ 545 h 559"/>
                    <a:gd name="T66" fmla="*/ 77 w 790"/>
                    <a:gd name="T67" fmla="*/ 535 h 559"/>
                    <a:gd name="T68" fmla="*/ 99 w 790"/>
                    <a:gd name="T69" fmla="*/ 483 h 559"/>
                    <a:gd name="T70" fmla="*/ 125 w 790"/>
                    <a:gd name="T71" fmla="*/ 435 h 559"/>
                    <a:gd name="T72" fmla="*/ 155 w 790"/>
                    <a:gd name="T73" fmla="*/ 389 h 559"/>
                    <a:gd name="T74" fmla="*/ 187 w 790"/>
                    <a:gd name="T75" fmla="*/ 347 h 559"/>
                    <a:gd name="T76" fmla="*/ 222 w 790"/>
                    <a:gd name="T77" fmla="*/ 306 h 559"/>
                    <a:gd name="T78" fmla="*/ 260 w 790"/>
                    <a:gd name="T79" fmla="*/ 269 h 559"/>
                    <a:gd name="T80" fmla="*/ 301 w 790"/>
                    <a:gd name="T81" fmla="*/ 235 h 559"/>
                    <a:gd name="T82" fmla="*/ 343 w 790"/>
                    <a:gd name="T83" fmla="*/ 203 h 559"/>
                    <a:gd name="T84" fmla="*/ 388 w 790"/>
                    <a:gd name="T85" fmla="*/ 175 h 559"/>
                    <a:gd name="T86" fmla="*/ 435 w 790"/>
                    <a:gd name="T87" fmla="*/ 151 h 559"/>
                    <a:gd name="T88" fmla="*/ 484 w 790"/>
                    <a:gd name="T89" fmla="*/ 130 h 559"/>
                    <a:gd name="T90" fmla="*/ 535 w 790"/>
                    <a:gd name="T91" fmla="*/ 112 h 559"/>
                    <a:gd name="T92" fmla="*/ 587 w 790"/>
                    <a:gd name="T93" fmla="*/ 98 h 559"/>
                    <a:gd name="T94" fmla="*/ 640 w 790"/>
                    <a:gd name="T95" fmla="*/ 88 h 559"/>
                    <a:gd name="T96" fmla="*/ 695 w 790"/>
                    <a:gd name="T97" fmla="*/ 81 h 559"/>
                    <a:gd name="T98" fmla="*/ 749 w 790"/>
                    <a:gd name="T99" fmla="*/ 79 h 5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790" h="559">
                      <a:moveTo>
                        <a:pt x="749" y="79"/>
                      </a:moveTo>
                      <a:lnTo>
                        <a:pt x="758" y="78"/>
                      </a:lnTo>
                      <a:lnTo>
                        <a:pt x="765" y="76"/>
                      </a:lnTo>
                      <a:lnTo>
                        <a:pt x="772" y="72"/>
                      </a:lnTo>
                      <a:lnTo>
                        <a:pt x="779" y="68"/>
                      </a:lnTo>
                      <a:lnTo>
                        <a:pt x="783" y="61"/>
                      </a:lnTo>
                      <a:lnTo>
                        <a:pt x="786" y="55"/>
                      </a:lnTo>
                      <a:lnTo>
                        <a:pt x="789" y="48"/>
                      </a:lnTo>
                      <a:lnTo>
                        <a:pt x="790" y="39"/>
                      </a:lnTo>
                      <a:lnTo>
                        <a:pt x="789" y="31"/>
                      </a:lnTo>
                      <a:lnTo>
                        <a:pt x="786" y="24"/>
                      </a:lnTo>
                      <a:lnTo>
                        <a:pt x="783" y="18"/>
                      </a:lnTo>
                      <a:lnTo>
                        <a:pt x="779" y="11"/>
                      </a:lnTo>
                      <a:lnTo>
                        <a:pt x="772" y="6"/>
                      </a:lnTo>
                      <a:lnTo>
                        <a:pt x="765" y="3"/>
                      </a:lnTo>
                      <a:lnTo>
                        <a:pt x="758" y="0"/>
                      </a:lnTo>
                      <a:lnTo>
                        <a:pt x="749" y="0"/>
                      </a:lnTo>
                      <a:lnTo>
                        <a:pt x="749" y="0"/>
                      </a:lnTo>
                      <a:lnTo>
                        <a:pt x="719" y="0"/>
                      </a:lnTo>
                      <a:lnTo>
                        <a:pt x="689" y="2"/>
                      </a:lnTo>
                      <a:lnTo>
                        <a:pt x="658" y="4"/>
                      </a:lnTo>
                      <a:lnTo>
                        <a:pt x="627" y="9"/>
                      </a:lnTo>
                      <a:lnTo>
                        <a:pt x="598" y="13"/>
                      </a:lnTo>
                      <a:lnTo>
                        <a:pt x="569" y="20"/>
                      </a:lnTo>
                      <a:lnTo>
                        <a:pt x="540" y="27"/>
                      </a:lnTo>
                      <a:lnTo>
                        <a:pt x="511" y="36"/>
                      </a:lnTo>
                      <a:lnTo>
                        <a:pt x="483" y="44"/>
                      </a:lnTo>
                      <a:lnTo>
                        <a:pt x="455" y="55"/>
                      </a:lnTo>
                      <a:lnTo>
                        <a:pt x="427" y="66"/>
                      </a:lnTo>
                      <a:lnTo>
                        <a:pt x="400" y="78"/>
                      </a:lnTo>
                      <a:lnTo>
                        <a:pt x="375" y="91"/>
                      </a:lnTo>
                      <a:lnTo>
                        <a:pt x="349" y="106"/>
                      </a:lnTo>
                      <a:lnTo>
                        <a:pt x="323" y="121"/>
                      </a:lnTo>
                      <a:lnTo>
                        <a:pt x="298" y="137"/>
                      </a:lnTo>
                      <a:lnTo>
                        <a:pt x="275" y="154"/>
                      </a:lnTo>
                      <a:lnTo>
                        <a:pt x="251" y="172"/>
                      </a:lnTo>
                      <a:lnTo>
                        <a:pt x="228" y="190"/>
                      </a:lnTo>
                      <a:lnTo>
                        <a:pt x="207" y="210"/>
                      </a:lnTo>
                      <a:lnTo>
                        <a:pt x="184" y="230"/>
                      </a:lnTo>
                      <a:lnTo>
                        <a:pt x="164" y="252"/>
                      </a:lnTo>
                      <a:lnTo>
                        <a:pt x="144" y="274"/>
                      </a:lnTo>
                      <a:lnTo>
                        <a:pt x="125" y="296"/>
                      </a:lnTo>
                      <a:lnTo>
                        <a:pt x="107" y="320"/>
                      </a:lnTo>
                      <a:lnTo>
                        <a:pt x="89" y="344"/>
                      </a:lnTo>
                      <a:lnTo>
                        <a:pt x="72" y="369"/>
                      </a:lnTo>
                      <a:lnTo>
                        <a:pt x="57" y="395"/>
                      </a:lnTo>
                      <a:lnTo>
                        <a:pt x="42" y="421"/>
                      </a:lnTo>
                      <a:lnTo>
                        <a:pt x="28" y="449"/>
                      </a:lnTo>
                      <a:lnTo>
                        <a:pt x="14" y="475"/>
                      </a:lnTo>
                      <a:lnTo>
                        <a:pt x="3" y="505"/>
                      </a:lnTo>
                      <a:lnTo>
                        <a:pt x="1" y="512"/>
                      </a:lnTo>
                      <a:lnTo>
                        <a:pt x="0" y="520"/>
                      </a:lnTo>
                      <a:lnTo>
                        <a:pt x="1" y="528"/>
                      </a:lnTo>
                      <a:lnTo>
                        <a:pt x="3" y="535"/>
                      </a:lnTo>
                      <a:lnTo>
                        <a:pt x="6" y="541"/>
                      </a:lnTo>
                      <a:lnTo>
                        <a:pt x="12" y="548"/>
                      </a:lnTo>
                      <a:lnTo>
                        <a:pt x="18" y="553"/>
                      </a:lnTo>
                      <a:lnTo>
                        <a:pt x="24" y="556"/>
                      </a:lnTo>
                      <a:lnTo>
                        <a:pt x="32" y="558"/>
                      </a:lnTo>
                      <a:lnTo>
                        <a:pt x="40" y="559"/>
                      </a:lnTo>
                      <a:lnTo>
                        <a:pt x="46" y="559"/>
                      </a:lnTo>
                      <a:lnTo>
                        <a:pt x="51" y="557"/>
                      </a:lnTo>
                      <a:lnTo>
                        <a:pt x="57" y="556"/>
                      </a:lnTo>
                      <a:lnTo>
                        <a:pt x="61" y="553"/>
                      </a:lnTo>
                      <a:lnTo>
                        <a:pt x="67" y="549"/>
                      </a:lnTo>
                      <a:lnTo>
                        <a:pt x="70" y="545"/>
                      </a:lnTo>
                      <a:lnTo>
                        <a:pt x="74" y="540"/>
                      </a:lnTo>
                      <a:lnTo>
                        <a:pt x="77" y="535"/>
                      </a:lnTo>
                      <a:lnTo>
                        <a:pt x="88" y="509"/>
                      </a:lnTo>
                      <a:lnTo>
                        <a:pt x="99" y="483"/>
                      </a:lnTo>
                      <a:lnTo>
                        <a:pt x="112" y="460"/>
                      </a:lnTo>
                      <a:lnTo>
                        <a:pt x="125" y="435"/>
                      </a:lnTo>
                      <a:lnTo>
                        <a:pt x="140" y="413"/>
                      </a:lnTo>
                      <a:lnTo>
                        <a:pt x="155" y="389"/>
                      </a:lnTo>
                      <a:lnTo>
                        <a:pt x="171" y="368"/>
                      </a:lnTo>
                      <a:lnTo>
                        <a:pt x="187" y="347"/>
                      </a:lnTo>
                      <a:lnTo>
                        <a:pt x="204" y="327"/>
                      </a:lnTo>
                      <a:lnTo>
                        <a:pt x="222" y="306"/>
                      </a:lnTo>
                      <a:lnTo>
                        <a:pt x="241" y="287"/>
                      </a:lnTo>
                      <a:lnTo>
                        <a:pt x="260" y="269"/>
                      </a:lnTo>
                      <a:lnTo>
                        <a:pt x="281" y="252"/>
                      </a:lnTo>
                      <a:lnTo>
                        <a:pt x="301" y="235"/>
                      </a:lnTo>
                      <a:lnTo>
                        <a:pt x="322" y="219"/>
                      </a:lnTo>
                      <a:lnTo>
                        <a:pt x="343" y="203"/>
                      </a:lnTo>
                      <a:lnTo>
                        <a:pt x="366" y="189"/>
                      </a:lnTo>
                      <a:lnTo>
                        <a:pt x="388" y="175"/>
                      </a:lnTo>
                      <a:lnTo>
                        <a:pt x="411" y="162"/>
                      </a:lnTo>
                      <a:lnTo>
                        <a:pt x="435" y="151"/>
                      </a:lnTo>
                      <a:lnTo>
                        <a:pt x="460" y="140"/>
                      </a:lnTo>
                      <a:lnTo>
                        <a:pt x="484" y="130"/>
                      </a:lnTo>
                      <a:lnTo>
                        <a:pt x="509" y="121"/>
                      </a:lnTo>
                      <a:lnTo>
                        <a:pt x="535" y="112"/>
                      </a:lnTo>
                      <a:lnTo>
                        <a:pt x="560" y="104"/>
                      </a:lnTo>
                      <a:lnTo>
                        <a:pt x="587" y="98"/>
                      </a:lnTo>
                      <a:lnTo>
                        <a:pt x="613" y="93"/>
                      </a:lnTo>
                      <a:lnTo>
                        <a:pt x="640" y="88"/>
                      </a:lnTo>
                      <a:lnTo>
                        <a:pt x="668" y="84"/>
                      </a:lnTo>
                      <a:lnTo>
                        <a:pt x="695" y="81"/>
                      </a:lnTo>
                      <a:lnTo>
                        <a:pt x="723" y="80"/>
                      </a:lnTo>
                      <a:lnTo>
                        <a:pt x="749" y="7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20" name="Freeform 24"/>
                <p:cNvSpPr>
                  <a:spLocks/>
                </p:cNvSpPr>
                <p:nvPr/>
              </p:nvSpPr>
              <p:spPr bwMode="auto">
                <a:xfrm>
                  <a:off x="5557838" y="2574926"/>
                  <a:ext cx="30163" cy="68263"/>
                </a:xfrm>
                <a:custGeom>
                  <a:avLst/>
                  <a:gdLst>
                    <a:gd name="T0" fmla="*/ 58 w 92"/>
                    <a:gd name="T1" fmla="*/ 0 h 215"/>
                    <a:gd name="T2" fmla="*/ 50 w 92"/>
                    <a:gd name="T3" fmla="*/ 0 h 215"/>
                    <a:gd name="T4" fmla="*/ 42 w 92"/>
                    <a:gd name="T5" fmla="*/ 1 h 215"/>
                    <a:gd name="T6" fmla="*/ 36 w 92"/>
                    <a:gd name="T7" fmla="*/ 3 h 215"/>
                    <a:gd name="T8" fmla="*/ 29 w 92"/>
                    <a:gd name="T9" fmla="*/ 7 h 215"/>
                    <a:gd name="T10" fmla="*/ 22 w 92"/>
                    <a:gd name="T11" fmla="*/ 12 h 215"/>
                    <a:gd name="T12" fmla="*/ 18 w 92"/>
                    <a:gd name="T13" fmla="*/ 18 h 215"/>
                    <a:gd name="T14" fmla="*/ 14 w 92"/>
                    <a:gd name="T15" fmla="*/ 25 h 215"/>
                    <a:gd name="T16" fmla="*/ 12 w 92"/>
                    <a:gd name="T17" fmla="*/ 32 h 215"/>
                    <a:gd name="T18" fmla="*/ 7 w 92"/>
                    <a:gd name="T19" fmla="*/ 68 h 215"/>
                    <a:gd name="T20" fmla="*/ 2 w 92"/>
                    <a:gd name="T21" fmla="*/ 103 h 215"/>
                    <a:gd name="T22" fmla="*/ 0 w 92"/>
                    <a:gd name="T23" fmla="*/ 139 h 215"/>
                    <a:gd name="T24" fmla="*/ 0 w 92"/>
                    <a:gd name="T25" fmla="*/ 176 h 215"/>
                    <a:gd name="T26" fmla="*/ 0 w 92"/>
                    <a:gd name="T27" fmla="*/ 183 h 215"/>
                    <a:gd name="T28" fmla="*/ 2 w 92"/>
                    <a:gd name="T29" fmla="*/ 191 h 215"/>
                    <a:gd name="T30" fmla="*/ 7 w 92"/>
                    <a:gd name="T31" fmla="*/ 198 h 215"/>
                    <a:gd name="T32" fmla="*/ 11 w 92"/>
                    <a:gd name="T33" fmla="*/ 204 h 215"/>
                    <a:gd name="T34" fmla="*/ 17 w 92"/>
                    <a:gd name="T35" fmla="*/ 208 h 215"/>
                    <a:gd name="T36" fmla="*/ 23 w 92"/>
                    <a:gd name="T37" fmla="*/ 213 h 215"/>
                    <a:gd name="T38" fmla="*/ 31 w 92"/>
                    <a:gd name="T39" fmla="*/ 215 h 215"/>
                    <a:gd name="T40" fmla="*/ 39 w 92"/>
                    <a:gd name="T41" fmla="*/ 215 h 215"/>
                    <a:gd name="T42" fmla="*/ 48 w 92"/>
                    <a:gd name="T43" fmla="*/ 215 h 215"/>
                    <a:gd name="T44" fmla="*/ 55 w 92"/>
                    <a:gd name="T45" fmla="*/ 213 h 215"/>
                    <a:gd name="T46" fmla="*/ 61 w 92"/>
                    <a:gd name="T47" fmla="*/ 208 h 215"/>
                    <a:gd name="T48" fmla="*/ 68 w 92"/>
                    <a:gd name="T49" fmla="*/ 204 h 215"/>
                    <a:gd name="T50" fmla="*/ 73 w 92"/>
                    <a:gd name="T51" fmla="*/ 198 h 215"/>
                    <a:gd name="T52" fmla="*/ 76 w 92"/>
                    <a:gd name="T53" fmla="*/ 191 h 215"/>
                    <a:gd name="T54" fmla="*/ 78 w 92"/>
                    <a:gd name="T55" fmla="*/ 183 h 215"/>
                    <a:gd name="T56" fmla="*/ 79 w 92"/>
                    <a:gd name="T57" fmla="*/ 176 h 215"/>
                    <a:gd name="T58" fmla="*/ 80 w 92"/>
                    <a:gd name="T59" fmla="*/ 143 h 215"/>
                    <a:gd name="T60" fmla="*/ 83 w 92"/>
                    <a:gd name="T61" fmla="*/ 111 h 215"/>
                    <a:gd name="T62" fmla="*/ 86 w 92"/>
                    <a:gd name="T63" fmla="*/ 78 h 215"/>
                    <a:gd name="T64" fmla="*/ 90 w 92"/>
                    <a:gd name="T65" fmla="*/ 47 h 215"/>
                    <a:gd name="T66" fmla="*/ 92 w 92"/>
                    <a:gd name="T67" fmla="*/ 39 h 215"/>
                    <a:gd name="T68" fmla="*/ 90 w 92"/>
                    <a:gd name="T69" fmla="*/ 31 h 215"/>
                    <a:gd name="T70" fmla="*/ 88 w 92"/>
                    <a:gd name="T71" fmla="*/ 23 h 215"/>
                    <a:gd name="T72" fmla="*/ 84 w 92"/>
                    <a:gd name="T73" fmla="*/ 17 h 215"/>
                    <a:gd name="T74" fmla="*/ 79 w 92"/>
                    <a:gd name="T75" fmla="*/ 11 h 215"/>
                    <a:gd name="T76" fmla="*/ 74 w 92"/>
                    <a:gd name="T77" fmla="*/ 6 h 215"/>
                    <a:gd name="T78" fmla="*/ 66 w 92"/>
                    <a:gd name="T79" fmla="*/ 2 h 215"/>
                    <a:gd name="T80" fmla="*/ 58 w 92"/>
                    <a:gd name="T81" fmla="*/ 0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92" h="215">
                      <a:moveTo>
                        <a:pt x="58" y="0"/>
                      </a:moveTo>
                      <a:lnTo>
                        <a:pt x="50" y="0"/>
                      </a:lnTo>
                      <a:lnTo>
                        <a:pt x="42" y="1"/>
                      </a:lnTo>
                      <a:lnTo>
                        <a:pt x="36" y="3"/>
                      </a:lnTo>
                      <a:lnTo>
                        <a:pt x="29" y="7"/>
                      </a:lnTo>
                      <a:lnTo>
                        <a:pt x="22" y="12"/>
                      </a:lnTo>
                      <a:lnTo>
                        <a:pt x="18" y="18"/>
                      </a:lnTo>
                      <a:lnTo>
                        <a:pt x="14" y="25"/>
                      </a:lnTo>
                      <a:lnTo>
                        <a:pt x="12" y="32"/>
                      </a:lnTo>
                      <a:lnTo>
                        <a:pt x="7" y="68"/>
                      </a:lnTo>
                      <a:lnTo>
                        <a:pt x="2" y="103"/>
                      </a:lnTo>
                      <a:lnTo>
                        <a:pt x="0" y="139"/>
                      </a:lnTo>
                      <a:lnTo>
                        <a:pt x="0" y="176"/>
                      </a:lnTo>
                      <a:lnTo>
                        <a:pt x="0" y="183"/>
                      </a:lnTo>
                      <a:lnTo>
                        <a:pt x="2" y="191"/>
                      </a:lnTo>
                      <a:lnTo>
                        <a:pt x="7" y="198"/>
                      </a:lnTo>
                      <a:lnTo>
                        <a:pt x="11" y="204"/>
                      </a:lnTo>
                      <a:lnTo>
                        <a:pt x="17" y="208"/>
                      </a:lnTo>
                      <a:lnTo>
                        <a:pt x="23" y="213"/>
                      </a:lnTo>
                      <a:lnTo>
                        <a:pt x="31" y="215"/>
                      </a:lnTo>
                      <a:lnTo>
                        <a:pt x="39" y="215"/>
                      </a:lnTo>
                      <a:lnTo>
                        <a:pt x="48" y="215"/>
                      </a:lnTo>
                      <a:lnTo>
                        <a:pt x="55" y="213"/>
                      </a:lnTo>
                      <a:lnTo>
                        <a:pt x="61" y="208"/>
                      </a:lnTo>
                      <a:lnTo>
                        <a:pt x="68" y="204"/>
                      </a:lnTo>
                      <a:lnTo>
                        <a:pt x="73" y="198"/>
                      </a:lnTo>
                      <a:lnTo>
                        <a:pt x="76" y="191"/>
                      </a:lnTo>
                      <a:lnTo>
                        <a:pt x="78" y="183"/>
                      </a:lnTo>
                      <a:lnTo>
                        <a:pt x="79" y="176"/>
                      </a:lnTo>
                      <a:lnTo>
                        <a:pt x="80" y="143"/>
                      </a:lnTo>
                      <a:lnTo>
                        <a:pt x="83" y="111"/>
                      </a:lnTo>
                      <a:lnTo>
                        <a:pt x="86" y="78"/>
                      </a:lnTo>
                      <a:lnTo>
                        <a:pt x="90" y="47"/>
                      </a:lnTo>
                      <a:lnTo>
                        <a:pt x="92" y="39"/>
                      </a:lnTo>
                      <a:lnTo>
                        <a:pt x="90" y="31"/>
                      </a:lnTo>
                      <a:lnTo>
                        <a:pt x="88" y="23"/>
                      </a:lnTo>
                      <a:lnTo>
                        <a:pt x="84" y="17"/>
                      </a:lnTo>
                      <a:lnTo>
                        <a:pt x="79" y="11"/>
                      </a:lnTo>
                      <a:lnTo>
                        <a:pt x="74" y="6"/>
                      </a:lnTo>
                      <a:lnTo>
                        <a:pt x="66" y="2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21" name="Freeform 25"/>
                <p:cNvSpPr>
                  <a:spLocks noEditPoints="1"/>
                </p:cNvSpPr>
                <p:nvPr/>
              </p:nvSpPr>
              <p:spPr bwMode="auto">
                <a:xfrm>
                  <a:off x="5507038" y="2324101"/>
                  <a:ext cx="711200" cy="706438"/>
                </a:xfrm>
                <a:custGeom>
                  <a:avLst/>
                  <a:gdLst>
                    <a:gd name="T0" fmla="*/ 874 w 2240"/>
                    <a:gd name="T1" fmla="*/ 1847 h 2227"/>
                    <a:gd name="T2" fmla="*/ 661 w 2240"/>
                    <a:gd name="T3" fmla="*/ 1797 h 2227"/>
                    <a:gd name="T4" fmla="*/ 470 w 2240"/>
                    <a:gd name="T5" fmla="*/ 1700 h 2227"/>
                    <a:gd name="T6" fmla="*/ 310 w 2240"/>
                    <a:gd name="T7" fmla="*/ 1560 h 2227"/>
                    <a:gd name="T8" fmla="*/ 187 w 2240"/>
                    <a:gd name="T9" fmla="*/ 1387 h 2227"/>
                    <a:gd name="T10" fmla="*/ 107 w 2240"/>
                    <a:gd name="T11" fmla="*/ 1186 h 2227"/>
                    <a:gd name="T12" fmla="*/ 79 w 2240"/>
                    <a:gd name="T13" fmla="*/ 966 h 2227"/>
                    <a:gd name="T14" fmla="*/ 107 w 2240"/>
                    <a:gd name="T15" fmla="*/ 744 h 2227"/>
                    <a:gd name="T16" fmla="*/ 187 w 2240"/>
                    <a:gd name="T17" fmla="*/ 544 h 2227"/>
                    <a:gd name="T18" fmla="*/ 310 w 2240"/>
                    <a:gd name="T19" fmla="*/ 370 h 2227"/>
                    <a:gd name="T20" fmla="*/ 470 w 2240"/>
                    <a:gd name="T21" fmla="*/ 231 h 2227"/>
                    <a:gd name="T22" fmla="*/ 661 w 2240"/>
                    <a:gd name="T23" fmla="*/ 133 h 2227"/>
                    <a:gd name="T24" fmla="*/ 875 w 2240"/>
                    <a:gd name="T25" fmla="*/ 84 h 2227"/>
                    <a:gd name="T26" fmla="*/ 1100 w 2240"/>
                    <a:gd name="T27" fmla="*/ 89 h 2227"/>
                    <a:gd name="T28" fmla="*/ 1309 w 2240"/>
                    <a:gd name="T29" fmla="*/ 150 h 2227"/>
                    <a:gd name="T30" fmla="*/ 1495 w 2240"/>
                    <a:gd name="T31" fmla="*/ 256 h 2227"/>
                    <a:gd name="T32" fmla="*/ 1648 w 2240"/>
                    <a:gd name="T33" fmla="*/ 403 h 2227"/>
                    <a:gd name="T34" fmla="*/ 1763 w 2240"/>
                    <a:gd name="T35" fmla="*/ 582 h 2227"/>
                    <a:gd name="T36" fmla="*/ 1833 w 2240"/>
                    <a:gd name="T37" fmla="*/ 787 h 2227"/>
                    <a:gd name="T38" fmla="*/ 1850 w 2240"/>
                    <a:gd name="T39" fmla="*/ 1010 h 2227"/>
                    <a:gd name="T40" fmla="*/ 1810 w 2240"/>
                    <a:gd name="T41" fmla="*/ 1229 h 2227"/>
                    <a:gd name="T42" fmla="*/ 1722 w 2240"/>
                    <a:gd name="T43" fmla="*/ 1425 h 2227"/>
                    <a:gd name="T44" fmla="*/ 1591 w 2240"/>
                    <a:gd name="T45" fmla="*/ 1591 h 2227"/>
                    <a:gd name="T46" fmla="*/ 1423 w 2240"/>
                    <a:gd name="T47" fmla="*/ 1722 h 2227"/>
                    <a:gd name="T48" fmla="*/ 1227 w 2240"/>
                    <a:gd name="T49" fmla="*/ 1811 h 2227"/>
                    <a:gd name="T50" fmla="*/ 1010 w 2240"/>
                    <a:gd name="T51" fmla="*/ 1850 h 2227"/>
                    <a:gd name="T52" fmla="*/ 1737 w 2240"/>
                    <a:gd name="T53" fmla="*/ 1545 h 2227"/>
                    <a:gd name="T54" fmla="*/ 1847 w 2240"/>
                    <a:gd name="T55" fmla="*/ 1357 h 2227"/>
                    <a:gd name="T56" fmla="*/ 1913 w 2240"/>
                    <a:gd name="T57" fmla="*/ 1147 h 2227"/>
                    <a:gd name="T58" fmla="*/ 1929 w 2240"/>
                    <a:gd name="T59" fmla="*/ 915 h 2227"/>
                    <a:gd name="T60" fmla="*/ 1887 w 2240"/>
                    <a:gd name="T61" fmla="*/ 678 h 2227"/>
                    <a:gd name="T62" fmla="*/ 1790 w 2240"/>
                    <a:gd name="T63" fmla="*/ 465 h 2227"/>
                    <a:gd name="T64" fmla="*/ 1647 w 2240"/>
                    <a:gd name="T65" fmla="*/ 283 h 2227"/>
                    <a:gd name="T66" fmla="*/ 1465 w 2240"/>
                    <a:gd name="T67" fmla="*/ 140 h 2227"/>
                    <a:gd name="T68" fmla="*/ 1252 w 2240"/>
                    <a:gd name="T69" fmla="*/ 43 h 2227"/>
                    <a:gd name="T70" fmla="*/ 1015 w 2240"/>
                    <a:gd name="T71" fmla="*/ 1 h 2227"/>
                    <a:gd name="T72" fmla="*/ 771 w 2240"/>
                    <a:gd name="T73" fmla="*/ 19 h 2227"/>
                    <a:gd name="T74" fmla="*/ 547 w 2240"/>
                    <a:gd name="T75" fmla="*/ 95 h 2227"/>
                    <a:gd name="T76" fmla="*/ 351 w 2240"/>
                    <a:gd name="T77" fmla="*/ 220 h 2227"/>
                    <a:gd name="T78" fmla="*/ 191 w 2240"/>
                    <a:gd name="T79" fmla="*/ 388 h 2227"/>
                    <a:gd name="T80" fmla="*/ 76 w 2240"/>
                    <a:gd name="T81" fmla="*/ 590 h 2227"/>
                    <a:gd name="T82" fmla="*/ 11 w 2240"/>
                    <a:gd name="T83" fmla="*/ 818 h 2227"/>
                    <a:gd name="T84" fmla="*/ 4 w 2240"/>
                    <a:gd name="T85" fmla="*/ 1064 h 2227"/>
                    <a:gd name="T86" fmla="*/ 58 w 2240"/>
                    <a:gd name="T87" fmla="*/ 1297 h 2227"/>
                    <a:gd name="T88" fmla="*/ 164 w 2240"/>
                    <a:gd name="T89" fmla="*/ 1505 h 2227"/>
                    <a:gd name="T90" fmla="*/ 316 w 2240"/>
                    <a:gd name="T91" fmla="*/ 1680 h 2227"/>
                    <a:gd name="T92" fmla="*/ 504 w 2240"/>
                    <a:gd name="T93" fmla="*/ 1814 h 2227"/>
                    <a:gd name="T94" fmla="*/ 724 w 2240"/>
                    <a:gd name="T95" fmla="*/ 1900 h 2227"/>
                    <a:gd name="T96" fmla="*/ 964 w 2240"/>
                    <a:gd name="T97" fmla="*/ 1931 h 2227"/>
                    <a:gd name="T98" fmla="*/ 1060 w 2240"/>
                    <a:gd name="T99" fmla="*/ 1926 h 2227"/>
                    <a:gd name="T100" fmla="*/ 1196 w 2240"/>
                    <a:gd name="T101" fmla="*/ 1903 h 2227"/>
                    <a:gd name="T102" fmla="*/ 1408 w 2240"/>
                    <a:gd name="T103" fmla="*/ 1823 h 2227"/>
                    <a:gd name="T104" fmla="*/ 1592 w 2240"/>
                    <a:gd name="T105" fmla="*/ 1699 h 2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240" h="2227">
                      <a:moveTo>
                        <a:pt x="964" y="1851"/>
                      </a:moveTo>
                      <a:lnTo>
                        <a:pt x="964" y="1891"/>
                      </a:lnTo>
                      <a:lnTo>
                        <a:pt x="964" y="1851"/>
                      </a:lnTo>
                      <a:lnTo>
                        <a:pt x="920" y="1850"/>
                      </a:lnTo>
                      <a:lnTo>
                        <a:pt x="874" y="1847"/>
                      </a:lnTo>
                      <a:lnTo>
                        <a:pt x="830" y="1841"/>
                      </a:lnTo>
                      <a:lnTo>
                        <a:pt x="787" y="1833"/>
                      </a:lnTo>
                      <a:lnTo>
                        <a:pt x="744" y="1823"/>
                      </a:lnTo>
                      <a:lnTo>
                        <a:pt x="701" y="1811"/>
                      </a:lnTo>
                      <a:lnTo>
                        <a:pt x="661" y="1797"/>
                      </a:lnTo>
                      <a:lnTo>
                        <a:pt x="621" y="1782"/>
                      </a:lnTo>
                      <a:lnTo>
                        <a:pt x="582" y="1764"/>
                      </a:lnTo>
                      <a:lnTo>
                        <a:pt x="543" y="1744"/>
                      </a:lnTo>
                      <a:lnTo>
                        <a:pt x="506" y="1722"/>
                      </a:lnTo>
                      <a:lnTo>
                        <a:pt x="470" y="1700"/>
                      </a:lnTo>
                      <a:lnTo>
                        <a:pt x="435" y="1674"/>
                      </a:lnTo>
                      <a:lnTo>
                        <a:pt x="402" y="1648"/>
                      </a:lnTo>
                      <a:lnTo>
                        <a:pt x="370" y="1620"/>
                      </a:lnTo>
                      <a:lnTo>
                        <a:pt x="339" y="1591"/>
                      </a:lnTo>
                      <a:lnTo>
                        <a:pt x="310" y="1560"/>
                      </a:lnTo>
                      <a:lnTo>
                        <a:pt x="282" y="1529"/>
                      </a:lnTo>
                      <a:lnTo>
                        <a:pt x="256" y="1495"/>
                      </a:lnTo>
                      <a:lnTo>
                        <a:pt x="230" y="1460"/>
                      </a:lnTo>
                      <a:lnTo>
                        <a:pt x="208" y="1425"/>
                      </a:lnTo>
                      <a:lnTo>
                        <a:pt x="187" y="1387"/>
                      </a:lnTo>
                      <a:lnTo>
                        <a:pt x="167" y="1348"/>
                      </a:lnTo>
                      <a:lnTo>
                        <a:pt x="149" y="1309"/>
                      </a:lnTo>
                      <a:lnTo>
                        <a:pt x="133" y="1269"/>
                      </a:lnTo>
                      <a:lnTo>
                        <a:pt x="120" y="1229"/>
                      </a:lnTo>
                      <a:lnTo>
                        <a:pt x="107" y="1186"/>
                      </a:lnTo>
                      <a:lnTo>
                        <a:pt x="97" y="1144"/>
                      </a:lnTo>
                      <a:lnTo>
                        <a:pt x="89" y="1100"/>
                      </a:lnTo>
                      <a:lnTo>
                        <a:pt x="84" y="1055"/>
                      </a:lnTo>
                      <a:lnTo>
                        <a:pt x="80" y="1010"/>
                      </a:lnTo>
                      <a:lnTo>
                        <a:pt x="79" y="966"/>
                      </a:lnTo>
                      <a:lnTo>
                        <a:pt x="80" y="920"/>
                      </a:lnTo>
                      <a:lnTo>
                        <a:pt x="84" y="875"/>
                      </a:lnTo>
                      <a:lnTo>
                        <a:pt x="89" y="830"/>
                      </a:lnTo>
                      <a:lnTo>
                        <a:pt x="97" y="787"/>
                      </a:lnTo>
                      <a:lnTo>
                        <a:pt x="107" y="744"/>
                      </a:lnTo>
                      <a:lnTo>
                        <a:pt x="120" y="703"/>
                      </a:lnTo>
                      <a:lnTo>
                        <a:pt x="133" y="661"/>
                      </a:lnTo>
                      <a:lnTo>
                        <a:pt x="149" y="621"/>
                      </a:lnTo>
                      <a:lnTo>
                        <a:pt x="167" y="582"/>
                      </a:lnTo>
                      <a:lnTo>
                        <a:pt x="187" y="544"/>
                      </a:lnTo>
                      <a:lnTo>
                        <a:pt x="208" y="507"/>
                      </a:lnTo>
                      <a:lnTo>
                        <a:pt x="231" y="471"/>
                      </a:lnTo>
                      <a:lnTo>
                        <a:pt x="256" y="436"/>
                      </a:lnTo>
                      <a:lnTo>
                        <a:pt x="282" y="403"/>
                      </a:lnTo>
                      <a:lnTo>
                        <a:pt x="310" y="370"/>
                      </a:lnTo>
                      <a:lnTo>
                        <a:pt x="339" y="339"/>
                      </a:lnTo>
                      <a:lnTo>
                        <a:pt x="370" y="310"/>
                      </a:lnTo>
                      <a:lnTo>
                        <a:pt x="402" y="282"/>
                      </a:lnTo>
                      <a:lnTo>
                        <a:pt x="435" y="256"/>
                      </a:lnTo>
                      <a:lnTo>
                        <a:pt x="470" y="231"/>
                      </a:lnTo>
                      <a:lnTo>
                        <a:pt x="506" y="208"/>
                      </a:lnTo>
                      <a:lnTo>
                        <a:pt x="544" y="187"/>
                      </a:lnTo>
                      <a:lnTo>
                        <a:pt x="582" y="168"/>
                      </a:lnTo>
                      <a:lnTo>
                        <a:pt x="621" y="150"/>
                      </a:lnTo>
                      <a:lnTo>
                        <a:pt x="661" y="133"/>
                      </a:lnTo>
                      <a:lnTo>
                        <a:pt x="701" y="119"/>
                      </a:lnTo>
                      <a:lnTo>
                        <a:pt x="744" y="107"/>
                      </a:lnTo>
                      <a:lnTo>
                        <a:pt x="787" y="97"/>
                      </a:lnTo>
                      <a:lnTo>
                        <a:pt x="830" y="89"/>
                      </a:lnTo>
                      <a:lnTo>
                        <a:pt x="875" y="84"/>
                      </a:lnTo>
                      <a:lnTo>
                        <a:pt x="920" y="80"/>
                      </a:lnTo>
                      <a:lnTo>
                        <a:pt x="964" y="79"/>
                      </a:lnTo>
                      <a:lnTo>
                        <a:pt x="1010" y="80"/>
                      </a:lnTo>
                      <a:lnTo>
                        <a:pt x="1055" y="84"/>
                      </a:lnTo>
                      <a:lnTo>
                        <a:pt x="1100" y="89"/>
                      </a:lnTo>
                      <a:lnTo>
                        <a:pt x="1143" y="97"/>
                      </a:lnTo>
                      <a:lnTo>
                        <a:pt x="1186" y="107"/>
                      </a:lnTo>
                      <a:lnTo>
                        <a:pt x="1227" y="119"/>
                      </a:lnTo>
                      <a:lnTo>
                        <a:pt x="1269" y="133"/>
                      </a:lnTo>
                      <a:lnTo>
                        <a:pt x="1309" y="150"/>
                      </a:lnTo>
                      <a:lnTo>
                        <a:pt x="1348" y="166"/>
                      </a:lnTo>
                      <a:lnTo>
                        <a:pt x="1386" y="187"/>
                      </a:lnTo>
                      <a:lnTo>
                        <a:pt x="1423" y="208"/>
                      </a:lnTo>
                      <a:lnTo>
                        <a:pt x="1460" y="231"/>
                      </a:lnTo>
                      <a:lnTo>
                        <a:pt x="1495" y="256"/>
                      </a:lnTo>
                      <a:lnTo>
                        <a:pt x="1527" y="282"/>
                      </a:lnTo>
                      <a:lnTo>
                        <a:pt x="1560" y="310"/>
                      </a:lnTo>
                      <a:lnTo>
                        <a:pt x="1591" y="339"/>
                      </a:lnTo>
                      <a:lnTo>
                        <a:pt x="1620" y="370"/>
                      </a:lnTo>
                      <a:lnTo>
                        <a:pt x="1648" y="403"/>
                      </a:lnTo>
                      <a:lnTo>
                        <a:pt x="1674" y="435"/>
                      </a:lnTo>
                      <a:lnTo>
                        <a:pt x="1699" y="471"/>
                      </a:lnTo>
                      <a:lnTo>
                        <a:pt x="1722" y="507"/>
                      </a:lnTo>
                      <a:lnTo>
                        <a:pt x="1743" y="544"/>
                      </a:lnTo>
                      <a:lnTo>
                        <a:pt x="1763" y="582"/>
                      </a:lnTo>
                      <a:lnTo>
                        <a:pt x="1780" y="621"/>
                      </a:lnTo>
                      <a:lnTo>
                        <a:pt x="1797" y="661"/>
                      </a:lnTo>
                      <a:lnTo>
                        <a:pt x="1810" y="703"/>
                      </a:lnTo>
                      <a:lnTo>
                        <a:pt x="1823" y="744"/>
                      </a:lnTo>
                      <a:lnTo>
                        <a:pt x="1833" y="787"/>
                      </a:lnTo>
                      <a:lnTo>
                        <a:pt x="1841" y="830"/>
                      </a:lnTo>
                      <a:lnTo>
                        <a:pt x="1846" y="875"/>
                      </a:lnTo>
                      <a:lnTo>
                        <a:pt x="1850" y="920"/>
                      </a:lnTo>
                      <a:lnTo>
                        <a:pt x="1851" y="966"/>
                      </a:lnTo>
                      <a:lnTo>
                        <a:pt x="1850" y="1010"/>
                      </a:lnTo>
                      <a:lnTo>
                        <a:pt x="1846" y="1055"/>
                      </a:lnTo>
                      <a:lnTo>
                        <a:pt x="1841" y="1100"/>
                      </a:lnTo>
                      <a:lnTo>
                        <a:pt x="1833" y="1144"/>
                      </a:lnTo>
                      <a:lnTo>
                        <a:pt x="1823" y="1186"/>
                      </a:lnTo>
                      <a:lnTo>
                        <a:pt x="1810" y="1229"/>
                      </a:lnTo>
                      <a:lnTo>
                        <a:pt x="1797" y="1269"/>
                      </a:lnTo>
                      <a:lnTo>
                        <a:pt x="1780" y="1309"/>
                      </a:lnTo>
                      <a:lnTo>
                        <a:pt x="1763" y="1348"/>
                      </a:lnTo>
                      <a:lnTo>
                        <a:pt x="1743" y="1387"/>
                      </a:lnTo>
                      <a:lnTo>
                        <a:pt x="1722" y="1425"/>
                      </a:lnTo>
                      <a:lnTo>
                        <a:pt x="1699" y="1460"/>
                      </a:lnTo>
                      <a:lnTo>
                        <a:pt x="1674" y="1495"/>
                      </a:lnTo>
                      <a:lnTo>
                        <a:pt x="1648" y="1529"/>
                      </a:lnTo>
                      <a:lnTo>
                        <a:pt x="1620" y="1560"/>
                      </a:lnTo>
                      <a:lnTo>
                        <a:pt x="1591" y="1591"/>
                      </a:lnTo>
                      <a:lnTo>
                        <a:pt x="1560" y="1620"/>
                      </a:lnTo>
                      <a:lnTo>
                        <a:pt x="1527" y="1648"/>
                      </a:lnTo>
                      <a:lnTo>
                        <a:pt x="1495" y="1674"/>
                      </a:lnTo>
                      <a:lnTo>
                        <a:pt x="1460" y="1700"/>
                      </a:lnTo>
                      <a:lnTo>
                        <a:pt x="1423" y="1722"/>
                      </a:lnTo>
                      <a:lnTo>
                        <a:pt x="1386" y="1744"/>
                      </a:lnTo>
                      <a:lnTo>
                        <a:pt x="1348" y="1764"/>
                      </a:lnTo>
                      <a:lnTo>
                        <a:pt x="1309" y="1782"/>
                      </a:lnTo>
                      <a:lnTo>
                        <a:pt x="1269" y="1797"/>
                      </a:lnTo>
                      <a:lnTo>
                        <a:pt x="1227" y="1811"/>
                      </a:lnTo>
                      <a:lnTo>
                        <a:pt x="1186" y="1823"/>
                      </a:lnTo>
                      <a:lnTo>
                        <a:pt x="1143" y="1833"/>
                      </a:lnTo>
                      <a:lnTo>
                        <a:pt x="1100" y="1841"/>
                      </a:lnTo>
                      <a:lnTo>
                        <a:pt x="1055" y="1847"/>
                      </a:lnTo>
                      <a:lnTo>
                        <a:pt x="1010" y="1850"/>
                      </a:lnTo>
                      <a:lnTo>
                        <a:pt x="964" y="1851"/>
                      </a:lnTo>
                      <a:close/>
                      <a:moveTo>
                        <a:pt x="2240" y="2171"/>
                      </a:moveTo>
                      <a:lnTo>
                        <a:pt x="1682" y="1612"/>
                      </a:lnTo>
                      <a:lnTo>
                        <a:pt x="1710" y="1579"/>
                      </a:lnTo>
                      <a:lnTo>
                        <a:pt x="1737" y="1545"/>
                      </a:lnTo>
                      <a:lnTo>
                        <a:pt x="1762" y="1510"/>
                      </a:lnTo>
                      <a:lnTo>
                        <a:pt x="1786" y="1474"/>
                      </a:lnTo>
                      <a:lnTo>
                        <a:pt x="1808" y="1436"/>
                      </a:lnTo>
                      <a:lnTo>
                        <a:pt x="1828" y="1398"/>
                      </a:lnTo>
                      <a:lnTo>
                        <a:pt x="1847" y="1357"/>
                      </a:lnTo>
                      <a:lnTo>
                        <a:pt x="1864" y="1317"/>
                      </a:lnTo>
                      <a:lnTo>
                        <a:pt x="1879" y="1276"/>
                      </a:lnTo>
                      <a:lnTo>
                        <a:pt x="1892" y="1234"/>
                      </a:lnTo>
                      <a:lnTo>
                        <a:pt x="1903" y="1191"/>
                      </a:lnTo>
                      <a:lnTo>
                        <a:pt x="1913" y="1147"/>
                      </a:lnTo>
                      <a:lnTo>
                        <a:pt x="1920" y="1102"/>
                      </a:lnTo>
                      <a:lnTo>
                        <a:pt x="1926" y="1057"/>
                      </a:lnTo>
                      <a:lnTo>
                        <a:pt x="1929" y="1012"/>
                      </a:lnTo>
                      <a:lnTo>
                        <a:pt x="1930" y="966"/>
                      </a:lnTo>
                      <a:lnTo>
                        <a:pt x="1929" y="915"/>
                      </a:lnTo>
                      <a:lnTo>
                        <a:pt x="1926" y="867"/>
                      </a:lnTo>
                      <a:lnTo>
                        <a:pt x="1919" y="818"/>
                      </a:lnTo>
                      <a:lnTo>
                        <a:pt x="1911" y="771"/>
                      </a:lnTo>
                      <a:lnTo>
                        <a:pt x="1900" y="724"/>
                      </a:lnTo>
                      <a:lnTo>
                        <a:pt x="1887" y="678"/>
                      </a:lnTo>
                      <a:lnTo>
                        <a:pt x="1872" y="633"/>
                      </a:lnTo>
                      <a:lnTo>
                        <a:pt x="1854" y="590"/>
                      </a:lnTo>
                      <a:lnTo>
                        <a:pt x="1835" y="547"/>
                      </a:lnTo>
                      <a:lnTo>
                        <a:pt x="1814" y="506"/>
                      </a:lnTo>
                      <a:lnTo>
                        <a:pt x="1790" y="465"/>
                      </a:lnTo>
                      <a:lnTo>
                        <a:pt x="1766" y="426"/>
                      </a:lnTo>
                      <a:lnTo>
                        <a:pt x="1739" y="388"/>
                      </a:lnTo>
                      <a:lnTo>
                        <a:pt x="1710" y="351"/>
                      </a:lnTo>
                      <a:lnTo>
                        <a:pt x="1680" y="316"/>
                      </a:lnTo>
                      <a:lnTo>
                        <a:pt x="1647" y="283"/>
                      </a:lnTo>
                      <a:lnTo>
                        <a:pt x="1614" y="250"/>
                      </a:lnTo>
                      <a:lnTo>
                        <a:pt x="1579" y="220"/>
                      </a:lnTo>
                      <a:lnTo>
                        <a:pt x="1542" y="191"/>
                      </a:lnTo>
                      <a:lnTo>
                        <a:pt x="1504" y="164"/>
                      </a:lnTo>
                      <a:lnTo>
                        <a:pt x="1465" y="140"/>
                      </a:lnTo>
                      <a:lnTo>
                        <a:pt x="1424" y="116"/>
                      </a:lnTo>
                      <a:lnTo>
                        <a:pt x="1383" y="95"/>
                      </a:lnTo>
                      <a:lnTo>
                        <a:pt x="1340" y="76"/>
                      </a:lnTo>
                      <a:lnTo>
                        <a:pt x="1297" y="58"/>
                      </a:lnTo>
                      <a:lnTo>
                        <a:pt x="1252" y="43"/>
                      </a:lnTo>
                      <a:lnTo>
                        <a:pt x="1206" y="30"/>
                      </a:lnTo>
                      <a:lnTo>
                        <a:pt x="1159" y="19"/>
                      </a:lnTo>
                      <a:lnTo>
                        <a:pt x="1112" y="11"/>
                      </a:lnTo>
                      <a:lnTo>
                        <a:pt x="1064" y="4"/>
                      </a:lnTo>
                      <a:lnTo>
                        <a:pt x="1015" y="1"/>
                      </a:lnTo>
                      <a:lnTo>
                        <a:pt x="964" y="0"/>
                      </a:lnTo>
                      <a:lnTo>
                        <a:pt x="915" y="1"/>
                      </a:lnTo>
                      <a:lnTo>
                        <a:pt x="866" y="4"/>
                      </a:lnTo>
                      <a:lnTo>
                        <a:pt x="818" y="11"/>
                      </a:lnTo>
                      <a:lnTo>
                        <a:pt x="771" y="19"/>
                      </a:lnTo>
                      <a:lnTo>
                        <a:pt x="724" y="30"/>
                      </a:lnTo>
                      <a:lnTo>
                        <a:pt x="678" y="43"/>
                      </a:lnTo>
                      <a:lnTo>
                        <a:pt x="633" y="58"/>
                      </a:lnTo>
                      <a:lnTo>
                        <a:pt x="590" y="76"/>
                      </a:lnTo>
                      <a:lnTo>
                        <a:pt x="547" y="95"/>
                      </a:lnTo>
                      <a:lnTo>
                        <a:pt x="506" y="116"/>
                      </a:lnTo>
                      <a:lnTo>
                        <a:pt x="464" y="140"/>
                      </a:lnTo>
                      <a:lnTo>
                        <a:pt x="425" y="164"/>
                      </a:lnTo>
                      <a:lnTo>
                        <a:pt x="388" y="192"/>
                      </a:lnTo>
                      <a:lnTo>
                        <a:pt x="351" y="220"/>
                      </a:lnTo>
                      <a:lnTo>
                        <a:pt x="316" y="250"/>
                      </a:lnTo>
                      <a:lnTo>
                        <a:pt x="283" y="283"/>
                      </a:lnTo>
                      <a:lnTo>
                        <a:pt x="250" y="316"/>
                      </a:lnTo>
                      <a:lnTo>
                        <a:pt x="220" y="351"/>
                      </a:lnTo>
                      <a:lnTo>
                        <a:pt x="191" y="388"/>
                      </a:lnTo>
                      <a:lnTo>
                        <a:pt x="164" y="426"/>
                      </a:lnTo>
                      <a:lnTo>
                        <a:pt x="140" y="465"/>
                      </a:lnTo>
                      <a:lnTo>
                        <a:pt x="116" y="506"/>
                      </a:lnTo>
                      <a:lnTo>
                        <a:pt x="95" y="547"/>
                      </a:lnTo>
                      <a:lnTo>
                        <a:pt x="76" y="590"/>
                      </a:lnTo>
                      <a:lnTo>
                        <a:pt x="58" y="633"/>
                      </a:lnTo>
                      <a:lnTo>
                        <a:pt x="43" y="678"/>
                      </a:lnTo>
                      <a:lnTo>
                        <a:pt x="30" y="724"/>
                      </a:lnTo>
                      <a:lnTo>
                        <a:pt x="19" y="771"/>
                      </a:lnTo>
                      <a:lnTo>
                        <a:pt x="11" y="818"/>
                      </a:lnTo>
                      <a:lnTo>
                        <a:pt x="4" y="867"/>
                      </a:lnTo>
                      <a:lnTo>
                        <a:pt x="1" y="915"/>
                      </a:lnTo>
                      <a:lnTo>
                        <a:pt x="0" y="966"/>
                      </a:lnTo>
                      <a:lnTo>
                        <a:pt x="1" y="1015"/>
                      </a:lnTo>
                      <a:lnTo>
                        <a:pt x="4" y="1064"/>
                      </a:lnTo>
                      <a:lnTo>
                        <a:pt x="11" y="1112"/>
                      </a:lnTo>
                      <a:lnTo>
                        <a:pt x="19" y="1159"/>
                      </a:lnTo>
                      <a:lnTo>
                        <a:pt x="30" y="1206"/>
                      </a:lnTo>
                      <a:lnTo>
                        <a:pt x="43" y="1252"/>
                      </a:lnTo>
                      <a:lnTo>
                        <a:pt x="58" y="1297"/>
                      </a:lnTo>
                      <a:lnTo>
                        <a:pt x="76" y="1341"/>
                      </a:lnTo>
                      <a:lnTo>
                        <a:pt x="95" y="1383"/>
                      </a:lnTo>
                      <a:lnTo>
                        <a:pt x="116" y="1426"/>
                      </a:lnTo>
                      <a:lnTo>
                        <a:pt x="140" y="1466"/>
                      </a:lnTo>
                      <a:lnTo>
                        <a:pt x="164" y="1505"/>
                      </a:lnTo>
                      <a:lnTo>
                        <a:pt x="191" y="1542"/>
                      </a:lnTo>
                      <a:lnTo>
                        <a:pt x="220" y="1579"/>
                      </a:lnTo>
                      <a:lnTo>
                        <a:pt x="250" y="1614"/>
                      </a:lnTo>
                      <a:lnTo>
                        <a:pt x="283" y="1647"/>
                      </a:lnTo>
                      <a:lnTo>
                        <a:pt x="316" y="1680"/>
                      </a:lnTo>
                      <a:lnTo>
                        <a:pt x="351" y="1710"/>
                      </a:lnTo>
                      <a:lnTo>
                        <a:pt x="388" y="1739"/>
                      </a:lnTo>
                      <a:lnTo>
                        <a:pt x="425" y="1766"/>
                      </a:lnTo>
                      <a:lnTo>
                        <a:pt x="464" y="1791"/>
                      </a:lnTo>
                      <a:lnTo>
                        <a:pt x="504" y="1814"/>
                      </a:lnTo>
                      <a:lnTo>
                        <a:pt x="547" y="1835"/>
                      </a:lnTo>
                      <a:lnTo>
                        <a:pt x="590" y="1854"/>
                      </a:lnTo>
                      <a:lnTo>
                        <a:pt x="633" y="1872"/>
                      </a:lnTo>
                      <a:lnTo>
                        <a:pt x="678" y="1887"/>
                      </a:lnTo>
                      <a:lnTo>
                        <a:pt x="724" y="1900"/>
                      </a:lnTo>
                      <a:lnTo>
                        <a:pt x="771" y="1912"/>
                      </a:lnTo>
                      <a:lnTo>
                        <a:pt x="818" y="1919"/>
                      </a:lnTo>
                      <a:lnTo>
                        <a:pt x="866" y="1926"/>
                      </a:lnTo>
                      <a:lnTo>
                        <a:pt x="915" y="1929"/>
                      </a:lnTo>
                      <a:lnTo>
                        <a:pt x="964" y="1931"/>
                      </a:lnTo>
                      <a:lnTo>
                        <a:pt x="966" y="1931"/>
                      </a:lnTo>
                      <a:lnTo>
                        <a:pt x="989" y="1931"/>
                      </a:lnTo>
                      <a:lnTo>
                        <a:pt x="1013" y="1929"/>
                      </a:lnTo>
                      <a:lnTo>
                        <a:pt x="1036" y="1928"/>
                      </a:lnTo>
                      <a:lnTo>
                        <a:pt x="1060" y="1926"/>
                      </a:lnTo>
                      <a:lnTo>
                        <a:pt x="1083" y="1924"/>
                      </a:lnTo>
                      <a:lnTo>
                        <a:pt x="1105" y="1920"/>
                      </a:lnTo>
                      <a:lnTo>
                        <a:pt x="1129" y="1917"/>
                      </a:lnTo>
                      <a:lnTo>
                        <a:pt x="1151" y="1913"/>
                      </a:lnTo>
                      <a:lnTo>
                        <a:pt x="1196" y="1903"/>
                      </a:lnTo>
                      <a:lnTo>
                        <a:pt x="1241" y="1891"/>
                      </a:lnTo>
                      <a:lnTo>
                        <a:pt x="1283" y="1877"/>
                      </a:lnTo>
                      <a:lnTo>
                        <a:pt x="1326" y="1861"/>
                      </a:lnTo>
                      <a:lnTo>
                        <a:pt x="1367" y="1843"/>
                      </a:lnTo>
                      <a:lnTo>
                        <a:pt x="1408" y="1823"/>
                      </a:lnTo>
                      <a:lnTo>
                        <a:pt x="1447" y="1802"/>
                      </a:lnTo>
                      <a:lnTo>
                        <a:pt x="1485" y="1778"/>
                      </a:lnTo>
                      <a:lnTo>
                        <a:pt x="1522" y="1754"/>
                      </a:lnTo>
                      <a:lnTo>
                        <a:pt x="1558" y="1727"/>
                      </a:lnTo>
                      <a:lnTo>
                        <a:pt x="1592" y="1699"/>
                      </a:lnTo>
                      <a:lnTo>
                        <a:pt x="1626" y="1669"/>
                      </a:lnTo>
                      <a:lnTo>
                        <a:pt x="2184" y="2227"/>
                      </a:lnTo>
                      <a:lnTo>
                        <a:pt x="2240" y="2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  <p:sp>
              <p:nvSpPr>
                <p:cNvPr id="122" name="Freeform 26"/>
                <p:cNvSpPr>
                  <a:spLocks noEditPoints="1"/>
                </p:cNvSpPr>
                <p:nvPr/>
              </p:nvSpPr>
              <p:spPr bwMode="auto">
                <a:xfrm>
                  <a:off x="5634038" y="2476501"/>
                  <a:ext cx="381000" cy="303213"/>
                </a:xfrm>
                <a:custGeom>
                  <a:avLst/>
                  <a:gdLst>
                    <a:gd name="T0" fmla="*/ 880 w 1200"/>
                    <a:gd name="T1" fmla="*/ 79 h 959"/>
                    <a:gd name="T2" fmla="*/ 960 w 1200"/>
                    <a:gd name="T3" fmla="*/ 880 h 959"/>
                    <a:gd name="T4" fmla="*/ 560 w 1200"/>
                    <a:gd name="T5" fmla="*/ 880 h 959"/>
                    <a:gd name="T6" fmla="*/ 640 w 1200"/>
                    <a:gd name="T7" fmla="*/ 319 h 959"/>
                    <a:gd name="T8" fmla="*/ 560 w 1200"/>
                    <a:gd name="T9" fmla="*/ 880 h 959"/>
                    <a:gd name="T10" fmla="*/ 240 w 1200"/>
                    <a:gd name="T11" fmla="*/ 560 h 959"/>
                    <a:gd name="T12" fmla="*/ 320 w 1200"/>
                    <a:gd name="T13" fmla="*/ 880 h 959"/>
                    <a:gd name="T14" fmla="*/ 1160 w 1200"/>
                    <a:gd name="T15" fmla="*/ 880 h 959"/>
                    <a:gd name="T16" fmla="*/ 1040 w 1200"/>
                    <a:gd name="T17" fmla="*/ 0 h 959"/>
                    <a:gd name="T18" fmla="*/ 800 w 1200"/>
                    <a:gd name="T19" fmla="*/ 880 h 959"/>
                    <a:gd name="T20" fmla="*/ 720 w 1200"/>
                    <a:gd name="T21" fmla="*/ 239 h 959"/>
                    <a:gd name="T22" fmla="*/ 480 w 1200"/>
                    <a:gd name="T23" fmla="*/ 880 h 959"/>
                    <a:gd name="T24" fmla="*/ 400 w 1200"/>
                    <a:gd name="T25" fmla="*/ 479 h 959"/>
                    <a:gd name="T26" fmla="*/ 160 w 1200"/>
                    <a:gd name="T27" fmla="*/ 880 h 959"/>
                    <a:gd name="T28" fmla="*/ 33 w 1200"/>
                    <a:gd name="T29" fmla="*/ 880 h 959"/>
                    <a:gd name="T30" fmla="*/ 18 w 1200"/>
                    <a:gd name="T31" fmla="*/ 886 h 959"/>
                    <a:gd name="T32" fmla="*/ 7 w 1200"/>
                    <a:gd name="T33" fmla="*/ 896 h 959"/>
                    <a:gd name="T34" fmla="*/ 1 w 1200"/>
                    <a:gd name="T35" fmla="*/ 911 h 959"/>
                    <a:gd name="T36" fmla="*/ 1 w 1200"/>
                    <a:gd name="T37" fmla="*/ 928 h 959"/>
                    <a:gd name="T38" fmla="*/ 7 w 1200"/>
                    <a:gd name="T39" fmla="*/ 941 h 959"/>
                    <a:gd name="T40" fmla="*/ 18 w 1200"/>
                    <a:gd name="T41" fmla="*/ 952 h 959"/>
                    <a:gd name="T42" fmla="*/ 33 w 1200"/>
                    <a:gd name="T43" fmla="*/ 958 h 959"/>
                    <a:gd name="T44" fmla="*/ 160 w 1200"/>
                    <a:gd name="T45" fmla="*/ 959 h 959"/>
                    <a:gd name="T46" fmla="*/ 480 w 1200"/>
                    <a:gd name="T47" fmla="*/ 959 h 959"/>
                    <a:gd name="T48" fmla="*/ 800 w 1200"/>
                    <a:gd name="T49" fmla="*/ 959 h 959"/>
                    <a:gd name="T50" fmla="*/ 1160 w 1200"/>
                    <a:gd name="T51" fmla="*/ 959 h 959"/>
                    <a:gd name="T52" fmla="*/ 1175 w 1200"/>
                    <a:gd name="T53" fmla="*/ 956 h 959"/>
                    <a:gd name="T54" fmla="*/ 1188 w 1200"/>
                    <a:gd name="T55" fmla="*/ 948 h 959"/>
                    <a:gd name="T56" fmla="*/ 1197 w 1200"/>
                    <a:gd name="T57" fmla="*/ 935 h 959"/>
                    <a:gd name="T58" fmla="*/ 1200 w 1200"/>
                    <a:gd name="T59" fmla="*/ 919 h 959"/>
                    <a:gd name="T60" fmla="*/ 1197 w 1200"/>
                    <a:gd name="T61" fmla="*/ 904 h 959"/>
                    <a:gd name="T62" fmla="*/ 1188 w 1200"/>
                    <a:gd name="T63" fmla="*/ 891 h 959"/>
                    <a:gd name="T64" fmla="*/ 1175 w 1200"/>
                    <a:gd name="T65" fmla="*/ 882 h 959"/>
                    <a:gd name="T66" fmla="*/ 1160 w 1200"/>
                    <a:gd name="T67" fmla="*/ 880 h 9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00" h="959">
                      <a:moveTo>
                        <a:pt x="880" y="880"/>
                      </a:moveTo>
                      <a:lnTo>
                        <a:pt x="880" y="79"/>
                      </a:lnTo>
                      <a:lnTo>
                        <a:pt x="960" y="79"/>
                      </a:lnTo>
                      <a:lnTo>
                        <a:pt x="960" y="880"/>
                      </a:lnTo>
                      <a:lnTo>
                        <a:pt x="880" y="880"/>
                      </a:lnTo>
                      <a:close/>
                      <a:moveTo>
                        <a:pt x="560" y="880"/>
                      </a:moveTo>
                      <a:lnTo>
                        <a:pt x="560" y="319"/>
                      </a:lnTo>
                      <a:lnTo>
                        <a:pt x="640" y="319"/>
                      </a:lnTo>
                      <a:lnTo>
                        <a:pt x="640" y="880"/>
                      </a:lnTo>
                      <a:lnTo>
                        <a:pt x="560" y="880"/>
                      </a:lnTo>
                      <a:close/>
                      <a:moveTo>
                        <a:pt x="240" y="880"/>
                      </a:moveTo>
                      <a:lnTo>
                        <a:pt x="240" y="560"/>
                      </a:lnTo>
                      <a:lnTo>
                        <a:pt x="320" y="560"/>
                      </a:lnTo>
                      <a:lnTo>
                        <a:pt x="320" y="880"/>
                      </a:lnTo>
                      <a:lnTo>
                        <a:pt x="240" y="880"/>
                      </a:lnTo>
                      <a:close/>
                      <a:moveTo>
                        <a:pt x="1160" y="880"/>
                      </a:moveTo>
                      <a:lnTo>
                        <a:pt x="1040" y="880"/>
                      </a:lnTo>
                      <a:lnTo>
                        <a:pt x="1040" y="0"/>
                      </a:lnTo>
                      <a:lnTo>
                        <a:pt x="800" y="0"/>
                      </a:lnTo>
                      <a:lnTo>
                        <a:pt x="800" y="880"/>
                      </a:lnTo>
                      <a:lnTo>
                        <a:pt x="720" y="880"/>
                      </a:lnTo>
                      <a:lnTo>
                        <a:pt x="720" y="239"/>
                      </a:lnTo>
                      <a:lnTo>
                        <a:pt x="480" y="239"/>
                      </a:lnTo>
                      <a:lnTo>
                        <a:pt x="480" y="880"/>
                      </a:lnTo>
                      <a:lnTo>
                        <a:pt x="400" y="880"/>
                      </a:lnTo>
                      <a:lnTo>
                        <a:pt x="400" y="479"/>
                      </a:lnTo>
                      <a:lnTo>
                        <a:pt x="160" y="479"/>
                      </a:lnTo>
                      <a:lnTo>
                        <a:pt x="160" y="880"/>
                      </a:lnTo>
                      <a:lnTo>
                        <a:pt x="41" y="880"/>
                      </a:lnTo>
                      <a:lnTo>
                        <a:pt x="33" y="880"/>
                      </a:lnTo>
                      <a:lnTo>
                        <a:pt x="25" y="882"/>
                      </a:lnTo>
                      <a:lnTo>
                        <a:pt x="18" y="886"/>
                      </a:lnTo>
                      <a:lnTo>
                        <a:pt x="11" y="891"/>
                      </a:lnTo>
                      <a:lnTo>
                        <a:pt x="7" y="896"/>
                      </a:lnTo>
                      <a:lnTo>
                        <a:pt x="4" y="904"/>
                      </a:lnTo>
                      <a:lnTo>
                        <a:pt x="1" y="911"/>
                      </a:lnTo>
                      <a:lnTo>
                        <a:pt x="0" y="919"/>
                      </a:lnTo>
                      <a:lnTo>
                        <a:pt x="1" y="928"/>
                      </a:lnTo>
                      <a:lnTo>
                        <a:pt x="4" y="935"/>
                      </a:lnTo>
                      <a:lnTo>
                        <a:pt x="7" y="941"/>
                      </a:lnTo>
                      <a:lnTo>
                        <a:pt x="11" y="948"/>
                      </a:lnTo>
                      <a:lnTo>
                        <a:pt x="18" y="952"/>
                      </a:lnTo>
                      <a:lnTo>
                        <a:pt x="25" y="956"/>
                      </a:lnTo>
                      <a:lnTo>
                        <a:pt x="33" y="958"/>
                      </a:lnTo>
                      <a:lnTo>
                        <a:pt x="41" y="959"/>
                      </a:lnTo>
                      <a:lnTo>
                        <a:pt x="160" y="959"/>
                      </a:lnTo>
                      <a:lnTo>
                        <a:pt x="400" y="959"/>
                      </a:lnTo>
                      <a:lnTo>
                        <a:pt x="480" y="959"/>
                      </a:lnTo>
                      <a:lnTo>
                        <a:pt x="720" y="959"/>
                      </a:lnTo>
                      <a:lnTo>
                        <a:pt x="800" y="959"/>
                      </a:lnTo>
                      <a:lnTo>
                        <a:pt x="1040" y="959"/>
                      </a:lnTo>
                      <a:lnTo>
                        <a:pt x="1160" y="959"/>
                      </a:lnTo>
                      <a:lnTo>
                        <a:pt x="1168" y="958"/>
                      </a:lnTo>
                      <a:lnTo>
                        <a:pt x="1175" y="956"/>
                      </a:lnTo>
                      <a:lnTo>
                        <a:pt x="1182" y="952"/>
                      </a:lnTo>
                      <a:lnTo>
                        <a:pt x="1188" y="948"/>
                      </a:lnTo>
                      <a:lnTo>
                        <a:pt x="1193" y="941"/>
                      </a:lnTo>
                      <a:lnTo>
                        <a:pt x="1197" y="935"/>
                      </a:lnTo>
                      <a:lnTo>
                        <a:pt x="1199" y="928"/>
                      </a:lnTo>
                      <a:lnTo>
                        <a:pt x="1200" y="919"/>
                      </a:lnTo>
                      <a:lnTo>
                        <a:pt x="1199" y="911"/>
                      </a:lnTo>
                      <a:lnTo>
                        <a:pt x="1197" y="904"/>
                      </a:lnTo>
                      <a:lnTo>
                        <a:pt x="1193" y="896"/>
                      </a:lnTo>
                      <a:lnTo>
                        <a:pt x="1188" y="891"/>
                      </a:lnTo>
                      <a:lnTo>
                        <a:pt x="1182" y="886"/>
                      </a:lnTo>
                      <a:lnTo>
                        <a:pt x="1175" y="882"/>
                      </a:lnTo>
                      <a:lnTo>
                        <a:pt x="1168" y="880"/>
                      </a:lnTo>
                      <a:lnTo>
                        <a:pt x="1160" y="8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/>
                </a:p>
              </p:txBody>
            </p:sp>
          </p:grpSp>
        </p:grpSp>
        <p:cxnSp>
          <p:nvCxnSpPr>
            <p:cNvPr id="123" name="Straight Arrow Connector 122"/>
            <p:cNvCxnSpPr>
              <a:stCxn id="115" idx="6"/>
              <a:endCxn id="106" idx="2"/>
            </p:cNvCxnSpPr>
            <p:nvPr/>
          </p:nvCxnSpPr>
          <p:spPr>
            <a:xfrm>
              <a:off x="4970894" y="3848717"/>
              <a:ext cx="756494" cy="0"/>
            </a:xfrm>
            <a:prstGeom prst="straightConnector1">
              <a:avLst/>
            </a:prstGeom>
            <a:ln w="38100">
              <a:solidFill>
                <a:srgbClr val="F1C4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/>
            <p:cNvCxnSpPr/>
            <p:nvPr/>
          </p:nvCxnSpPr>
          <p:spPr>
            <a:xfrm>
              <a:off x="3514195" y="3848716"/>
              <a:ext cx="758115" cy="0"/>
            </a:xfrm>
            <a:prstGeom prst="straightConnector1">
              <a:avLst/>
            </a:prstGeom>
            <a:ln w="38100">
              <a:solidFill>
                <a:srgbClr val="F1C4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51644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La valeur ajoutée de </a:t>
            </a:r>
            <a:r>
              <a:rPr lang="fr-FR" dirty="0" err="1"/>
              <a:t>DataNest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 smtClean="0"/>
              <a:t>9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300294" y="5715000"/>
            <a:ext cx="467467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Market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422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La valeur ajoutée de </a:t>
            </a:r>
            <a:r>
              <a:rPr lang="fr-FR" dirty="0" err="1"/>
              <a:t>DataNest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 smtClean="0"/>
              <a:t>10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FLUIDITE DE L’ENTREPRISE</a:t>
            </a:r>
            <a:endParaRPr lang="id-ID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752067" y="5715000"/>
            <a:ext cx="577113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Operations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1734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La valeur ajoutée de </a:t>
            </a:r>
            <a:r>
              <a:rPr lang="fr-FR" dirty="0" err="1"/>
              <a:t>DataNest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 smtClean="0"/>
              <a:t>11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283464" y="5715000"/>
            <a:ext cx="470834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Service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37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BUSINESS </a:t>
            </a:r>
            <a:r>
              <a:rPr lang="id-ID" dirty="0"/>
              <a:t>PROCESS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 smtClean="0"/>
              <a:t>12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079882" y="5715000"/>
            <a:ext cx="511550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Decision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0006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/>
          <p:cNvSpPr/>
          <p:nvPr>
            <p:custDataLst>
              <p:tags r:id="rId1"/>
            </p:custDataLst>
          </p:nvPr>
        </p:nvSpPr>
        <p:spPr>
          <a:xfrm>
            <a:off x="0" y="5496580"/>
            <a:ext cx="9144000" cy="136142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152" name="Straight Connector 151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F1C4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ue High-</a:t>
            </a:r>
            <a:r>
              <a:rPr lang="fr-FR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evel</a:t>
            </a: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u technique </a:t>
            </a:r>
            <a:r>
              <a:rPr lang="fr-FR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ataNest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SINESS </a:t>
            </a:r>
            <a:r>
              <a:rPr lang="id-ID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CES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 smtClean="0"/>
              <a:t>13</a:t>
            </a:r>
            <a:endParaRPr lang="en-US" dirty="0"/>
          </a:p>
        </p:txBody>
      </p:sp>
      <p:sp>
        <p:nvSpPr>
          <p:cNvPr id="154" name="TextBox 153"/>
          <p:cNvSpPr txBox="1"/>
          <p:nvPr>
            <p:custDataLst>
              <p:tags r:id="rId2"/>
            </p:custDataLst>
          </p:nvPr>
        </p:nvSpPr>
        <p:spPr>
          <a:xfrm>
            <a:off x="304800" y="4953000"/>
            <a:ext cx="12666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2800" dirty="0" smtClean="0">
                <a:solidFill>
                  <a:schemeClr val="bg1"/>
                </a:solidFill>
                <a:latin typeface="Calibri Light" pitchFamily="34" charset="0"/>
              </a:rPr>
              <a:t>MODEL</a:t>
            </a:r>
            <a:endParaRPr lang="en-US" sz="2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153031" y="3302818"/>
            <a:ext cx="192664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b="1" dirty="0" smtClean="0">
                <a:solidFill>
                  <a:srgbClr val="F1C40F"/>
                </a:solidFill>
                <a:latin typeface="Calibri Light" panose="020F0302020204030204" pitchFamily="34" charset="0"/>
              </a:rPr>
              <a:t>CONCLUSIONS ET ADAPTATION</a:t>
            </a:r>
            <a:endParaRPr lang="id-ID" sz="2000" b="1" dirty="0">
              <a:solidFill>
                <a:srgbClr val="F1C40F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23712" y="1709586"/>
            <a:ext cx="1219200" cy="1305227"/>
            <a:chOff x="-1046920" y="2123773"/>
            <a:chExt cx="1219200" cy="1305227"/>
          </a:xfrm>
        </p:grpSpPr>
        <p:sp>
          <p:nvSpPr>
            <p:cNvPr id="50" name="Oval 49"/>
            <p:cNvSpPr/>
            <p:nvPr/>
          </p:nvSpPr>
          <p:spPr>
            <a:xfrm>
              <a:off x="-1046920" y="22098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2" name="Oval 51"/>
            <p:cNvSpPr/>
            <p:nvPr/>
          </p:nvSpPr>
          <p:spPr>
            <a:xfrm>
              <a:off x="-961755" y="2294965"/>
              <a:ext cx="1048871" cy="1048871"/>
            </a:xfrm>
            <a:prstGeom prst="ellipse">
              <a:avLst/>
            </a:prstGeom>
            <a:solidFill>
              <a:srgbClr val="F1C40F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3" name="Oval 52"/>
            <p:cNvSpPr/>
            <p:nvPr/>
          </p:nvSpPr>
          <p:spPr>
            <a:xfrm>
              <a:off x="-627820" y="2123773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1C4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 smtClean="0">
                  <a:solidFill>
                    <a:srgbClr val="7F8C8D"/>
                  </a:solidFill>
                  <a:latin typeface="Calibri Light" panose="020F0302020204030204" pitchFamily="34" charset="0"/>
                </a:rPr>
                <a:t>1</a:t>
              </a:r>
              <a:endParaRPr lang="id-ID" sz="1200" b="1" dirty="0">
                <a:solidFill>
                  <a:srgbClr val="7F8C8D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1244419" y="3302818"/>
            <a:ext cx="15777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2000" b="1" dirty="0" smtClean="0">
                <a:solidFill>
                  <a:srgbClr val="F1C40F"/>
                </a:solidFill>
                <a:latin typeface="Calibri Light" panose="020F0302020204030204" pitchFamily="34" charset="0"/>
              </a:rPr>
              <a:t>STRATEG</a:t>
            </a:r>
            <a:r>
              <a:rPr lang="fr-FR" sz="2000" b="1" dirty="0" smtClean="0">
                <a:solidFill>
                  <a:srgbClr val="F1C40F"/>
                </a:solidFill>
                <a:latin typeface="Calibri Light" panose="020F0302020204030204" pitchFamily="34" charset="0"/>
              </a:rPr>
              <a:t>IE</a:t>
            </a:r>
            <a:endParaRPr lang="id-ID" sz="2000" b="1" dirty="0">
              <a:solidFill>
                <a:srgbClr val="F1C40F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366010" y="4107359"/>
            <a:ext cx="133460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latin typeface="Calibri Light" pitchFamily="34" charset="0"/>
              </a:rPr>
              <a:t>Qui </a:t>
            </a:r>
            <a:r>
              <a:rPr lang="en-US" sz="1400" dirty="0" err="1" smtClean="0">
                <a:latin typeface="Calibri Light" pitchFamily="34" charset="0"/>
              </a:rPr>
              <a:t>êtes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vous</a:t>
            </a:r>
            <a:r>
              <a:rPr lang="en-US" sz="1400" dirty="0" smtClean="0">
                <a:latin typeface="Calibri Light" pitchFamily="34" charset="0"/>
              </a:rPr>
              <a:t> ?</a:t>
            </a:r>
          </a:p>
          <a:p>
            <a:pPr algn="ctr"/>
            <a:r>
              <a:rPr lang="fr-FR" sz="1400" dirty="0" smtClean="0">
                <a:latin typeface="Calibri Light" pitchFamily="34" charset="0"/>
              </a:rPr>
              <a:t>Qu’avez-vous l’intention de faire ?</a:t>
            </a:r>
            <a:endParaRPr lang="en-US" sz="1400" dirty="0"/>
          </a:p>
        </p:txBody>
      </p:sp>
      <p:grpSp>
        <p:nvGrpSpPr>
          <p:cNvPr id="57" name="Group 56"/>
          <p:cNvGrpSpPr/>
          <p:nvPr/>
        </p:nvGrpSpPr>
        <p:grpSpPr>
          <a:xfrm>
            <a:off x="1843697" y="2165184"/>
            <a:ext cx="379230" cy="557312"/>
            <a:chOff x="7188200" y="1789113"/>
            <a:chExt cx="469901" cy="690563"/>
          </a:xfrm>
          <a:solidFill>
            <a:schemeClr val="bg1"/>
          </a:solidFill>
        </p:grpSpPr>
        <p:sp>
          <p:nvSpPr>
            <p:cNvPr id="58" name="Freeform 121"/>
            <p:cNvSpPr>
              <a:spLocks/>
            </p:cNvSpPr>
            <p:nvPr/>
          </p:nvSpPr>
          <p:spPr bwMode="auto">
            <a:xfrm>
              <a:off x="7243763" y="1925638"/>
              <a:ext cx="220663" cy="28575"/>
            </a:xfrm>
            <a:custGeom>
              <a:avLst/>
              <a:gdLst>
                <a:gd name="T0" fmla="*/ 391 w 417"/>
                <a:gd name="T1" fmla="*/ 54 h 54"/>
                <a:gd name="T2" fmla="*/ 26 w 417"/>
                <a:gd name="T3" fmla="*/ 54 h 54"/>
                <a:gd name="T4" fmla="*/ 21 w 417"/>
                <a:gd name="T5" fmla="*/ 52 h 54"/>
                <a:gd name="T6" fmla="*/ 15 w 417"/>
                <a:gd name="T7" fmla="*/ 51 h 54"/>
                <a:gd name="T8" fmla="*/ 11 w 417"/>
                <a:gd name="T9" fmla="*/ 49 h 54"/>
                <a:gd name="T10" fmla="*/ 7 w 417"/>
                <a:gd name="T11" fmla="*/ 45 h 54"/>
                <a:gd name="T12" fmla="*/ 4 w 417"/>
                <a:gd name="T13" fmla="*/ 42 h 54"/>
                <a:gd name="T14" fmla="*/ 3 w 417"/>
                <a:gd name="T15" fmla="*/ 38 h 54"/>
                <a:gd name="T16" fmla="*/ 1 w 417"/>
                <a:gd name="T17" fmla="*/ 32 h 54"/>
                <a:gd name="T18" fmla="*/ 0 w 417"/>
                <a:gd name="T19" fmla="*/ 28 h 54"/>
                <a:gd name="T20" fmla="*/ 1 w 417"/>
                <a:gd name="T21" fmla="*/ 22 h 54"/>
                <a:gd name="T22" fmla="*/ 3 w 417"/>
                <a:gd name="T23" fmla="*/ 18 h 54"/>
                <a:gd name="T24" fmla="*/ 4 w 417"/>
                <a:gd name="T25" fmla="*/ 12 h 54"/>
                <a:gd name="T26" fmla="*/ 7 w 417"/>
                <a:gd name="T27" fmla="*/ 9 h 54"/>
                <a:gd name="T28" fmla="*/ 11 w 417"/>
                <a:gd name="T29" fmla="*/ 6 h 54"/>
                <a:gd name="T30" fmla="*/ 15 w 417"/>
                <a:gd name="T31" fmla="*/ 3 h 54"/>
                <a:gd name="T32" fmla="*/ 21 w 417"/>
                <a:gd name="T33" fmla="*/ 2 h 54"/>
                <a:gd name="T34" fmla="*/ 26 w 417"/>
                <a:gd name="T35" fmla="*/ 0 h 54"/>
                <a:gd name="T36" fmla="*/ 391 w 417"/>
                <a:gd name="T37" fmla="*/ 0 h 54"/>
                <a:gd name="T38" fmla="*/ 397 w 417"/>
                <a:gd name="T39" fmla="*/ 2 h 54"/>
                <a:gd name="T40" fmla="*/ 401 w 417"/>
                <a:gd name="T41" fmla="*/ 3 h 54"/>
                <a:gd name="T42" fmla="*/ 406 w 417"/>
                <a:gd name="T43" fmla="*/ 6 h 54"/>
                <a:gd name="T44" fmla="*/ 410 w 417"/>
                <a:gd name="T45" fmla="*/ 9 h 54"/>
                <a:gd name="T46" fmla="*/ 413 w 417"/>
                <a:gd name="T47" fmla="*/ 12 h 54"/>
                <a:gd name="T48" fmla="*/ 416 w 417"/>
                <a:gd name="T49" fmla="*/ 18 h 54"/>
                <a:gd name="T50" fmla="*/ 417 w 417"/>
                <a:gd name="T51" fmla="*/ 22 h 54"/>
                <a:gd name="T52" fmla="*/ 417 w 417"/>
                <a:gd name="T53" fmla="*/ 28 h 54"/>
                <a:gd name="T54" fmla="*/ 417 w 417"/>
                <a:gd name="T55" fmla="*/ 32 h 54"/>
                <a:gd name="T56" fmla="*/ 416 w 417"/>
                <a:gd name="T57" fmla="*/ 38 h 54"/>
                <a:gd name="T58" fmla="*/ 413 w 417"/>
                <a:gd name="T59" fmla="*/ 42 h 54"/>
                <a:gd name="T60" fmla="*/ 410 w 417"/>
                <a:gd name="T61" fmla="*/ 45 h 54"/>
                <a:gd name="T62" fmla="*/ 406 w 417"/>
                <a:gd name="T63" fmla="*/ 49 h 54"/>
                <a:gd name="T64" fmla="*/ 401 w 417"/>
                <a:gd name="T65" fmla="*/ 51 h 54"/>
                <a:gd name="T66" fmla="*/ 397 w 417"/>
                <a:gd name="T67" fmla="*/ 52 h 54"/>
                <a:gd name="T68" fmla="*/ 391 w 417"/>
                <a:gd name="T6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7" h="54">
                  <a:moveTo>
                    <a:pt x="391" y="54"/>
                  </a:moveTo>
                  <a:lnTo>
                    <a:pt x="26" y="54"/>
                  </a:lnTo>
                  <a:lnTo>
                    <a:pt x="21" y="52"/>
                  </a:lnTo>
                  <a:lnTo>
                    <a:pt x="15" y="51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3" y="38"/>
                  </a:lnTo>
                  <a:lnTo>
                    <a:pt x="1" y="32"/>
                  </a:lnTo>
                  <a:lnTo>
                    <a:pt x="0" y="28"/>
                  </a:lnTo>
                  <a:lnTo>
                    <a:pt x="1" y="22"/>
                  </a:lnTo>
                  <a:lnTo>
                    <a:pt x="3" y="18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6"/>
                  </a:lnTo>
                  <a:lnTo>
                    <a:pt x="15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391" y="0"/>
                  </a:lnTo>
                  <a:lnTo>
                    <a:pt x="397" y="2"/>
                  </a:lnTo>
                  <a:lnTo>
                    <a:pt x="401" y="3"/>
                  </a:lnTo>
                  <a:lnTo>
                    <a:pt x="406" y="6"/>
                  </a:lnTo>
                  <a:lnTo>
                    <a:pt x="410" y="9"/>
                  </a:lnTo>
                  <a:lnTo>
                    <a:pt x="413" y="12"/>
                  </a:lnTo>
                  <a:lnTo>
                    <a:pt x="416" y="18"/>
                  </a:lnTo>
                  <a:lnTo>
                    <a:pt x="417" y="22"/>
                  </a:lnTo>
                  <a:lnTo>
                    <a:pt x="417" y="28"/>
                  </a:lnTo>
                  <a:lnTo>
                    <a:pt x="417" y="32"/>
                  </a:lnTo>
                  <a:lnTo>
                    <a:pt x="416" y="38"/>
                  </a:lnTo>
                  <a:lnTo>
                    <a:pt x="413" y="42"/>
                  </a:lnTo>
                  <a:lnTo>
                    <a:pt x="410" y="45"/>
                  </a:lnTo>
                  <a:lnTo>
                    <a:pt x="406" y="49"/>
                  </a:lnTo>
                  <a:lnTo>
                    <a:pt x="401" y="51"/>
                  </a:lnTo>
                  <a:lnTo>
                    <a:pt x="397" y="52"/>
                  </a:lnTo>
                  <a:lnTo>
                    <a:pt x="391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22"/>
            <p:cNvSpPr>
              <a:spLocks/>
            </p:cNvSpPr>
            <p:nvPr/>
          </p:nvSpPr>
          <p:spPr bwMode="auto">
            <a:xfrm>
              <a:off x="7243763" y="2038351"/>
              <a:ext cx="220663" cy="26988"/>
            </a:xfrm>
            <a:custGeom>
              <a:avLst/>
              <a:gdLst>
                <a:gd name="T0" fmla="*/ 391 w 417"/>
                <a:gd name="T1" fmla="*/ 51 h 51"/>
                <a:gd name="T2" fmla="*/ 26 w 417"/>
                <a:gd name="T3" fmla="*/ 51 h 51"/>
                <a:gd name="T4" fmla="*/ 21 w 417"/>
                <a:gd name="T5" fmla="*/ 50 h 51"/>
                <a:gd name="T6" fmla="*/ 15 w 417"/>
                <a:gd name="T7" fmla="*/ 49 h 51"/>
                <a:gd name="T8" fmla="*/ 11 w 417"/>
                <a:gd name="T9" fmla="*/ 47 h 51"/>
                <a:gd name="T10" fmla="*/ 7 w 417"/>
                <a:gd name="T11" fmla="*/ 44 h 51"/>
                <a:gd name="T12" fmla="*/ 4 w 417"/>
                <a:gd name="T13" fmla="*/ 40 h 51"/>
                <a:gd name="T14" fmla="*/ 3 w 417"/>
                <a:gd name="T15" fmla="*/ 36 h 51"/>
                <a:gd name="T16" fmla="*/ 1 w 417"/>
                <a:gd name="T17" fmla="*/ 30 h 51"/>
                <a:gd name="T18" fmla="*/ 0 w 417"/>
                <a:gd name="T19" fmla="*/ 26 h 51"/>
                <a:gd name="T20" fmla="*/ 1 w 417"/>
                <a:gd name="T21" fmla="*/ 20 h 51"/>
                <a:gd name="T22" fmla="*/ 3 w 417"/>
                <a:gd name="T23" fmla="*/ 15 h 51"/>
                <a:gd name="T24" fmla="*/ 4 w 417"/>
                <a:gd name="T25" fmla="*/ 11 h 51"/>
                <a:gd name="T26" fmla="*/ 7 w 417"/>
                <a:gd name="T27" fmla="*/ 7 h 51"/>
                <a:gd name="T28" fmla="*/ 11 w 417"/>
                <a:gd name="T29" fmla="*/ 4 h 51"/>
                <a:gd name="T30" fmla="*/ 15 w 417"/>
                <a:gd name="T31" fmla="*/ 1 h 51"/>
                <a:gd name="T32" fmla="*/ 21 w 417"/>
                <a:gd name="T33" fmla="*/ 0 h 51"/>
                <a:gd name="T34" fmla="*/ 26 w 417"/>
                <a:gd name="T35" fmla="*/ 0 h 51"/>
                <a:gd name="T36" fmla="*/ 391 w 417"/>
                <a:gd name="T37" fmla="*/ 0 h 51"/>
                <a:gd name="T38" fmla="*/ 397 w 417"/>
                <a:gd name="T39" fmla="*/ 0 h 51"/>
                <a:gd name="T40" fmla="*/ 401 w 417"/>
                <a:gd name="T41" fmla="*/ 1 h 51"/>
                <a:gd name="T42" fmla="*/ 406 w 417"/>
                <a:gd name="T43" fmla="*/ 4 h 51"/>
                <a:gd name="T44" fmla="*/ 410 w 417"/>
                <a:gd name="T45" fmla="*/ 7 h 51"/>
                <a:gd name="T46" fmla="*/ 413 w 417"/>
                <a:gd name="T47" fmla="*/ 11 h 51"/>
                <a:gd name="T48" fmla="*/ 416 w 417"/>
                <a:gd name="T49" fmla="*/ 15 h 51"/>
                <a:gd name="T50" fmla="*/ 417 w 417"/>
                <a:gd name="T51" fmla="*/ 20 h 51"/>
                <a:gd name="T52" fmla="*/ 417 w 417"/>
                <a:gd name="T53" fmla="*/ 26 h 51"/>
                <a:gd name="T54" fmla="*/ 417 w 417"/>
                <a:gd name="T55" fmla="*/ 30 h 51"/>
                <a:gd name="T56" fmla="*/ 416 w 417"/>
                <a:gd name="T57" fmla="*/ 36 h 51"/>
                <a:gd name="T58" fmla="*/ 413 w 417"/>
                <a:gd name="T59" fmla="*/ 40 h 51"/>
                <a:gd name="T60" fmla="*/ 410 w 417"/>
                <a:gd name="T61" fmla="*/ 44 h 51"/>
                <a:gd name="T62" fmla="*/ 406 w 417"/>
                <a:gd name="T63" fmla="*/ 47 h 51"/>
                <a:gd name="T64" fmla="*/ 401 w 417"/>
                <a:gd name="T65" fmla="*/ 49 h 51"/>
                <a:gd name="T66" fmla="*/ 397 w 417"/>
                <a:gd name="T67" fmla="*/ 50 h 51"/>
                <a:gd name="T68" fmla="*/ 391 w 417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7" h="51">
                  <a:moveTo>
                    <a:pt x="391" y="51"/>
                  </a:moveTo>
                  <a:lnTo>
                    <a:pt x="26" y="51"/>
                  </a:lnTo>
                  <a:lnTo>
                    <a:pt x="21" y="50"/>
                  </a:lnTo>
                  <a:lnTo>
                    <a:pt x="15" y="49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3" y="36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5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91" y="0"/>
                  </a:lnTo>
                  <a:lnTo>
                    <a:pt x="397" y="0"/>
                  </a:lnTo>
                  <a:lnTo>
                    <a:pt x="401" y="1"/>
                  </a:lnTo>
                  <a:lnTo>
                    <a:pt x="406" y="4"/>
                  </a:lnTo>
                  <a:lnTo>
                    <a:pt x="410" y="7"/>
                  </a:lnTo>
                  <a:lnTo>
                    <a:pt x="413" y="11"/>
                  </a:lnTo>
                  <a:lnTo>
                    <a:pt x="416" y="15"/>
                  </a:lnTo>
                  <a:lnTo>
                    <a:pt x="417" y="20"/>
                  </a:lnTo>
                  <a:lnTo>
                    <a:pt x="417" y="26"/>
                  </a:lnTo>
                  <a:lnTo>
                    <a:pt x="417" y="30"/>
                  </a:lnTo>
                  <a:lnTo>
                    <a:pt x="416" y="36"/>
                  </a:lnTo>
                  <a:lnTo>
                    <a:pt x="413" y="40"/>
                  </a:lnTo>
                  <a:lnTo>
                    <a:pt x="410" y="44"/>
                  </a:lnTo>
                  <a:lnTo>
                    <a:pt x="406" y="47"/>
                  </a:lnTo>
                  <a:lnTo>
                    <a:pt x="401" y="49"/>
                  </a:lnTo>
                  <a:lnTo>
                    <a:pt x="397" y="50"/>
                  </a:lnTo>
                  <a:lnTo>
                    <a:pt x="391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3"/>
            <p:cNvSpPr>
              <a:spLocks/>
            </p:cNvSpPr>
            <p:nvPr/>
          </p:nvSpPr>
          <p:spPr bwMode="auto">
            <a:xfrm>
              <a:off x="7243763" y="2147888"/>
              <a:ext cx="220663" cy="26988"/>
            </a:xfrm>
            <a:custGeom>
              <a:avLst/>
              <a:gdLst>
                <a:gd name="T0" fmla="*/ 391 w 417"/>
                <a:gd name="T1" fmla="*/ 52 h 52"/>
                <a:gd name="T2" fmla="*/ 26 w 417"/>
                <a:gd name="T3" fmla="*/ 52 h 52"/>
                <a:gd name="T4" fmla="*/ 21 w 417"/>
                <a:gd name="T5" fmla="*/ 52 h 52"/>
                <a:gd name="T6" fmla="*/ 15 w 417"/>
                <a:gd name="T7" fmla="*/ 51 h 52"/>
                <a:gd name="T8" fmla="*/ 11 w 417"/>
                <a:gd name="T9" fmla="*/ 48 h 52"/>
                <a:gd name="T10" fmla="*/ 7 w 417"/>
                <a:gd name="T11" fmla="*/ 45 h 52"/>
                <a:gd name="T12" fmla="*/ 4 w 417"/>
                <a:gd name="T13" fmla="*/ 41 h 52"/>
                <a:gd name="T14" fmla="*/ 3 w 417"/>
                <a:gd name="T15" fmla="*/ 36 h 52"/>
                <a:gd name="T16" fmla="*/ 1 w 417"/>
                <a:gd name="T17" fmla="*/ 31 h 52"/>
                <a:gd name="T18" fmla="*/ 0 w 417"/>
                <a:gd name="T19" fmla="*/ 26 h 52"/>
                <a:gd name="T20" fmla="*/ 1 w 417"/>
                <a:gd name="T21" fmla="*/ 21 h 52"/>
                <a:gd name="T22" fmla="*/ 3 w 417"/>
                <a:gd name="T23" fmla="*/ 16 h 52"/>
                <a:gd name="T24" fmla="*/ 4 w 417"/>
                <a:gd name="T25" fmla="*/ 12 h 52"/>
                <a:gd name="T26" fmla="*/ 7 w 417"/>
                <a:gd name="T27" fmla="*/ 8 h 52"/>
                <a:gd name="T28" fmla="*/ 11 w 417"/>
                <a:gd name="T29" fmla="*/ 5 h 52"/>
                <a:gd name="T30" fmla="*/ 15 w 417"/>
                <a:gd name="T31" fmla="*/ 2 h 52"/>
                <a:gd name="T32" fmla="*/ 21 w 417"/>
                <a:gd name="T33" fmla="*/ 0 h 52"/>
                <a:gd name="T34" fmla="*/ 26 w 417"/>
                <a:gd name="T35" fmla="*/ 0 h 52"/>
                <a:gd name="T36" fmla="*/ 391 w 417"/>
                <a:gd name="T37" fmla="*/ 0 h 52"/>
                <a:gd name="T38" fmla="*/ 397 w 417"/>
                <a:gd name="T39" fmla="*/ 0 h 52"/>
                <a:gd name="T40" fmla="*/ 401 w 417"/>
                <a:gd name="T41" fmla="*/ 2 h 52"/>
                <a:gd name="T42" fmla="*/ 406 w 417"/>
                <a:gd name="T43" fmla="*/ 5 h 52"/>
                <a:gd name="T44" fmla="*/ 410 w 417"/>
                <a:gd name="T45" fmla="*/ 8 h 52"/>
                <a:gd name="T46" fmla="*/ 413 w 417"/>
                <a:gd name="T47" fmla="*/ 12 h 52"/>
                <a:gd name="T48" fmla="*/ 416 w 417"/>
                <a:gd name="T49" fmla="*/ 16 h 52"/>
                <a:gd name="T50" fmla="*/ 417 w 417"/>
                <a:gd name="T51" fmla="*/ 21 h 52"/>
                <a:gd name="T52" fmla="*/ 417 w 417"/>
                <a:gd name="T53" fmla="*/ 26 h 52"/>
                <a:gd name="T54" fmla="*/ 417 w 417"/>
                <a:gd name="T55" fmla="*/ 31 h 52"/>
                <a:gd name="T56" fmla="*/ 416 w 417"/>
                <a:gd name="T57" fmla="*/ 36 h 52"/>
                <a:gd name="T58" fmla="*/ 413 w 417"/>
                <a:gd name="T59" fmla="*/ 41 h 52"/>
                <a:gd name="T60" fmla="*/ 410 w 417"/>
                <a:gd name="T61" fmla="*/ 45 h 52"/>
                <a:gd name="T62" fmla="*/ 406 w 417"/>
                <a:gd name="T63" fmla="*/ 48 h 52"/>
                <a:gd name="T64" fmla="*/ 401 w 417"/>
                <a:gd name="T65" fmla="*/ 51 h 52"/>
                <a:gd name="T66" fmla="*/ 397 w 417"/>
                <a:gd name="T67" fmla="*/ 52 h 52"/>
                <a:gd name="T68" fmla="*/ 391 w 417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7" h="52">
                  <a:moveTo>
                    <a:pt x="391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5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91" y="0"/>
                  </a:lnTo>
                  <a:lnTo>
                    <a:pt x="397" y="0"/>
                  </a:lnTo>
                  <a:lnTo>
                    <a:pt x="401" y="2"/>
                  </a:lnTo>
                  <a:lnTo>
                    <a:pt x="406" y="5"/>
                  </a:lnTo>
                  <a:lnTo>
                    <a:pt x="410" y="8"/>
                  </a:lnTo>
                  <a:lnTo>
                    <a:pt x="413" y="12"/>
                  </a:lnTo>
                  <a:lnTo>
                    <a:pt x="416" y="16"/>
                  </a:lnTo>
                  <a:lnTo>
                    <a:pt x="417" y="21"/>
                  </a:lnTo>
                  <a:lnTo>
                    <a:pt x="417" y="26"/>
                  </a:lnTo>
                  <a:lnTo>
                    <a:pt x="417" y="31"/>
                  </a:lnTo>
                  <a:lnTo>
                    <a:pt x="416" y="36"/>
                  </a:lnTo>
                  <a:lnTo>
                    <a:pt x="413" y="41"/>
                  </a:lnTo>
                  <a:lnTo>
                    <a:pt x="410" y="45"/>
                  </a:lnTo>
                  <a:lnTo>
                    <a:pt x="406" y="48"/>
                  </a:lnTo>
                  <a:lnTo>
                    <a:pt x="401" y="51"/>
                  </a:lnTo>
                  <a:lnTo>
                    <a:pt x="397" y="52"/>
                  </a:lnTo>
                  <a:lnTo>
                    <a:pt x="39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24"/>
            <p:cNvSpPr>
              <a:spLocks/>
            </p:cNvSpPr>
            <p:nvPr/>
          </p:nvSpPr>
          <p:spPr bwMode="auto">
            <a:xfrm>
              <a:off x="7243763" y="2259013"/>
              <a:ext cx="220663" cy="26988"/>
            </a:xfrm>
            <a:custGeom>
              <a:avLst/>
              <a:gdLst>
                <a:gd name="T0" fmla="*/ 391 w 417"/>
                <a:gd name="T1" fmla="*/ 52 h 52"/>
                <a:gd name="T2" fmla="*/ 26 w 417"/>
                <a:gd name="T3" fmla="*/ 52 h 52"/>
                <a:gd name="T4" fmla="*/ 21 w 417"/>
                <a:gd name="T5" fmla="*/ 52 h 52"/>
                <a:gd name="T6" fmla="*/ 15 w 417"/>
                <a:gd name="T7" fmla="*/ 51 h 52"/>
                <a:gd name="T8" fmla="*/ 11 w 417"/>
                <a:gd name="T9" fmla="*/ 48 h 52"/>
                <a:gd name="T10" fmla="*/ 7 w 417"/>
                <a:gd name="T11" fmla="*/ 45 h 52"/>
                <a:gd name="T12" fmla="*/ 4 w 417"/>
                <a:gd name="T13" fmla="*/ 41 h 52"/>
                <a:gd name="T14" fmla="*/ 3 w 417"/>
                <a:gd name="T15" fmla="*/ 36 h 52"/>
                <a:gd name="T16" fmla="*/ 1 w 417"/>
                <a:gd name="T17" fmla="*/ 32 h 52"/>
                <a:gd name="T18" fmla="*/ 0 w 417"/>
                <a:gd name="T19" fmla="*/ 26 h 52"/>
                <a:gd name="T20" fmla="*/ 1 w 417"/>
                <a:gd name="T21" fmla="*/ 20 h 52"/>
                <a:gd name="T22" fmla="*/ 3 w 417"/>
                <a:gd name="T23" fmla="*/ 16 h 52"/>
                <a:gd name="T24" fmla="*/ 4 w 417"/>
                <a:gd name="T25" fmla="*/ 12 h 52"/>
                <a:gd name="T26" fmla="*/ 7 w 417"/>
                <a:gd name="T27" fmla="*/ 7 h 52"/>
                <a:gd name="T28" fmla="*/ 11 w 417"/>
                <a:gd name="T29" fmla="*/ 5 h 52"/>
                <a:gd name="T30" fmla="*/ 15 w 417"/>
                <a:gd name="T31" fmla="*/ 2 h 52"/>
                <a:gd name="T32" fmla="*/ 21 w 417"/>
                <a:gd name="T33" fmla="*/ 0 h 52"/>
                <a:gd name="T34" fmla="*/ 26 w 417"/>
                <a:gd name="T35" fmla="*/ 0 h 52"/>
                <a:gd name="T36" fmla="*/ 391 w 417"/>
                <a:gd name="T37" fmla="*/ 0 h 52"/>
                <a:gd name="T38" fmla="*/ 397 w 417"/>
                <a:gd name="T39" fmla="*/ 0 h 52"/>
                <a:gd name="T40" fmla="*/ 401 w 417"/>
                <a:gd name="T41" fmla="*/ 2 h 52"/>
                <a:gd name="T42" fmla="*/ 406 w 417"/>
                <a:gd name="T43" fmla="*/ 5 h 52"/>
                <a:gd name="T44" fmla="*/ 410 w 417"/>
                <a:gd name="T45" fmla="*/ 7 h 52"/>
                <a:gd name="T46" fmla="*/ 413 w 417"/>
                <a:gd name="T47" fmla="*/ 12 h 52"/>
                <a:gd name="T48" fmla="*/ 416 w 417"/>
                <a:gd name="T49" fmla="*/ 16 h 52"/>
                <a:gd name="T50" fmla="*/ 417 w 417"/>
                <a:gd name="T51" fmla="*/ 20 h 52"/>
                <a:gd name="T52" fmla="*/ 417 w 417"/>
                <a:gd name="T53" fmla="*/ 26 h 52"/>
                <a:gd name="T54" fmla="*/ 417 w 417"/>
                <a:gd name="T55" fmla="*/ 32 h 52"/>
                <a:gd name="T56" fmla="*/ 416 w 417"/>
                <a:gd name="T57" fmla="*/ 36 h 52"/>
                <a:gd name="T58" fmla="*/ 413 w 417"/>
                <a:gd name="T59" fmla="*/ 41 h 52"/>
                <a:gd name="T60" fmla="*/ 410 w 417"/>
                <a:gd name="T61" fmla="*/ 45 h 52"/>
                <a:gd name="T62" fmla="*/ 406 w 417"/>
                <a:gd name="T63" fmla="*/ 48 h 52"/>
                <a:gd name="T64" fmla="*/ 401 w 417"/>
                <a:gd name="T65" fmla="*/ 51 h 52"/>
                <a:gd name="T66" fmla="*/ 397 w 417"/>
                <a:gd name="T67" fmla="*/ 52 h 52"/>
                <a:gd name="T68" fmla="*/ 391 w 417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7" h="52">
                  <a:moveTo>
                    <a:pt x="391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5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7" y="7"/>
                  </a:lnTo>
                  <a:lnTo>
                    <a:pt x="11" y="5"/>
                  </a:lnTo>
                  <a:lnTo>
                    <a:pt x="15" y="2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91" y="0"/>
                  </a:lnTo>
                  <a:lnTo>
                    <a:pt x="397" y="0"/>
                  </a:lnTo>
                  <a:lnTo>
                    <a:pt x="401" y="2"/>
                  </a:lnTo>
                  <a:lnTo>
                    <a:pt x="406" y="5"/>
                  </a:lnTo>
                  <a:lnTo>
                    <a:pt x="410" y="7"/>
                  </a:lnTo>
                  <a:lnTo>
                    <a:pt x="413" y="12"/>
                  </a:lnTo>
                  <a:lnTo>
                    <a:pt x="416" y="16"/>
                  </a:lnTo>
                  <a:lnTo>
                    <a:pt x="417" y="20"/>
                  </a:lnTo>
                  <a:lnTo>
                    <a:pt x="417" y="26"/>
                  </a:lnTo>
                  <a:lnTo>
                    <a:pt x="417" y="32"/>
                  </a:lnTo>
                  <a:lnTo>
                    <a:pt x="416" y="36"/>
                  </a:lnTo>
                  <a:lnTo>
                    <a:pt x="413" y="41"/>
                  </a:lnTo>
                  <a:lnTo>
                    <a:pt x="410" y="45"/>
                  </a:lnTo>
                  <a:lnTo>
                    <a:pt x="406" y="48"/>
                  </a:lnTo>
                  <a:lnTo>
                    <a:pt x="401" y="51"/>
                  </a:lnTo>
                  <a:lnTo>
                    <a:pt x="397" y="52"/>
                  </a:lnTo>
                  <a:lnTo>
                    <a:pt x="39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17"/>
            <p:cNvSpPr>
              <a:spLocks noEditPoints="1"/>
            </p:cNvSpPr>
            <p:nvPr/>
          </p:nvSpPr>
          <p:spPr bwMode="auto">
            <a:xfrm>
              <a:off x="7188200" y="1789113"/>
              <a:ext cx="469900" cy="690563"/>
            </a:xfrm>
            <a:custGeom>
              <a:avLst/>
              <a:gdLst>
                <a:gd name="T0" fmla="*/ 52 w 887"/>
                <a:gd name="T1" fmla="*/ 1254 h 1306"/>
                <a:gd name="T2" fmla="*/ 642 w 887"/>
                <a:gd name="T3" fmla="*/ 1254 h 1306"/>
                <a:gd name="T4" fmla="*/ 835 w 887"/>
                <a:gd name="T5" fmla="*/ 1060 h 1306"/>
                <a:gd name="T6" fmla="*/ 835 w 887"/>
                <a:gd name="T7" fmla="*/ 52 h 1306"/>
                <a:gd name="T8" fmla="*/ 52 w 887"/>
                <a:gd name="T9" fmla="*/ 52 h 1306"/>
                <a:gd name="T10" fmla="*/ 52 w 887"/>
                <a:gd name="T11" fmla="*/ 1254 h 1306"/>
                <a:gd name="T12" fmla="*/ 652 w 887"/>
                <a:gd name="T13" fmla="*/ 1306 h 1306"/>
                <a:gd name="T14" fmla="*/ 26 w 887"/>
                <a:gd name="T15" fmla="*/ 1306 h 1306"/>
                <a:gd name="T16" fmla="*/ 20 w 887"/>
                <a:gd name="T17" fmla="*/ 1306 h 1306"/>
                <a:gd name="T18" fmla="*/ 16 w 887"/>
                <a:gd name="T19" fmla="*/ 1304 h 1306"/>
                <a:gd name="T20" fmla="*/ 11 w 887"/>
                <a:gd name="T21" fmla="*/ 1301 h 1306"/>
                <a:gd name="T22" fmla="*/ 7 w 887"/>
                <a:gd name="T23" fmla="*/ 1299 h 1306"/>
                <a:gd name="T24" fmla="*/ 4 w 887"/>
                <a:gd name="T25" fmla="*/ 1294 h 1306"/>
                <a:gd name="T26" fmla="*/ 1 w 887"/>
                <a:gd name="T27" fmla="*/ 1290 h 1306"/>
                <a:gd name="T28" fmla="*/ 0 w 887"/>
                <a:gd name="T29" fmla="*/ 1286 h 1306"/>
                <a:gd name="T30" fmla="*/ 0 w 887"/>
                <a:gd name="T31" fmla="*/ 1280 h 1306"/>
                <a:gd name="T32" fmla="*/ 0 w 887"/>
                <a:gd name="T33" fmla="*/ 26 h 1306"/>
                <a:gd name="T34" fmla="*/ 0 w 887"/>
                <a:gd name="T35" fmla="*/ 21 h 1306"/>
                <a:gd name="T36" fmla="*/ 1 w 887"/>
                <a:gd name="T37" fmla="*/ 16 h 1306"/>
                <a:gd name="T38" fmla="*/ 4 w 887"/>
                <a:gd name="T39" fmla="*/ 11 h 1306"/>
                <a:gd name="T40" fmla="*/ 7 w 887"/>
                <a:gd name="T41" fmla="*/ 7 h 1306"/>
                <a:gd name="T42" fmla="*/ 11 w 887"/>
                <a:gd name="T43" fmla="*/ 4 h 1306"/>
                <a:gd name="T44" fmla="*/ 16 w 887"/>
                <a:gd name="T45" fmla="*/ 1 h 1306"/>
                <a:gd name="T46" fmla="*/ 20 w 887"/>
                <a:gd name="T47" fmla="*/ 0 h 1306"/>
                <a:gd name="T48" fmla="*/ 26 w 887"/>
                <a:gd name="T49" fmla="*/ 0 h 1306"/>
                <a:gd name="T50" fmla="*/ 861 w 887"/>
                <a:gd name="T51" fmla="*/ 0 h 1306"/>
                <a:gd name="T52" fmla="*/ 867 w 887"/>
                <a:gd name="T53" fmla="*/ 0 h 1306"/>
                <a:gd name="T54" fmla="*/ 871 w 887"/>
                <a:gd name="T55" fmla="*/ 1 h 1306"/>
                <a:gd name="T56" fmla="*/ 875 w 887"/>
                <a:gd name="T57" fmla="*/ 4 h 1306"/>
                <a:gd name="T58" fmla="*/ 880 w 887"/>
                <a:gd name="T59" fmla="*/ 7 h 1306"/>
                <a:gd name="T60" fmla="*/ 883 w 887"/>
                <a:gd name="T61" fmla="*/ 11 h 1306"/>
                <a:gd name="T62" fmla="*/ 886 w 887"/>
                <a:gd name="T63" fmla="*/ 16 h 1306"/>
                <a:gd name="T64" fmla="*/ 887 w 887"/>
                <a:gd name="T65" fmla="*/ 21 h 1306"/>
                <a:gd name="T66" fmla="*/ 887 w 887"/>
                <a:gd name="T67" fmla="*/ 26 h 1306"/>
                <a:gd name="T68" fmla="*/ 887 w 887"/>
                <a:gd name="T69" fmla="*/ 1071 h 1306"/>
                <a:gd name="T70" fmla="*/ 887 w 887"/>
                <a:gd name="T71" fmla="*/ 1075 h 1306"/>
                <a:gd name="T72" fmla="*/ 886 w 887"/>
                <a:gd name="T73" fmla="*/ 1081 h 1306"/>
                <a:gd name="T74" fmla="*/ 883 w 887"/>
                <a:gd name="T75" fmla="*/ 1085 h 1306"/>
                <a:gd name="T76" fmla="*/ 880 w 887"/>
                <a:gd name="T77" fmla="*/ 1090 h 1306"/>
                <a:gd name="T78" fmla="*/ 671 w 887"/>
                <a:gd name="T79" fmla="*/ 1299 h 1306"/>
                <a:gd name="T80" fmla="*/ 667 w 887"/>
                <a:gd name="T81" fmla="*/ 1301 h 1306"/>
                <a:gd name="T82" fmla="*/ 662 w 887"/>
                <a:gd name="T83" fmla="*/ 1304 h 1306"/>
                <a:gd name="T84" fmla="*/ 658 w 887"/>
                <a:gd name="T85" fmla="*/ 1306 h 1306"/>
                <a:gd name="T86" fmla="*/ 652 w 887"/>
                <a:gd name="T87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1306">
                  <a:moveTo>
                    <a:pt x="52" y="1254"/>
                  </a:moveTo>
                  <a:lnTo>
                    <a:pt x="642" y="1254"/>
                  </a:lnTo>
                  <a:lnTo>
                    <a:pt x="835" y="1060"/>
                  </a:lnTo>
                  <a:lnTo>
                    <a:pt x="835" y="52"/>
                  </a:lnTo>
                  <a:lnTo>
                    <a:pt x="52" y="52"/>
                  </a:lnTo>
                  <a:lnTo>
                    <a:pt x="52" y="1254"/>
                  </a:lnTo>
                  <a:close/>
                  <a:moveTo>
                    <a:pt x="652" y="1306"/>
                  </a:moveTo>
                  <a:lnTo>
                    <a:pt x="26" y="1306"/>
                  </a:lnTo>
                  <a:lnTo>
                    <a:pt x="20" y="1306"/>
                  </a:lnTo>
                  <a:lnTo>
                    <a:pt x="16" y="1304"/>
                  </a:lnTo>
                  <a:lnTo>
                    <a:pt x="11" y="1301"/>
                  </a:lnTo>
                  <a:lnTo>
                    <a:pt x="7" y="1299"/>
                  </a:lnTo>
                  <a:lnTo>
                    <a:pt x="4" y="1294"/>
                  </a:lnTo>
                  <a:lnTo>
                    <a:pt x="1" y="1290"/>
                  </a:lnTo>
                  <a:lnTo>
                    <a:pt x="0" y="1286"/>
                  </a:lnTo>
                  <a:lnTo>
                    <a:pt x="0" y="128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861" y="0"/>
                  </a:lnTo>
                  <a:lnTo>
                    <a:pt x="867" y="0"/>
                  </a:lnTo>
                  <a:lnTo>
                    <a:pt x="871" y="1"/>
                  </a:lnTo>
                  <a:lnTo>
                    <a:pt x="875" y="4"/>
                  </a:lnTo>
                  <a:lnTo>
                    <a:pt x="880" y="7"/>
                  </a:lnTo>
                  <a:lnTo>
                    <a:pt x="883" y="11"/>
                  </a:lnTo>
                  <a:lnTo>
                    <a:pt x="886" y="16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071"/>
                  </a:lnTo>
                  <a:lnTo>
                    <a:pt x="887" y="1075"/>
                  </a:lnTo>
                  <a:lnTo>
                    <a:pt x="886" y="1081"/>
                  </a:lnTo>
                  <a:lnTo>
                    <a:pt x="883" y="1085"/>
                  </a:lnTo>
                  <a:lnTo>
                    <a:pt x="880" y="1090"/>
                  </a:lnTo>
                  <a:lnTo>
                    <a:pt x="671" y="1299"/>
                  </a:lnTo>
                  <a:lnTo>
                    <a:pt x="667" y="1301"/>
                  </a:lnTo>
                  <a:lnTo>
                    <a:pt x="662" y="1304"/>
                  </a:lnTo>
                  <a:lnTo>
                    <a:pt x="658" y="1306"/>
                  </a:lnTo>
                  <a:lnTo>
                    <a:pt x="652" y="13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20"/>
            <p:cNvSpPr>
              <a:spLocks/>
            </p:cNvSpPr>
            <p:nvPr/>
          </p:nvSpPr>
          <p:spPr bwMode="auto">
            <a:xfrm>
              <a:off x="7519988" y="2341563"/>
              <a:ext cx="138113" cy="138113"/>
            </a:xfrm>
            <a:custGeom>
              <a:avLst/>
              <a:gdLst>
                <a:gd name="T0" fmla="*/ 26 w 261"/>
                <a:gd name="T1" fmla="*/ 261 h 261"/>
                <a:gd name="T2" fmla="*/ 21 w 261"/>
                <a:gd name="T3" fmla="*/ 261 h 261"/>
                <a:gd name="T4" fmla="*/ 16 w 261"/>
                <a:gd name="T5" fmla="*/ 259 h 261"/>
                <a:gd name="T6" fmla="*/ 12 w 261"/>
                <a:gd name="T7" fmla="*/ 256 h 261"/>
                <a:gd name="T8" fmla="*/ 8 w 261"/>
                <a:gd name="T9" fmla="*/ 254 h 261"/>
                <a:gd name="T10" fmla="*/ 5 w 261"/>
                <a:gd name="T11" fmla="*/ 249 h 261"/>
                <a:gd name="T12" fmla="*/ 2 w 261"/>
                <a:gd name="T13" fmla="*/ 245 h 261"/>
                <a:gd name="T14" fmla="*/ 0 w 261"/>
                <a:gd name="T15" fmla="*/ 241 h 261"/>
                <a:gd name="T16" fmla="*/ 0 w 261"/>
                <a:gd name="T17" fmla="*/ 235 h 261"/>
                <a:gd name="T18" fmla="*/ 0 w 261"/>
                <a:gd name="T19" fmla="*/ 26 h 261"/>
                <a:gd name="T20" fmla="*/ 0 w 261"/>
                <a:gd name="T21" fmla="*/ 20 h 261"/>
                <a:gd name="T22" fmla="*/ 2 w 261"/>
                <a:gd name="T23" fmla="*/ 16 h 261"/>
                <a:gd name="T24" fmla="*/ 5 w 261"/>
                <a:gd name="T25" fmla="*/ 12 h 261"/>
                <a:gd name="T26" fmla="*/ 8 w 261"/>
                <a:gd name="T27" fmla="*/ 7 h 261"/>
                <a:gd name="T28" fmla="*/ 12 w 261"/>
                <a:gd name="T29" fmla="*/ 4 h 261"/>
                <a:gd name="T30" fmla="*/ 16 w 261"/>
                <a:gd name="T31" fmla="*/ 2 h 261"/>
                <a:gd name="T32" fmla="*/ 21 w 261"/>
                <a:gd name="T33" fmla="*/ 0 h 261"/>
                <a:gd name="T34" fmla="*/ 26 w 261"/>
                <a:gd name="T35" fmla="*/ 0 h 261"/>
                <a:gd name="T36" fmla="*/ 235 w 261"/>
                <a:gd name="T37" fmla="*/ 0 h 261"/>
                <a:gd name="T38" fmla="*/ 241 w 261"/>
                <a:gd name="T39" fmla="*/ 0 h 261"/>
                <a:gd name="T40" fmla="*/ 245 w 261"/>
                <a:gd name="T41" fmla="*/ 2 h 261"/>
                <a:gd name="T42" fmla="*/ 249 w 261"/>
                <a:gd name="T43" fmla="*/ 4 h 261"/>
                <a:gd name="T44" fmla="*/ 254 w 261"/>
                <a:gd name="T45" fmla="*/ 7 h 261"/>
                <a:gd name="T46" fmla="*/ 257 w 261"/>
                <a:gd name="T47" fmla="*/ 12 h 261"/>
                <a:gd name="T48" fmla="*/ 260 w 261"/>
                <a:gd name="T49" fmla="*/ 16 h 261"/>
                <a:gd name="T50" fmla="*/ 261 w 261"/>
                <a:gd name="T51" fmla="*/ 20 h 261"/>
                <a:gd name="T52" fmla="*/ 261 w 261"/>
                <a:gd name="T53" fmla="*/ 26 h 261"/>
                <a:gd name="T54" fmla="*/ 261 w 261"/>
                <a:gd name="T55" fmla="*/ 30 h 261"/>
                <a:gd name="T56" fmla="*/ 260 w 261"/>
                <a:gd name="T57" fmla="*/ 36 h 261"/>
                <a:gd name="T58" fmla="*/ 257 w 261"/>
                <a:gd name="T59" fmla="*/ 40 h 261"/>
                <a:gd name="T60" fmla="*/ 254 w 261"/>
                <a:gd name="T61" fmla="*/ 45 h 261"/>
                <a:gd name="T62" fmla="*/ 249 w 261"/>
                <a:gd name="T63" fmla="*/ 48 h 261"/>
                <a:gd name="T64" fmla="*/ 245 w 261"/>
                <a:gd name="T65" fmla="*/ 51 h 261"/>
                <a:gd name="T66" fmla="*/ 241 w 261"/>
                <a:gd name="T67" fmla="*/ 52 h 261"/>
                <a:gd name="T68" fmla="*/ 235 w 261"/>
                <a:gd name="T69" fmla="*/ 52 h 261"/>
                <a:gd name="T70" fmla="*/ 52 w 261"/>
                <a:gd name="T71" fmla="*/ 52 h 261"/>
                <a:gd name="T72" fmla="*/ 52 w 261"/>
                <a:gd name="T73" fmla="*/ 235 h 261"/>
                <a:gd name="T74" fmla="*/ 52 w 261"/>
                <a:gd name="T75" fmla="*/ 241 h 261"/>
                <a:gd name="T76" fmla="*/ 51 w 261"/>
                <a:gd name="T77" fmla="*/ 245 h 261"/>
                <a:gd name="T78" fmla="*/ 48 w 261"/>
                <a:gd name="T79" fmla="*/ 249 h 261"/>
                <a:gd name="T80" fmla="*/ 45 w 261"/>
                <a:gd name="T81" fmla="*/ 254 h 261"/>
                <a:gd name="T82" fmla="*/ 41 w 261"/>
                <a:gd name="T83" fmla="*/ 256 h 261"/>
                <a:gd name="T84" fmla="*/ 36 w 261"/>
                <a:gd name="T85" fmla="*/ 259 h 261"/>
                <a:gd name="T86" fmla="*/ 32 w 261"/>
                <a:gd name="T87" fmla="*/ 261 h 261"/>
                <a:gd name="T88" fmla="*/ 26 w 261"/>
                <a:gd name="T8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1" h="261">
                  <a:moveTo>
                    <a:pt x="26" y="261"/>
                  </a:moveTo>
                  <a:lnTo>
                    <a:pt x="21" y="261"/>
                  </a:lnTo>
                  <a:lnTo>
                    <a:pt x="16" y="259"/>
                  </a:lnTo>
                  <a:lnTo>
                    <a:pt x="12" y="256"/>
                  </a:lnTo>
                  <a:lnTo>
                    <a:pt x="8" y="254"/>
                  </a:lnTo>
                  <a:lnTo>
                    <a:pt x="5" y="249"/>
                  </a:lnTo>
                  <a:lnTo>
                    <a:pt x="2" y="245"/>
                  </a:lnTo>
                  <a:lnTo>
                    <a:pt x="0" y="241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2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7"/>
                  </a:lnTo>
                  <a:lnTo>
                    <a:pt x="257" y="12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30"/>
                  </a:lnTo>
                  <a:lnTo>
                    <a:pt x="260" y="36"/>
                  </a:lnTo>
                  <a:lnTo>
                    <a:pt x="257" y="40"/>
                  </a:lnTo>
                  <a:lnTo>
                    <a:pt x="254" y="45"/>
                  </a:lnTo>
                  <a:lnTo>
                    <a:pt x="249" y="48"/>
                  </a:lnTo>
                  <a:lnTo>
                    <a:pt x="245" y="51"/>
                  </a:lnTo>
                  <a:lnTo>
                    <a:pt x="241" y="52"/>
                  </a:lnTo>
                  <a:lnTo>
                    <a:pt x="235" y="52"/>
                  </a:lnTo>
                  <a:lnTo>
                    <a:pt x="52" y="52"/>
                  </a:lnTo>
                  <a:lnTo>
                    <a:pt x="52" y="235"/>
                  </a:lnTo>
                  <a:lnTo>
                    <a:pt x="52" y="241"/>
                  </a:lnTo>
                  <a:lnTo>
                    <a:pt x="51" y="245"/>
                  </a:lnTo>
                  <a:lnTo>
                    <a:pt x="48" y="249"/>
                  </a:lnTo>
                  <a:lnTo>
                    <a:pt x="45" y="254"/>
                  </a:lnTo>
                  <a:lnTo>
                    <a:pt x="41" y="256"/>
                  </a:lnTo>
                  <a:lnTo>
                    <a:pt x="36" y="259"/>
                  </a:lnTo>
                  <a:lnTo>
                    <a:pt x="32" y="261"/>
                  </a:lnTo>
                  <a:lnTo>
                    <a:pt x="26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23"/>
            <p:cNvSpPr>
              <a:spLocks/>
            </p:cNvSpPr>
            <p:nvPr/>
          </p:nvSpPr>
          <p:spPr bwMode="auto">
            <a:xfrm>
              <a:off x="7493000" y="1898651"/>
              <a:ext cx="109538" cy="84138"/>
            </a:xfrm>
            <a:custGeom>
              <a:avLst/>
              <a:gdLst>
                <a:gd name="T0" fmla="*/ 77 w 208"/>
                <a:gd name="T1" fmla="*/ 157 h 157"/>
                <a:gd name="T2" fmla="*/ 73 w 208"/>
                <a:gd name="T3" fmla="*/ 157 h 157"/>
                <a:gd name="T4" fmla="*/ 67 w 208"/>
                <a:gd name="T5" fmla="*/ 155 h 157"/>
                <a:gd name="T6" fmla="*/ 63 w 208"/>
                <a:gd name="T7" fmla="*/ 152 h 157"/>
                <a:gd name="T8" fmla="*/ 59 w 208"/>
                <a:gd name="T9" fmla="*/ 149 h 157"/>
                <a:gd name="T10" fmla="*/ 7 w 208"/>
                <a:gd name="T11" fmla="*/ 96 h 157"/>
                <a:gd name="T12" fmla="*/ 4 w 208"/>
                <a:gd name="T13" fmla="*/ 93 h 157"/>
                <a:gd name="T14" fmla="*/ 1 w 208"/>
                <a:gd name="T15" fmla="*/ 87 h 157"/>
                <a:gd name="T16" fmla="*/ 0 w 208"/>
                <a:gd name="T17" fmla="*/ 83 h 157"/>
                <a:gd name="T18" fmla="*/ 0 w 208"/>
                <a:gd name="T19" fmla="*/ 79 h 157"/>
                <a:gd name="T20" fmla="*/ 0 w 208"/>
                <a:gd name="T21" fmla="*/ 73 h 157"/>
                <a:gd name="T22" fmla="*/ 1 w 208"/>
                <a:gd name="T23" fmla="*/ 69 h 157"/>
                <a:gd name="T24" fmla="*/ 4 w 208"/>
                <a:gd name="T25" fmla="*/ 64 h 157"/>
                <a:gd name="T26" fmla="*/ 7 w 208"/>
                <a:gd name="T27" fmla="*/ 60 h 157"/>
                <a:gd name="T28" fmla="*/ 11 w 208"/>
                <a:gd name="T29" fmla="*/ 56 h 157"/>
                <a:gd name="T30" fmla="*/ 15 w 208"/>
                <a:gd name="T31" fmla="*/ 54 h 157"/>
                <a:gd name="T32" fmla="*/ 20 w 208"/>
                <a:gd name="T33" fmla="*/ 53 h 157"/>
                <a:gd name="T34" fmla="*/ 25 w 208"/>
                <a:gd name="T35" fmla="*/ 51 h 157"/>
                <a:gd name="T36" fmla="*/ 30 w 208"/>
                <a:gd name="T37" fmla="*/ 53 h 157"/>
                <a:gd name="T38" fmla="*/ 36 w 208"/>
                <a:gd name="T39" fmla="*/ 54 h 157"/>
                <a:gd name="T40" fmla="*/ 40 w 208"/>
                <a:gd name="T41" fmla="*/ 56 h 157"/>
                <a:gd name="T42" fmla="*/ 44 w 208"/>
                <a:gd name="T43" fmla="*/ 60 h 157"/>
                <a:gd name="T44" fmla="*/ 77 w 208"/>
                <a:gd name="T45" fmla="*/ 93 h 157"/>
                <a:gd name="T46" fmla="*/ 164 w 208"/>
                <a:gd name="T47" fmla="*/ 7 h 157"/>
                <a:gd name="T48" fmla="*/ 168 w 208"/>
                <a:gd name="T49" fmla="*/ 4 h 157"/>
                <a:gd name="T50" fmla="*/ 172 w 208"/>
                <a:gd name="T51" fmla="*/ 2 h 157"/>
                <a:gd name="T52" fmla="*/ 177 w 208"/>
                <a:gd name="T53" fmla="*/ 1 h 157"/>
                <a:gd name="T54" fmla="*/ 182 w 208"/>
                <a:gd name="T55" fmla="*/ 0 h 157"/>
                <a:gd name="T56" fmla="*/ 187 w 208"/>
                <a:gd name="T57" fmla="*/ 1 h 157"/>
                <a:gd name="T58" fmla="*/ 191 w 208"/>
                <a:gd name="T59" fmla="*/ 2 h 157"/>
                <a:gd name="T60" fmla="*/ 197 w 208"/>
                <a:gd name="T61" fmla="*/ 4 h 157"/>
                <a:gd name="T62" fmla="*/ 200 w 208"/>
                <a:gd name="T63" fmla="*/ 7 h 157"/>
                <a:gd name="T64" fmla="*/ 204 w 208"/>
                <a:gd name="T65" fmla="*/ 11 h 157"/>
                <a:gd name="T66" fmla="*/ 205 w 208"/>
                <a:gd name="T67" fmla="*/ 15 h 157"/>
                <a:gd name="T68" fmla="*/ 207 w 208"/>
                <a:gd name="T69" fmla="*/ 21 h 157"/>
                <a:gd name="T70" fmla="*/ 208 w 208"/>
                <a:gd name="T71" fmla="*/ 25 h 157"/>
                <a:gd name="T72" fmla="*/ 207 w 208"/>
                <a:gd name="T73" fmla="*/ 31 h 157"/>
                <a:gd name="T74" fmla="*/ 205 w 208"/>
                <a:gd name="T75" fmla="*/ 36 h 157"/>
                <a:gd name="T76" fmla="*/ 204 w 208"/>
                <a:gd name="T77" fmla="*/ 40 h 157"/>
                <a:gd name="T78" fmla="*/ 200 w 208"/>
                <a:gd name="T79" fmla="*/ 44 h 157"/>
                <a:gd name="T80" fmla="*/ 96 w 208"/>
                <a:gd name="T81" fmla="*/ 149 h 157"/>
                <a:gd name="T82" fmla="*/ 92 w 208"/>
                <a:gd name="T83" fmla="*/ 152 h 157"/>
                <a:gd name="T84" fmla="*/ 87 w 208"/>
                <a:gd name="T85" fmla="*/ 155 h 157"/>
                <a:gd name="T86" fmla="*/ 83 w 208"/>
                <a:gd name="T87" fmla="*/ 157 h 157"/>
                <a:gd name="T88" fmla="*/ 77 w 208"/>
                <a:gd name="T8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8" h="157">
                  <a:moveTo>
                    <a:pt x="77" y="157"/>
                  </a:moveTo>
                  <a:lnTo>
                    <a:pt x="73" y="157"/>
                  </a:lnTo>
                  <a:lnTo>
                    <a:pt x="67" y="155"/>
                  </a:lnTo>
                  <a:lnTo>
                    <a:pt x="63" y="152"/>
                  </a:lnTo>
                  <a:lnTo>
                    <a:pt x="59" y="149"/>
                  </a:lnTo>
                  <a:lnTo>
                    <a:pt x="7" y="96"/>
                  </a:lnTo>
                  <a:lnTo>
                    <a:pt x="4" y="93"/>
                  </a:lnTo>
                  <a:lnTo>
                    <a:pt x="1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3"/>
                  </a:lnTo>
                  <a:lnTo>
                    <a:pt x="1" y="69"/>
                  </a:lnTo>
                  <a:lnTo>
                    <a:pt x="4" y="64"/>
                  </a:lnTo>
                  <a:lnTo>
                    <a:pt x="7" y="60"/>
                  </a:lnTo>
                  <a:lnTo>
                    <a:pt x="11" y="56"/>
                  </a:lnTo>
                  <a:lnTo>
                    <a:pt x="15" y="54"/>
                  </a:lnTo>
                  <a:lnTo>
                    <a:pt x="20" y="53"/>
                  </a:lnTo>
                  <a:lnTo>
                    <a:pt x="25" y="51"/>
                  </a:lnTo>
                  <a:lnTo>
                    <a:pt x="30" y="53"/>
                  </a:lnTo>
                  <a:lnTo>
                    <a:pt x="36" y="54"/>
                  </a:lnTo>
                  <a:lnTo>
                    <a:pt x="40" y="56"/>
                  </a:lnTo>
                  <a:lnTo>
                    <a:pt x="44" y="60"/>
                  </a:lnTo>
                  <a:lnTo>
                    <a:pt x="77" y="93"/>
                  </a:lnTo>
                  <a:lnTo>
                    <a:pt x="164" y="7"/>
                  </a:lnTo>
                  <a:lnTo>
                    <a:pt x="168" y="4"/>
                  </a:lnTo>
                  <a:lnTo>
                    <a:pt x="172" y="2"/>
                  </a:lnTo>
                  <a:lnTo>
                    <a:pt x="177" y="1"/>
                  </a:lnTo>
                  <a:lnTo>
                    <a:pt x="182" y="0"/>
                  </a:lnTo>
                  <a:lnTo>
                    <a:pt x="187" y="1"/>
                  </a:lnTo>
                  <a:lnTo>
                    <a:pt x="191" y="2"/>
                  </a:lnTo>
                  <a:lnTo>
                    <a:pt x="197" y="4"/>
                  </a:lnTo>
                  <a:lnTo>
                    <a:pt x="200" y="7"/>
                  </a:lnTo>
                  <a:lnTo>
                    <a:pt x="204" y="11"/>
                  </a:lnTo>
                  <a:lnTo>
                    <a:pt x="205" y="15"/>
                  </a:lnTo>
                  <a:lnTo>
                    <a:pt x="207" y="21"/>
                  </a:lnTo>
                  <a:lnTo>
                    <a:pt x="208" y="25"/>
                  </a:lnTo>
                  <a:lnTo>
                    <a:pt x="207" y="31"/>
                  </a:lnTo>
                  <a:lnTo>
                    <a:pt x="205" y="36"/>
                  </a:lnTo>
                  <a:lnTo>
                    <a:pt x="204" y="40"/>
                  </a:lnTo>
                  <a:lnTo>
                    <a:pt x="200" y="44"/>
                  </a:lnTo>
                  <a:lnTo>
                    <a:pt x="96" y="149"/>
                  </a:lnTo>
                  <a:lnTo>
                    <a:pt x="92" y="152"/>
                  </a:lnTo>
                  <a:lnTo>
                    <a:pt x="87" y="155"/>
                  </a:lnTo>
                  <a:lnTo>
                    <a:pt x="83" y="157"/>
                  </a:lnTo>
                  <a:lnTo>
                    <a:pt x="77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7493000" y="2009776"/>
              <a:ext cx="109538" cy="82550"/>
            </a:xfrm>
            <a:custGeom>
              <a:avLst/>
              <a:gdLst>
                <a:gd name="T0" fmla="*/ 77 w 208"/>
                <a:gd name="T1" fmla="*/ 157 h 157"/>
                <a:gd name="T2" fmla="*/ 73 w 208"/>
                <a:gd name="T3" fmla="*/ 157 h 157"/>
                <a:gd name="T4" fmla="*/ 67 w 208"/>
                <a:gd name="T5" fmla="*/ 156 h 157"/>
                <a:gd name="T6" fmla="*/ 63 w 208"/>
                <a:gd name="T7" fmla="*/ 153 h 157"/>
                <a:gd name="T8" fmla="*/ 59 w 208"/>
                <a:gd name="T9" fmla="*/ 150 h 157"/>
                <a:gd name="T10" fmla="*/ 7 w 208"/>
                <a:gd name="T11" fmla="*/ 98 h 157"/>
                <a:gd name="T12" fmla="*/ 4 w 208"/>
                <a:gd name="T13" fmla="*/ 94 h 157"/>
                <a:gd name="T14" fmla="*/ 1 w 208"/>
                <a:gd name="T15" fmla="*/ 90 h 157"/>
                <a:gd name="T16" fmla="*/ 0 w 208"/>
                <a:gd name="T17" fmla="*/ 84 h 157"/>
                <a:gd name="T18" fmla="*/ 0 w 208"/>
                <a:gd name="T19" fmla="*/ 80 h 157"/>
                <a:gd name="T20" fmla="*/ 0 w 208"/>
                <a:gd name="T21" fmla="*/ 74 h 157"/>
                <a:gd name="T22" fmla="*/ 1 w 208"/>
                <a:gd name="T23" fmla="*/ 69 h 157"/>
                <a:gd name="T24" fmla="*/ 4 w 208"/>
                <a:gd name="T25" fmla="*/ 65 h 157"/>
                <a:gd name="T26" fmla="*/ 7 w 208"/>
                <a:gd name="T27" fmla="*/ 61 h 157"/>
                <a:gd name="T28" fmla="*/ 11 w 208"/>
                <a:gd name="T29" fmla="*/ 58 h 157"/>
                <a:gd name="T30" fmla="*/ 15 w 208"/>
                <a:gd name="T31" fmla="*/ 55 h 157"/>
                <a:gd name="T32" fmla="*/ 20 w 208"/>
                <a:gd name="T33" fmla="*/ 54 h 157"/>
                <a:gd name="T34" fmla="*/ 25 w 208"/>
                <a:gd name="T35" fmla="*/ 54 h 157"/>
                <a:gd name="T36" fmla="*/ 30 w 208"/>
                <a:gd name="T37" fmla="*/ 54 h 157"/>
                <a:gd name="T38" fmla="*/ 36 w 208"/>
                <a:gd name="T39" fmla="*/ 55 h 157"/>
                <a:gd name="T40" fmla="*/ 40 w 208"/>
                <a:gd name="T41" fmla="*/ 58 h 157"/>
                <a:gd name="T42" fmla="*/ 44 w 208"/>
                <a:gd name="T43" fmla="*/ 61 h 157"/>
                <a:gd name="T44" fmla="*/ 77 w 208"/>
                <a:gd name="T45" fmla="*/ 94 h 157"/>
                <a:gd name="T46" fmla="*/ 164 w 208"/>
                <a:gd name="T47" fmla="*/ 9 h 157"/>
                <a:gd name="T48" fmla="*/ 168 w 208"/>
                <a:gd name="T49" fmla="*/ 5 h 157"/>
                <a:gd name="T50" fmla="*/ 172 w 208"/>
                <a:gd name="T51" fmla="*/ 3 h 157"/>
                <a:gd name="T52" fmla="*/ 177 w 208"/>
                <a:gd name="T53" fmla="*/ 2 h 157"/>
                <a:gd name="T54" fmla="*/ 182 w 208"/>
                <a:gd name="T55" fmla="*/ 0 h 157"/>
                <a:gd name="T56" fmla="*/ 187 w 208"/>
                <a:gd name="T57" fmla="*/ 2 h 157"/>
                <a:gd name="T58" fmla="*/ 191 w 208"/>
                <a:gd name="T59" fmla="*/ 3 h 157"/>
                <a:gd name="T60" fmla="*/ 197 w 208"/>
                <a:gd name="T61" fmla="*/ 5 h 157"/>
                <a:gd name="T62" fmla="*/ 200 w 208"/>
                <a:gd name="T63" fmla="*/ 9 h 157"/>
                <a:gd name="T64" fmla="*/ 204 w 208"/>
                <a:gd name="T65" fmla="*/ 12 h 157"/>
                <a:gd name="T66" fmla="*/ 205 w 208"/>
                <a:gd name="T67" fmla="*/ 18 h 157"/>
                <a:gd name="T68" fmla="*/ 207 w 208"/>
                <a:gd name="T69" fmla="*/ 22 h 157"/>
                <a:gd name="T70" fmla="*/ 208 w 208"/>
                <a:gd name="T71" fmla="*/ 26 h 157"/>
                <a:gd name="T72" fmla="*/ 207 w 208"/>
                <a:gd name="T73" fmla="*/ 32 h 157"/>
                <a:gd name="T74" fmla="*/ 205 w 208"/>
                <a:gd name="T75" fmla="*/ 36 h 157"/>
                <a:gd name="T76" fmla="*/ 204 w 208"/>
                <a:gd name="T77" fmla="*/ 41 h 157"/>
                <a:gd name="T78" fmla="*/ 200 w 208"/>
                <a:gd name="T79" fmla="*/ 45 h 157"/>
                <a:gd name="T80" fmla="*/ 96 w 208"/>
                <a:gd name="T81" fmla="*/ 150 h 157"/>
                <a:gd name="T82" fmla="*/ 92 w 208"/>
                <a:gd name="T83" fmla="*/ 153 h 157"/>
                <a:gd name="T84" fmla="*/ 87 w 208"/>
                <a:gd name="T85" fmla="*/ 156 h 157"/>
                <a:gd name="T86" fmla="*/ 83 w 208"/>
                <a:gd name="T87" fmla="*/ 157 h 157"/>
                <a:gd name="T88" fmla="*/ 77 w 208"/>
                <a:gd name="T8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8" h="157">
                  <a:moveTo>
                    <a:pt x="77" y="157"/>
                  </a:moveTo>
                  <a:lnTo>
                    <a:pt x="73" y="157"/>
                  </a:lnTo>
                  <a:lnTo>
                    <a:pt x="67" y="156"/>
                  </a:lnTo>
                  <a:lnTo>
                    <a:pt x="63" y="153"/>
                  </a:lnTo>
                  <a:lnTo>
                    <a:pt x="59" y="150"/>
                  </a:lnTo>
                  <a:lnTo>
                    <a:pt x="7" y="98"/>
                  </a:lnTo>
                  <a:lnTo>
                    <a:pt x="4" y="94"/>
                  </a:lnTo>
                  <a:lnTo>
                    <a:pt x="1" y="90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1" y="69"/>
                  </a:lnTo>
                  <a:lnTo>
                    <a:pt x="4" y="65"/>
                  </a:lnTo>
                  <a:lnTo>
                    <a:pt x="7" y="61"/>
                  </a:lnTo>
                  <a:lnTo>
                    <a:pt x="11" y="58"/>
                  </a:lnTo>
                  <a:lnTo>
                    <a:pt x="15" y="55"/>
                  </a:lnTo>
                  <a:lnTo>
                    <a:pt x="20" y="54"/>
                  </a:lnTo>
                  <a:lnTo>
                    <a:pt x="25" y="54"/>
                  </a:lnTo>
                  <a:lnTo>
                    <a:pt x="30" y="54"/>
                  </a:lnTo>
                  <a:lnTo>
                    <a:pt x="36" y="55"/>
                  </a:lnTo>
                  <a:lnTo>
                    <a:pt x="40" y="58"/>
                  </a:lnTo>
                  <a:lnTo>
                    <a:pt x="44" y="61"/>
                  </a:lnTo>
                  <a:lnTo>
                    <a:pt x="77" y="94"/>
                  </a:lnTo>
                  <a:lnTo>
                    <a:pt x="164" y="9"/>
                  </a:lnTo>
                  <a:lnTo>
                    <a:pt x="168" y="5"/>
                  </a:lnTo>
                  <a:lnTo>
                    <a:pt x="172" y="3"/>
                  </a:lnTo>
                  <a:lnTo>
                    <a:pt x="177" y="2"/>
                  </a:lnTo>
                  <a:lnTo>
                    <a:pt x="182" y="0"/>
                  </a:lnTo>
                  <a:lnTo>
                    <a:pt x="187" y="2"/>
                  </a:lnTo>
                  <a:lnTo>
                    <a:pt x="191" y="3"/>
                  </a:lnTo>
                  <a:lnTo>
                    <a:pt x="197" y="5"/>
                  </a:lnTo>
                  <a:lnTo>
                    <a:pt x="200" y="9"/>
                  </a:lnTo>
                  <a:lnTo>
                    <a:pt x="204" y="12"/>
                  </a:lnTo>
                  <a:lnTo>
                    <a:pt x="205" y="18"/>
                  </a:lnTo>
                  <a:lnTo>
                    <a:pt x="207" y="22"/>
                  </a:lnTo>
                  <a:lnTo>
                    <a:pt x="208" y="26"/>
                  </a:lnTo>
                  <a:lnTo>
                    <a:pt x="207" y="32"/>
                  </a:lnTo>
                  <a:lnTo>
                    <a:pt x="205" y="36"/>
                  </a:lnTo>
                  <a:lnTo>
                    <a:pt x="204" y="41"/>
                  </a:lnTo>
                  <a:lnTo>
                    <a:pt x="200" y="45"/>
                  </a:lnTo>
                  <a:lnTo>
                    <a:pt x="96" y="150"/>
                  </a:lnTo>
                  <a:lnTo>
                    <a:pt x="92" y="153"/>
                  </a:lnTo>
                  <a:lnTo>
                    <a:pt x="87" y="156"/>
                  </a:lnTo>
                  <a:lnTo>
                    <a:pt x="83" y="157"/>
                  </a:lnTo>
                  <a:lnTo>
                    <a:pt x="77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7493000" y="2230438"/>
              <a:ext cx="109538" cy="82550"/>
            </a:xfrm>
            <a:custGeom>
              <a:avLst/>
              <a:gdLst>
                <a:gd name="T0" fmla="*/ 77 w 208"/>
                <a:gd name="T1" fmla="*/ 156 h 156"/>
                <a:gd name="T2" fmla="*/ 73 w 208"/>
                <a:gd name="T3" fmla="*/ 156 h 156"/>
                <a:gd name="T4" fmla="*/ 67 w 208"/>
                <a:gd name="T5" fmla="*/ 154 h 156"/>
                <a:gd name="T6" fmla="*/ 63 w 208"/>
                <a:gd name="T7" fmla="*/ 152 h 156"/>
                <a:gd name="T8" fmla="*/ 59 w 208"/>
                <a:gd name="T9" fmla="*/ 149 h 156"/>
                <a:gd name="T10" fmla="*/ 7 w 208"/>
                <a:gd name="T11" fmla="*/ 97 h 156"/>
                <a:gd name="T12" fmla="*/ 4 w 208"/>
                <a:gd name="T13" fmla="*/ 93 h 156"/>
                <a:gd name="T14" fmla="*/ 1 w 208"/>
                <a:gd name="T15" fmla="*/ 88 h 156"/>
                <a:gd name="T16" fmla="*/ 0 w 208"/>
                <a:gd name="T17" fmla="*/ 82 h 156"/>
                <a:gd name="T18" fmla="*/ 0 w 208"/>
                <a:gd name="T19" fmla="*/ 78 h 156"/>
                <a:gd name="T20" fmla="*/ 0 w 208"/>
                <a:gd name="T21" fmla="*/ 74 h 156"/>
                <a:gd name="T22" fmla="*/ 1 w 208"/>
                <a:gd name="T23" fmla="*/ 68 h 156"/>
                <a:gd name="T24" fmla="*/ 4 w 208"/>
                <a:gd name="T25" fmla="*/ 64 h 156"/>
                <a:gd name="T26" fmla="*/ 7 w 208"/>
                <a:gd name="T27" fmla="*/ 59 h 156"/>
                <a:gd name="T28" fmla="*/ 11 w 208"/>
                <a:gd name="T29" fmla="*/ 57 h 156"/>
                <a:gd name="T30" fmla="*/ 15 w 208"/>
                <a:gd name="T31" fmla="*/ 54 h 156"/>
                <a:gd name="T32" fmla="*/ 20 w 208"/>
                <a:gd name="T33" fmla="*/ 52 h 156"/>
                <a:gd name="T34" fmla="*/ 25 w 208"/>
                <a:gd name="T35" fmla="*/ 52 h 156"/>
                <a:gd name="T36" fmla="*/ 30 w 208"/>
                <a:gd name="T37" fmla="*/ 52 h 156"/>
                <a:gd name="T38" fmla="*/ 36 w 208"/>
                <a:gd name="T39" fmla="*/ 54 h 156"/>
                <a:gd name="T40" fmla="*/ 40 w 208"/>
                <a:gd name="T41" fmla="*/ 57 h 156"/>
                <a:gd name="T42" fmla="*/ 44 w 208"/>
                <a:gd name="T43" fmla="*/ 59 h 156"/>
                <a:gd name="T44" fmla="*/ 77 w 208"/>
                <a:gd name="T45" fmla="*/ 94 h 156"/>
                <a:gd name="T46" fmla="*/ 164 w 208"/>
                <a:gd name="T47" fmla="*/ 8 h 156"/>
                <a:gd name="T48" fmla="*/ 168 w 208"/>
                <a:gd name="T49" fmla="*/ 5 h 156"/>
                <a:gd name="T50" fmla="*/ 172 w 208"/>
                <a:gd name="T51" fmla="*/ 2 h 156"/>
                <a:gd name="T52" fmla="*/ 177 w 208"/>
                <a:gd name="T53" fmla="*/ 0 h 156"/>
                <a:gd name="T54" fmla="*/ 182 w 208"/>
                <a:gd name="T55" fmla="*/ 0 h 156"/>
                <a:gd name="T56" fmla="*/ 187 w 208"/>
                <a:gd name="T57" fmla="*/ 0 h 156"/>
                <a:gd name="T58" fmla="*/ 191 w 208"/>
                <a:gd name="T59" fmla="*/ 2 h 156"/>
                <a:gd name="T60" fmla="*/ 197 w 208"/>
                <a:gd name="T61" fmla="*/ 5 h 156"/>
                <a:gd name="T62" fmla="*/ 200 w 208"/>
                <a:gd name="T63" fmla="*/ 8 h 156"/>
                <a:gd name="T64" fmla="*/ 204 w 208"/>
                <a:gd name="T65" fmla="*/ 12 h 156"/>
                <a:gd name="T66" fmla="*/ 205 w 208"/>
                <a:gd name="T67" fmla="*/ 16 h 156"/>
                <a:gd name="T68" fmla="*/ 207 w 208"/>
                <a:gd name="T69" fmla="*/ 21 h 156"/>
                <a:gd name="T70" fmla="*/ 208 w 208"/>
                <a:gd name="T71" fmla="*/ 26 h 156"/>
                <a:gd name="T72" fmla="*/ 207 w 208"/>
                <a:gd name="T73" fmla="*/ 31 h 156"/>
                <a:gd name="T74" fmla="*/ 205 w 208"/>
                <a:gd name="T75" fmla="*/ 36 h 156"/>
                <a:gd name="T76" fmla="*/ 204 w 208"/>
                <a:gd name="T77" fmla="*/ 41 h 156"/>
                <a:gd name="T78" fmla="*/ 200 w 208"/>
                <a:gd name="T79" fmla="*/ 45 h 156"/>
                <a:gd name="T80" fmla="*/ 96 w 208"/>
                <a:gd name="T81" fmla="*/ 149 h 156"/>
                <a:gd name="T82" fmla="*/ 92 w 208"/>
                <a:gd name="T83" fmla="*/ 152 h 156"/>
                <a:gd name="T84" fmla="*/ 87 w 208"/>
                <a:gd name="T85" fmla="*/ 154 h 156"/>
                <a:gd name="T86" fmla="*/ 83 w 208"/>
                <a:gd name="T87" fmla="*/ 156 h 156"/>
                <a:gd name="T88" fmla="*/ 77 w 208"/>
                <a:gd name="T8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8" h="156">
                  <a:moveTo>
                    <a:pt x="77" y="156"/>
                  </a:moveTo>
                  <a:lnTo>
                    <a:pt x="73" y="156"/>
                  </a:lnTo>
                  <a:lnTo>
                    <a:pt x="67" y="154"/>
                  </a:lnTo>
                  <a:lnTo>
                    <a:pt x="63" y="152"/>
                  </a:lnTo>
                  <a:lnTo>
                    <a:pt x="59" y="149"/>
                  </a:lnTo>
                  <a:lnTo>
                    <a:pt x="7" y="97"/>
                  </a:lnTo>
                  <a:lnTo>
                    <a:pt x="4" y="93"/>
                  </a:lnTo>
                  <a:lnTo>
                    <a:pt x="1" y="88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0" y="74"/>
                  </a:lnTo>
                  <a:lnTo>
                    <a:pt x="1" y="68"/>
                  </a:lnTo>
                  <a:lnTo>
                    <a:pt x="4" y="64"/>
                  </a:lnTo>
                  <a:lnTo>
                    <a:pt x="7" y="59"/>
                  </a:lnTo>
                  <a:lnTo>
                    <a:pt x="11" y="57"/>
                  </a:lnTo>
                  <a:lnTo>
                    <a:pt x="15" y="54"/>
                  </a:lnTo>
                  <a:lnTo>
                    <a:pt x="20" y="52"/>
                  </a:lnTo>
                  <a:lnTo>
                    <a:pt x="25" y="52"/>
                  </a:lnTo>
                  <a:lnTo>
                    <a:pt x="30" y="52"/>
                  </a:lnTo>
                  <a:lnTo>
                    <a:pt x="36" y="54"/>
                  </a:lnTo>
                  <a:lnTo>
                    <a:pt x="40" y="57"/>
                  </a:lnTo>
                  <a:lnTo>
                    <a:pt x="44" y="59"/>
                  </a:lnTo>
                  <a:lnTo>
                    <a:pt x="77" y="94"/>
                  </a:lnTo>
                  <a:lnTo>
                    <a:pt x="164" y="8"/>
                  </a:lnTo>
                  <a:lnTo>
                    <a:pt x="168" y="5"/>
                  </a:lnTo>
                  <a:lnTo>
                    <a:pt x="172" y="2"/>
                  </a:lnTo>
                  <a:lnTo>
                    <a:pt x="177" y="0"/>
                  </a:lnTo>
                  <a:lnTo>
                    <a:pt x="182" y="0"/>
                  </a:lnTo>
                  <a:lnTo>
                    <a:pt x="187" y="0"/>
                  </a:lnTo>
                  <a:lnTo>
                    <a:pt x="191" y="2"/>
                  </a:lnTo>
                  <a:lnTo>
                    <a:pt x="197" y="5"/>
                  </a:lnTo>
                  <a:lnTo>
                    <a:pt x="200" y="8"/>
                  </a:lnTo>
                  <a:lnTo>
                    <a:pt x="204" y="12"/>
                  </a:lnTo>
                  <a:lnTo>
                    <a:pt x="205" y="16"/>
                  </a:lnTo>
                  <a:lnTo>
                    <a:pt x="207" y="21"/>
                  </a:lnTo>
                  <a:lnTo>
                    <a:pt x="208" y="26"/>
                  </a:lnTo>
                  <a:lnTo>
                    <a:pt x="207" y="31"/>
                  </a:lnTo>
                  <a:lnTo>
                    <a:pt x="205" y="36"/>
                  </a:lnTo>
                  <a:lnTo>
                    <a:pt x="204" y="41"/>
                  </a:lnTo>
                  <a:lnTo>
                    <a:pt x="200" y="45"/>
                  </a:lnTo>
                  <a:lnTo>
                    <a:pt x="96" y="149"/>
                  </a:lnTo>
                  <a:lnTo>
                    <a:pt x="92" y="152"/>
                  </a:lnTo>
                  <a:lnTo>
                    <a:pt x="87" y="154"/>
                  </a:lnTo>
                  <a:lnTo>
                    <a:pt x="83" y="156"/>
                  </a:lnTo>
                  <a:lnTo>
                    <a:pt x="77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7502525" y="2130426"/>
              <a:ext cx="90488" cy="90488"/>
            </a:xfrm>
            <a:custGeom>
              <a:avLst/>
              <a:gdLst>
                <a:gd name="T0" fmla="*/ 147 w 173"/>
                <a:gd name="T1" fmla="*/ 173 h 173"/>
                <a:gd name="T2" fmla="*/ 141 w 173"/>
                <a:gd name="T3" fmla="*/ 171 h 173"/>
                <a:gd name="T4" fmla="*/ 137 w 173"/>
                <a:gd name="T5" fmla="*/ 170 h 173"/>
                <a:gd name="T6" fmla="*/ 132 w 173"/>
                <a:gd name="T7" fmla="*/ 168 h 173"/>
                <a:gd name="T8" fmla="*/ 128 w 173"/>
                <a:gd name="T9" fmla="*/ 164 h 173"/>
                <a:gd name="T10" fmla="*/ 8 w 173"/>
                <a:gd name="T11" fmla="*/ 44 h 173"/>
                <a:gd name="T12" fmla="*/ 4 w 173"/>
                <a:gd name="T13" fmla="*/ 40 h 173"/>
                <a:gd name="T14" fmla="*/ 3 w 173"/>
                <a:gd name="T15" fmla="*/ 36 h 173"/>
                <a:gd name="T16" fmla="*/ 1 w 173"/>
                <a:gd name="T17" fmla="*/ 32 h 173"/>
                <a:gd name="T18" fmla="*/ 0 w 173"/>
                <a:gd name="T19" fmla="*/ 26 h 173"/>
                <a:gd name="T20" fmla="*/ 1 w 173"/>
                <a:gd name="T21" fmla="*/ 21 h 173"/>
                <a:gd name="T22" fmla="*/ 3 w 173"/>
                <a:gd name="T23" fmla="*/ 17 h 173"/>
                <a:gd name="T24" fmla="*/ 4 w 173"/>
                <a:gd name="T25" fmla="*/ 11 h 173"/>
                <a:gd name="T26" fmla="*/ 8 w 173"/>
                <a:gd name="T27" fmla="*/ 9 h 173"/>
                <a:gd name="T28" fmla="*/ 13 w 173"/>
                <a:gd name="T29" fmla="*/ 4 h 173"/>
                <a:gd name="T30" fmla="*/ 17 w 173"/>
                <a:gd name="T31" fmla="*/ 3 h 173"/>
                <a:gd name="T32" fmla="*/ 21 w 173"/>
                <a:gd name="T33" fmla="*/ 1 h 173"/>
                <a:gd name="T34" fmla="*/ 27 w 173"/>
                <a:gd name="T35" fmla="*/ 0 h 173"/>
                <a:gd name="T36" fmla="*/ 31 w 173"/>
                <a:gd name="T37" fmla="*/ 1 h 173"/>
                <a:gd name="T38" fmla="*/ 36 w 173"/>
                <a:gd name="T39" fmla="*/ 3 h 173"/>
                <a:gd name="T40" fmla="*/ 42 w 173"/>
                <a:gd name="T41" fmla="*/ 4 h 173"/>
                <a:gd name="T42" fmla="*/ 44 w 173"/>
                <a:gd name="T43" fmla="*/ 9 h 173"/>
                <a:gd name="T44" fmla="*/ 165 w 173"/>
                <a:gd name="T45" fmla="*/ 128 h 173"/>
                <a:gd name="T46" fmla="*/ 168 w 173"/>
                <a:gd name="T47" fmla="*/ 132 h 173"/>
                <a:gd name="T48" fmla="*/ 171 w 173"/>
                <a:gd name="T49" fmla="*/ 137 h 173"/>
                <a:gd name="T50" fmla="*/ 173 w 173"/>
                <a:gd name="T51" fmla="*/ 141 h 173"/>
                <a:gd name="T52" fmla="*/ 173 w 173"/>
                <a:gd name="T53" fmla="*/ 147 h 173"/>
                <a:gd name="T54" fmla="*/ 173 w 173"/>
                <a:gd name="T55" fmla="*/ 151 h 173"/>
                <a:gd name="T56" fmla="*/ 171 w 173"/>
                <a:gd name="T57" fmla="*/ 155 h 173"/>
                <a:gd name="T58" fmla="*/ 168 w 173"/>
                <a:gd name="T59" fmla="*/ 161 h 173"/>
                <a:gd name="T60" fmla="*/ 165 w 173"/>
                <a:gd name="T61" fmla="*/ 164 h 173"/>
                <a:gd name="T62" fmla="*/ 161 w 173"/>
                <a:gd name="T63" fmla="*/ 168 h 173"/>
                <a:gd name="T64" fmla="*/ 157 w 173"/>
                <a:gd name="T65" fmla="*/ 170 h 173"/>
                <a:gd name="T66" fmla="*/ 151 w 173"/>
                <a:gd name="T67" fmla="*/ 171 h 173"/>
                <a:gd name="T68" fmla="*/ 147 w 173"/>
                <a:gd name="T69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73">
                  <a:moveTo>
                    <a:pt x="147" y="173"/>
                  </a:moveTo>
                  <a:lnTo>
                    <a:pt x="141" y="171"/>
                  </a:lnTo>
                  <a:lnTo>
                    <a:pt x="137" y="170"/>
                  </a:lnTo>
                  <a:lnTo>
                    <a:pt x="132" y="168"/>
                  </a:lnTo>
                  <a:lnTo>
                    <a:pt x="128" y="16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1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6" y="3"/>
                  </a:lnTo>
                  <a:lnTo>
                    <a:pt x="42" y="4"/>
                  </a:lnTo>
                  <a:lnTo>
                    <a:pt x="44" y="9"/>
                  </a:lnTo>
                  <a:lnTo>
                    <a:pt x="165" y="128"/>
                  </a:lnTo>
                  <a:lnTo>
                    <a:pt x="168" y="132"/>
                  </a:lnTo>
                  <a:lnTo>
                    <a:pt x="171" y="137"/>
                  </a:lnTo>
                  <a:lnTo>
                    <a:pt x="173" y="141"/>
                  </a:lnTo>
                  <a:lnTo>
                    <a:pt x="173" y="147"/>
                  </a:lnTo>
                  <a:lnTo>
                    <a:pt x="173" y="151"/>
                  </a:lnTo>
                  <a:lnTo>
                    <a:pt x="171" y="155"/>
                  </a:lnTo>
                  <a:lnTo>
                    <a:pt x="168" y="161"/>
                  </a:lnTo>
                  <a:lnTo>
                    <a:pt x="165" y="164"/>
                  </a:lnTo>
                  <a:lnTo>
                    <a:pt x="161" y="168"/>
                  </a:lnTo>
                  <a:lnTo>
                    <a:pt x="157" y="170"/>
                  </a:lnTo>
                  <a:lnTo>
                    <a:pt x="151" y="171"/>
                  </a:lnTo>
                  <a:lnTo>
                    <a:pt x="147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7502525" y="2130426"/>
              <a:ext cx="90488" cy="90488"/>
            </a:xfrm>
            <a:custGeom>
              <a:avLst/>
              <a:gdLst>
                <a:gd name="T0" fmla="*/ 27 w 173"/>
                <a:gd name="T1" fmla="*/ 173 h 173"/>
                <a:gd name="T2" fmla="*/ 21 w 173"/>
                <a:gd name="T3" fmla="*/ 171 h 173"/>
                <a:gd name="T4" fmla="*/ 17 w 173"/>
                <a:gd name="T5" fmla="*/ 170 h 173"/>
                <a:gd name="T6" fmla="*/ 13 w 173"/>
                <a:gd name="T7" fmla="*/ 168 h 173"/>
                <a:gd name="T8" fmla="*/ 8 w 173"/>
                <a:gd name="T9" fmla="*/ 164 h 173"/>
                <a:gd name="T10" fmla="*/ 4 w 173"/>
                <a:gd name="T11" fmla="*/ 161 h 173"/>
                <a:gd name="T12" fmla="*/ 3 w 173"/>
                <a:gd name="T13" fmla="*/ 155 h 173"/>
                <a:gd name="T14" fmla="*/ 1 w 173"/>
                <a:gd name="T15" fmla="*/ 151 h 173"/>
                <a:gd name="T16" fmla="*/ 0 w 173"/>
                <a:gd name="T17" fmla="*/ 147 h 173"/>
                <a:gd name="T18" fmla="*/ 1 w 173"/>
                <a:gd name="T19" fmla="*/ 141 h 173"/>
                <a:gd name="T20" fmla="*/ 3 w 173"/>
                <a:gd name="T21" fmla="*/ 137 h 173"/>
                <a:gd name="T22" fmla="*/ 4 w 173"/>
                <a:gd name="T23" fmla="*/ 132 h 173"/>
                <a:gd name="T24" fmla="*/ 8 w 173"/>
                <a:gd name="T25" fmla="*/ 128 h 173"/>
                <a:gd name="T26" fmla="*/ 128 w 173"/>
                <a:gd name="T27" fmla="*/ 9 h 173"/>
                <a:gd name="T28" fmla="*/ 132 w 173"/>
                <a:gd name="T29" fmla="*/ 4 h 173"/>
                <a:gd name="T30" fmla="*/ 137 w 173"/>
                <a:gd name="T31" fmla="*/ 3 h 173"/>
                <a:gd name="T32" fmla="*/ 141 w 173"/>
                <a:gd name="T33" fmla="*/ 1 h 173"/>
                <a:gd name="T34" fmla="*/ 147 w 173"/>
                <a:gd name="T35" fmla="*/ 0 h 173"/>
                <a:gd name="T36" fmla="*/ 151 w 173"/>
                <a:gd name="T37" fmla="*/ 1 h 173"/>
                <a:gd name="T38" fmla="*/ 157 w 173"/>
                <a:gd name="T39" fmla="*/ 3 h 173"/>
                <a:gd name="T40" fmla="*/ 161 w 173"/>
                <a:gd name="T41" fmla="*/ 4 h 173"/>
                <a:gd name="T42" fmla="*/ 165 w 173"/>
                <a:gd name="T43" fmla="*/ 9 h 173"/>
                <a:gd name="T44" fmla="*/ 168 w 173"/>
                <a:gd name="T45" fmla="*/ 11 h 173"/>
                <a:gd name="T46" fmla="*/ 171 w 173"/>
                <a:gd name="T47" fmla="*/ 17 h 173"/>
                <a:gd name="T48" fmla="*/ 173 w 173"/>
                <a:gd name="T49" fmla="*/ 21 h 173"/>
                <a:gd name="T50" fmla="*/ 173 w 173"/>
                <a:gd name="T51" fmla="*/ 26 h 173"/>
                <a:gd name="T52" fmla="*/ 173 w 173"/>
                <a:gd name="T53" fmla="*/ 32 h 173"/>
                <a:gd name="T54" fmla="*/ 171 w 173"/>
                <a:gd name="T55" fmla="*/ 36 h 173"/>
                <a:gd name="T56" fmla="*/ 168 w 173"/>
                <a:gd name="T57" fmla="*/ 40 h 173"/>
                <a:gd name="T58" fmla="*/ 165 w 173"/>
                <a:gd name="T59" fmla="*/ 44 h 173"/>
                <a:gd name="T60" fmla="*/ 44 w 173"/>
                <a:gd name="T61" fmla="*/ 164 h 173"/>
                <a:gd name="T62" fmla="*/ 42 w 173"/>
                <a:gd name="T63" fmla="*/ 168 h 173"/>
                <a:gd name="T64" fmla="*/ 36 w 173"/>
                <a:gd name="T65" fmla="*/ 170 h 173"/>
                <a:gd name="T66" fmla="*/ 31 w 173"/>
                <a:gd name="T67" fmla="*/ 171 h 173"/>
                <a:gd name="T68" fmla="*/ 27 w 173"/>
                <a:gd name="T69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3" h="173">
                  <a:moveTo>
                    <a:pt x="27" y="173"/>
                  </a:moveTo>
                  <a:lnTo>
                    <a:pt x="21" y="171"/>
                  </a:lnTo>
                  <a:lnTo>
                    <a:pt x="17" y="170"/>
                  </a:lnTo>
                  <a:lnTo>
                    <a:pt x="13" y="168"/>
                  </a:lnTo>
                  <a:lnTo>
                    <a:pt x="8" y="164"/>
                  </a:lnTo>
                  <a:lnTo>
                    <a:pt x="4" y="161"/>
                  </a:lnTo>
                  <a:lnTo>
                    <a:pt x="3" y="155"/>
                  </a:lnTo>
                  <a:lnTo>
                    <a:pt x="1" y="151"/>
                  </a:lnTo>
                  <a:lnTo>
                    <a:pt x="0" y="147"/>
                  </a:lnTo>
                  <a:lnTo>
                    <a:pt x="1" y="141"/>
                  </a:lnTo>
                  <a:lnTo>
                    <a:pt x="3" y="137"/>
                  </a:lnTo>
                  <a:lnTo>
                    <a:pt x="4" y="132"/>
                  </a:lnTo>
                  <a:lnTo>
                    <a:pt x="8" y="128"/>
                  </a:lnTo>
                  <a:lnTo>
                    <a:pt x="128" y="9"/>
                  </a:lnTo>
                  <a:lnTo>
                    <a:pt x="132" y="4"/>
                  </a:lnTo>
                  <a:lnTo>
                    <a:pt x="137" y="3"/>
                  </a:lnTo>
                  <a:lnTo>
                    <a:pt x="141" y="1"/>
                  </a:lnTo>
                  <a:lnTo>
                    <a:pt x="147" y="0"/>
                  </a:lnTo>
                  <a:lnTo>
                    <a:pt x="151" y="1"/>
                  </a:lnTo>
                  <a:lnTo>
                    <a:pt x="157" y="3"/>
                  </a:lnTo>
                  <a:lnTo>
                    <a:pt x="161" y="4"/>
                  </a:lnTo>
                  <a:lnTo>
                    <a:pt x="165" y="9"/>
                  </a:lnTo>
                  <a:lnTo>
                    <a:pt x="168" y="11"/>
                  </a:lnTo>
                  <a:lnTo>
                    <a:pt x="171" y="17"/>
                  </a:lnTo>
                  <a:lnTo>
                    <a:pt x="173" y="21"/>
                  </a:lnTo>
                  <a:lnTo>
                    <a:pt x="173" y="26"/>
                  </a:lnTo>
                  <a:lnTo>
                    <a:pt x="173" y="32"/>
                  </a:lnTo>
                  <a:lnTo>
                    <a:pt x="171" y="36"/>
                  </a:lnTo>
                  <a:lnTo>
                    <a:pt x="168" y="40"/>
                  </a:lnTo>
                  <a:lnTo>
                    <a:pt x="165" y="44"/>
                  </a:lnTo>
                  <a:lnTo>
                    <a:pt x="44" y="164"/>
                  </a:lnTo>
                  <a:lnTo>
                    <a:pt x="42" y="168"/>
                  </a:lnTo>
                  <a:lnTo>
                    <a:pt x="36" y="170"/>
                  </a:lnTo>
                  <a:lnTo>
                    <a:pt x="31" y="171"/>
                  </a:lnTo>
                  <a:lnTo>
                    <a:pt x="27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6506752" y="1709586"/>
            <a:ext cx="1219200" cy="1305227"/>
            <a:chOff x="-1046920" y="2123773"/>
            <a:chExt cx="1219200" cy="1305227"/>
          </a:xfrm>
        </p:grpSpPr>
        <p:sp>
          <p:nvSpPr>
            <p:cNvPr id="89" name="Oval 88"/>
            <p:cNvSpPr/>
            <p:nvPr/>
          </p:nvSpPr>
          <p:spPr>
            <a:xfrm>
              <a:off x="-1046920" y="22098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90" name="Oval 89"/>
            <p:cNvSpPr/>
            <p:nvPr/>
          </p:nvSpPr>
          <p:spPr>
            <a:xfrm>
              <a:off x="-961755" y="2294965"/>
              <a:ext cx="1048871" cy="1048871"/>
            </a:xfrm>
            <a:prstGeom prst="ellipse">
              <a:avLst/>
            </a:prstGeom>
            <a:solidFill>
              <a:srgbClr val="F1C40F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91" name="Oval 90"/>
            <p:cNvSpPr/>
            <p:nvPr/>
          </p:nvSpPr>
          <p:spPr>
            <a:xfrm>
              <a:off x="-627820" y="2123773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1C4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 smtClean="0">
                  <a:solidFill>
                    <a:srgbClr val="7F8C8D"/>
                  </a:solidFill>
                  <a:latin typeface="Calibri Light" panose="020F0302020204030204" pitchFamily="34" charset="0"/>
                </a:rPr>
                <a:t>3</a:t>
              </a:r>
              <a:endParaRPr lang="id-ID" sz="1200" b="1" dirty="0">
                <a:solidFill>
                  <a:srgbClr val="7F8C8D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81" name="Rectangle 80"/>
          <p:cNvSpPr/>
          <p:nvPr/>
        </p:nvSpPr>
        <p:spPr>
          <a:xfrm>
            <a:off x="6449050" y="4183559"/>
            <a:ext cx="16306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latin typeface="Calibri Light" pitchFamily="34" charset="0"/>
              </a:rPr>
              <a:t>Votre</a:t>
            </a:r>
            <a:r>
              <a:rPr lang="en-US" sz="1400" dirty="0" smtClean="0">
                <a:latin typeface="Calibri Light" pitchFamily="34" charset="0"/>
              </a:rPr>
              <a:t> impact et </a:t>
            </a:r>
            <a:r>
              <a:rPr lang="en-US" sz="1400" dirty="0" err="1" smtClean="0">
                <a:latin typeface="Calibri Light" pitchFamily="34" charset="0"/>
              </a:rPr>
              <a:t>ce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que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vous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pourriez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mieux</a:t>
            </a:r>
            <a:r>
              <a:rPr lang="en-US" sz="1400" dirty="0" smtClean="0">
                <a:latin typeface="Calibri Light" pitchFamily="34" charset="0"/>
              </a:rPr>
              <a:t> faire.</a:t>
            </a:r>
            <a:endParaRPr lang="en-US" sz="1400" dirty="0"/>
          </a:p>
        </p:txBody>
      </p:sp>
      <p:grpSp>
        <p:nvGrpSpPr>
          <p:cNvPr id="69" name="Group 68"/>
          <p:cNvGrpSpPr/>
          <p:nvPr/>
        </p:nvGrpSpPr>
        <p:grpSpPr>
          <a:xfrm>
            <a:off x="6922741" y="2157620"/>
            <a:ext cx="387222" cy="568037"/>
            <a:chOff x="8640211" y="1701541"/>
            <a:chExt cx="418808" cy="614374"/>
          </a:xfrm>
          <a:solidFill>
            <a:schemeClr val="bg1"/>
          </a:solidFill>
        </p:grpSpPr>
        <p:sp>
          <p:nvSpPr>
            <p:cNvPr id="70" name="Freeform 10"/>
            <p:cNvSpPr>
              <a:spLocks noEditPoints="1"/>
            </p:cNvSpPr>
            <p:nvPr/>
          </p:nvSpPr>
          <p:spPr bwMode="auto">
            <a:xfrm>
              <a:off x="8640211" y="1701541"/>
              <a:ext cx="418808" cy="614374"/>
            </a:xfrm>
            <a:custGeom>
              <a:avLst/>
              <a:gdLst>
                <a:gd name="T0" fmla="*/ 40 w 680"/>
                <a:gd name="T1" fmla="*/ 960 h 1000"/>
                <a:gd name="T2" fmla="*/ 640 w 680"/>
                <a:gd name="T3" fmla="*/ 960 h 1000"/>
                <a:gd name="T4" fmla="*/ 640 w 680"/>
                <a:gd name="T5" fmla="*/ 40 h 1000"/>
                <a:gd name="T6" fmla="*/ 189 w 680"/>
                <a:gd name="T7" fmla="*/ 40 h 1000"/>
                <a:gd name="T8" fmla="*/ 40 w 680"/>
                <a:gd name="T9" fmla="*/ 189 h 1000"/>
                <a:gd name="T10" fmla="*/ 40 w 680"/>
                <a:gd name="T11" fmla="*/ 960 h 1000"/>
                <a:gd name="T12" fmla="*/ 660 w 680"/>
                <a:gd name="T13" fmla="*/ 1000 h 1000"/>
                <a:gd name="T14" fmla="*/ 20 w 680"/>
                <a:gd name="T15" fmla="*/ 1000 h 1000"/>
                <a:gd name="T16" fmla="*/ 16 w 680"/>
                <a:gd name="T17" fmla="*/ 999 h 1000"/>
                <a:gd name="T18" fmla="*/ 13 w 680"/>
                <a:gd name="T19" fmla="*/ 999 h 1000"/>
                <a:gd name="T20" fmla="*/ 9 w 680"/>
                <a:gd name="T21" fmla="*/ 996 h 1000"/>
                <a:gd name="T22" fmla="*/ 7 w 680"/>
                <a:gd name="T23" fmla="*/ 994 h 1000"/>
                <a:gd name="T24" fmla="*/ 4 w 680"/>
                <a:gd name="T25" fmla="*/ 991 h 1000"/>
                <a:gd name="T26" fmla="*/ 2 w 680"/>
                <a:gd name="T27" fmla="*/ 988 h 1000"/>
                <a:gd name="T28" fmla="*/ 0 w 680"/>
                <a:gd name="T29" fmla="*/ 984 h 1000"/>
                <a:gd name="T30" fmla="*/ 0 w 680"/>
                <a:gd name="T31" fmla="*/ 980 h 1000"/>
                <a:gd name="T32" fmla="*/ 0 w 680"/>
                <a:gd name="T33" fmla="*/ 180 h 1000"/>
                <a:gd name="T34" fmla="*/ 0 w 680"/>
                <a:gd name="T35" fmla="*/ 176 h 1000"/>
                <a:gd name="T36" fmla="*/ 2 w 680"/>
                <a:gd name="T37" fmla="*/ 173 h 1000"/>
                <a:gd name="T38" fmla="*/ 4 w 680"/>
                <a:gd name="T39" fmla="*/ 169 h 1000"/>
                <a:gd name="T40" fmla="*/ 7 w 680"/>
                <a:gd name="T41" fmla="*/ 165 h 1000"/>
                <a:gd name="T42" fmla="*/ 167 w 680"/>
                <a:gd name="T43" fmla="*/ 6 h 1000"/>
                <a:gd name="T44" fmla="*/ 169 w 680"/>
                <a:gd name="T45" fmla="*/ 4 h 1000"/>
                <a:gd name="T46" fmla="*/ 173 w 680"/>
                <a:gd name="T47" fmla="*/ 1 h 1000"/>
                <a:gd name="T48" fmla="*/ 177 w 680"/>
                <a:gd name="T49" fmla="*/ 0 h 1000"/>
                <a:gd name="T50" fmla="*/ 180 w 680"/>
                <a:gd name="T51" fmla="*/ 0 h 1000"/>
                <a:gd name="T52" fmla="*/ 660 w 680"/>
                <a:gd name="T53" fmla="*/ 0 h 1000"/>
                <a:gd name="T54" fmla="*/ 664 w 680"/>
                <a:gd name="T55" fmla="*/ 0 h 1000"/>
                <a:gd name="T56" fmla="*/ 667 w 680"/>
                <a:gd name="T57" fmla="*/ 1 h 1000"/>
                <a:gd name="T58" fmla="*/ 671 w 680"/>
                <a:gd name="T59" fmla="*/ 4 h 1000"/>
                <a:gd name="T60" fmla="*/ 675 w 680"/>
                <a:gd name="T61" fmla="*/ 6 h 1000"/>
                <a:gd name="T62" fmla="*/ 677 w 680"/>
                <a:gd name="T63" fmla="*/ 9 h 1000"/>
                <a:gd name="T64" fmla="*/ 678 w 680"/>
                <a:gd name="T65" fmla="*/ 12 h 1000"/>
                <a:gd name="T66" fmla="*/ 680 w 680"/>
                <a:gd name="T67" fmla="*/ 16 h 1000"/>
                <a:gd name="T68" fmla="*/ 680 w 680"/>
                <a:gd name="T69" fmla="*/ 20 h 1000"/>
                <a:gd name="T70" fmla="*/ 680 w 680"/>
                <a:gd name="T71" fmla="*/ 980 h 1000"/>
                <a:gd name="T72" fmla="*/ 680 w 680"/>
                <a:gd name="T73" fmla="*/ 984 h 1000"/>
                <a:gd name="T74" fmla="*/ 678 w 680"/>
                <a:gd name="T75" fmla="*/ 988 h 1000"/>
                <a:gd name="T76" fmla="*/ 677 w 680"/>
                <a:gd name="T77" fmla="*/ 991 h 1000"/>
                <a:gd name="T78" fmla="*/ 675 w 680"/>
                <a:gd name="T79" fmla="*/ 994 h 1000"/>
                <a:gd name="T80" fmla="*/ 671 w 680"/>
                <a:gd name="T81" fmla="*/ 996 h 1000"/>
                <a:gd name="T82" fmla="*/ 667 w 680"/>
                <a:gd name="T83" fmla="*/ 999 h 1000"/>
                <a:gd name="T84" fmla="*/ 664 w 680"/>
                <a:gd name="T85" fmla="*/ 999 h 1000"/>
                <a:gd name="T86" fmla="*/ 660 w 680"/>
                <a:gd name="T87" fmla="*/ 10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0" h="1000">
                  <a:moveTo>
                    <a:pt x="40" y="960"/>
                  </a:moveTo>
                  <a:lnTo>
                    <a:pt x="640" y="960"/>
                  </a:lnTo>
                  <a:lnTo>
                    <a:pt x="640" y="40"/>
                  </a:lnTo>
                  <a:lnTo>
                    <a:pt x="189" y="40"/>
                  </a:lnTo>
                  <a:lnTo>
                    <a:pt x="40" y="189"/>
                  </a:lnTo>
                  <a:lnTo>
                    <a:pt x="40" y="960"/>
                  </a:lnTo>
                  <a:close/>
                  <a:moveTo>
                    <a:pt x="660" y="1000"/>
                  </a:moveTo>
                  <a:lnTo>
                    <a:pt x="20" y="1000"/>
                  </a:lnTo>
                  <a:lnTo>
                    <a:pt x="16" y="999"/>
                  </a:lnTo>
                  <a:lnTo>
                    <a:pt x="13" y="999"/>
                  </a:lnTo>
                  <a:lnTo>
                    <a:pt x="9" y="996"/>
                  </a:lnTo>
                  <a:lnTo>
                    <a:pt x="7" y="994"/>
                  </a:lnTo>
                  <a:lnTo>
                    <a:pt x="4" y="991"/>
                  </a:lnTo>
                  <a:lnTo>
                    <a:pt x="2" y="988"/>
                  </a:lnTo>
                  <a:lnTo>
                    <a:pt x="0" y="984"/>
                  </a:lnTo>
                  <a:lnTo>
                    <a:pt x="0" y="980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2" y="173"/>
                  </a:lnTo>
                  <a:lnTo>
                    <a:pt x="4" y="169"/>
                  </a:lnTo>
                  <a:lnTo>
                    <a:pt x="7" y="165"/>
                  </a:lnTo>
                  <a:lnTo>
                    <a:pt x="167" y="6"/>
                  </a:lnTo>
                  <a:lnTo>
                    <a:pt x="169" y="4"/>
                  </a:lnTo>
                  <a:lnTo>
                    <a:pt x="173" y="1"/>
                  </a:lnTo>
                  <a:lnTo>
                    <a:pt x="177" y="0"/>
                  </a:lnTo>
                  <a:lnTo>
                    <a:pt x="180" y="0"/>
                  </a:lnTo>
                  <a:lnTo>
                    <a:pt x="660" y="0"/>
                  </a:lnTo>
                  <a:lnTo>
                    <a:pt x="664" y="0"/>
                  </a:lnTo>
                  <a:lnTo>
                    <a:pt x="667" y="1"/>
                  </a:lnTo>
                  <a:lnTo>
                    <a:pt x="671" y="4"/>
                  </a:lnTo>
                  <a:lnTo>
                    <a:pt x="675" y="6"/>
                  </a:lnTo>
                  <a:lnTo>
                    <a:pt x="677" y="9"/>
                  </a:lnTo>
                  <a:lnTo>
                    <a:pt x="678" y="12"/>
                  </a:lnTo>
                  <a:lnTo>
                    <a:pt x="680" y="16"/>
                  </a:lnTo>
                  <a:lnTo>
                    <a:pt x="680" y="20"/>
                  </a:lnTo>
                  <a:lnTo>
                    <a:pt x="680" y="980"/>
                  </a:lnTo>
                  <a:lnTo>
                    <a:pt x="680" y="984"/>
                  </a:lnTo>
                  <a:lnTo>
                    <a:pt x="678" y="988"/>
                  </a:lnTo>
                  <a:lnTo>
                    <a:pt x="677" y="991"/>
                  </a:lnTo>
                  <a:lnTo>
                    <a:pt x="675" y="994"/>
                  </a:lnTo>
                  <a:lnTo>
                    <a:pt x="671" y="996"/>
                  </a:lnTo>
                  <a:lnTo>
                    <a:pt x="667" y="999"/>
                  </a:lnTo>
                  <a:lnTo>
                    <a:pt x="664" y="999"/>
                  </a:lnTo>
                  <a:lnTo>
                    <a:pt x="660" y="10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"/>
            <p:cNvSpPr>
              <a:spLocks/>
            </p:cNvSpPr>
            <p:nvPr/>
          </p:nvSpPr>
          <p:spPr bwMode="auto">
            <a:xfrm>
              <a:off x="8640211" y="1701541"/>
              <a:ext cx="123613" cy="123613"/>
            </a:xfrm>
            <a:custGeom>
              <a:avLst/>
              <a:gdLst>
                <a:gd name="T0" fmla="*/ 180 w 200"/>
                <a:gd name="T1" fmla="*/ 200 h 200"/>
                <a:gd name="T2" fmla="*/ 20 w 200"/>
                <a:gd name="T3" fmla="*/ 200 h 200"/>
                <a:gd name="T4" fmla="*/ 16 w 200"/>
                <a:gd name="T5" fmla="*/ 200 h 200"/>
                <a:gd name="T6" fmla="*/ 13 w 200"/>
                <a:gd name="T7" fmla="*/ 199 h 200"/>
                <a:gd name="T8" fmla="*/ 9 w 200"/>
                <a:gd name="T9" fmla="*/ 196 h 200"/>
                <a:gd name="T10" fmla="*/ 7 w 200"/>
                <a:gd name="T11" fmla="*/ 194 h 200"/>
                <a:gd name="T12" fmla="*/ 4 w 200"/>
                <a:gd name="T13" fmla="*/ 191 h 200"/>
                <a:gd name="T14" fmla="*/ 2 w 200"/>
                <a:gd name="T15" fmla="*/ 188 h 200"/>
                <a:gd name="T16" fmla="*/ 0 w 200"/>
                <a:gd name="T17" fmla="*/ 184 h 200"/>
                <a:gd name="T18" fmla="*/ 0 w 200"/>
                <a:gd name="T19" fmla="*/ 180 h 200"/>
                <a:gd name="T20" fmla="*/ 0 w 200"/>
                <a:gd name="T21" fmla="*/ 176 h 200"/>
                <a:gd name="T22" fmla="*/ 2 w 200"/>
                <a:gd name="T23" fmla="*/ 173 h 200"/>
                <a:gd name="T24" fmla="*/ 4 w 200"/>
                <a:gd name="T25" fmla="*/ 169 h 200"/>
                <a:gd name="T26" fmla="*/ 7 w 200"/>
                <a:gd name="T27" fmla="*/ 165 h 200"/>
                <a:gd name="T28" fmla="*/ 9 w 200"/>
                <a:gd name="T29" fmla="*/ 164 h 200"/>
                <a:gd name="T30" fmla="*/ 13 w 200"/>
                <a:gd name="T31" fmla="*/ 162 h 200"/>
                <a:gd name="T32" fmla="*/ 16 w 200"/>
                <a:gd name="T33" fmla="*/ 160 h 200"/>
                <a:gd name="T34" fmla="*/ 20 w 200"/>
                <a:gd name="T35" fmla="*/ 160 h 200"/>
                <a:gd name="T36" fmla="*/ 161 w 200"/>
                <a:gd name="T37" fmla="*/ 160 h 200"/>
                <a:gd name="T38" fmla="*/ 161 w 200"/>
                <a:gd name="T39" fmla="*/ 20 h 200"/>
                <a:gd name="T40" fmla="*/ 161 w 200"/>
                <a:gd name="T41" fmla="*/ 16 h 200"/>
                <a:gd name="T42" fmla="*/ 162 w 200"/>
                <a:gd name="T43" fmla="*/ 12 h 200"/>
                <a:gd name="T44" fmla="*/ 164 w 200"/>
                <a:gd name="T45" fmla="*/ 9 h 200"/>
                <a:gd name="T46" fmla="*/ 167 w 200"/>
                <a:gd name="T47" fmla="*/ 6 h 200"/>
                <a:gd name="T48" fmla="*/ 169 w 200"/>
                <a:gd name="T49" fmla="*/ 4 h 200"/>
                <a:gd name="T50" fmla="*/ 173 w 200"/>
                <a:gd name="T51" fmla="*/ 1 h 200"/>
                <a:gd name="T52" fmla="*/ 177 w 200"/>
                <a:gd name="T53" fmla="*/ 0 h 200"/>
                <a:gd name="T54" fmla="*/ 180 w 200"/>
                <a:gd name="T55" fmla="*/ 0 h 200"/>
                <a:gd name="T56" fmla="*/ 184 w 200"/>
                <a:gd name="T57" fmla="*/ 0 h 200"/>
                <a:gd name="T58" fmla="*/ 188 w 200"/>
                <a:gd name="T59" fmla="*/ 1 h 200"/>
                <a:gd name="T60" fmla="*/ 192 w 200"/>
                <a:gd name="T61" fmla="*/ 4 h 200"/>
                <a:gd name="T62" fmla="*/ 194 w 200"/>
                <a:gd name="T63" fmla="*/ 6 h 200"/>
                <a:gd name="T64" fmla="*/ 197 w 200"/>
                <a:gd name="T65" fmla="*/ 9 h 200"/>
                <a:gd name="T66" fmla="*/ 199 w 200"/>
                <a:gd name="T67" fmla="*/ 12 h 200"/>
                <a:gd name="T68" fmla="*/ 200 w 200"/>
                <a:gd name="T69" fmla="*/ 16 h 200"/>
                <a:gd name="T70" fmla="*/ 200 w 200"/>
                <a:gd name="T71" fmla="*/ 20 h 200"/>
                <a:gd name="T72" fmla="*/ 200 w 200"/>
                <a:gd name="T73" fmla="*/ 180 h 200"/>
                <a:gd name="T74" fmla="*/ 200 w 200"/>
                <a:gd name="T75" fmla="*/ 184 h 200"/>
                <a:gd name="T76" fmla="*/ 199 w 200"/>
                <a:gd name="T77" fmla="*/ 188 h 200"/>
                <a:gd name="T78" fmla="*/ 197 w 200"/>
                <a:gd name="T79" fmla="*/ 191 h 200"/>
                <a:gd name="T80" fmla="*/ 194 w 200"/>
                <a:gd name="T81" fmla="*/ 194 h 200"/>
                <a:gd name="T82" fmla="*/ 192 w 200"/>
                <a:gd name="T83" fmla="*/ 196 h 200"/>
                <a:gd name="T84" fmla="*/ 188 w 200"/>
                <a:gd name="T85" fmla="*/ 199 h 200"/>
                <a:gd name="T86" fmla="*/ 184 w 200"/>
                <a:gd name="T87" fmla="*/ 200 h 200"/>
                <a:gd name="T88" fmla="*/ 180 w 200"/>
                <a:gd name="T8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0" h="200">
                  <a:moveTo>
                    <a:pt x="180" y="200"/>
                  </a:moveTo>
                  <a:lnTo>
                    <a:pt x="20" y="200"/>
                  </a:lnTo>
                  <a:lnTo>
                    <a:pt x="16" y="200"/>
                  </a:lnTo>
                  <a:lnTo>
                    <a:pt x="13" y="199"/>
                  </a:lnTo>
                  <a:lnTo>
                    <a:pt x="9" y="196"/>
                  </a:lnTo>
                  <a:lnTo>
                    <a:pt x="7" y="194"/>
                  </a:lnTo>
                  <a:lnTo>
                    <a:pt x="4" y="191"/>
                  </a:lnTo>
                  <a:lnTo>
                    <a:pt x="2" y="188"/>
                  </a:lnTo>
                  <a:lnTo>
                    <a:pt x="0" y="184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2" y="173"/>
                  </a:lnTo>
                  <a:lnTo>
                    <a:pt x="4" y="169"/>
                  </a:lnTo>
                  <a:lnTo>
                    <a:pt x="7" y="165"/>
                  </a:lnTo>
                  <a:lnTo>
                    <a:pt x="9" y="164"/>
                  </a:lnTo>
                  <a:lnTo>
                    <a:pt x="13" y="162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161" y="160"/>
                  </a:lnTo>
                  <a:lnTo>
                    <a:pt x="161" y="20"/>
                  </a:lnTo>
                  <a:lnTo>
                    <a:pt x="161" y="16"/>
                  </a:lnTo>
                  <a:lnTo>
                    <a:pt x="162" y="12"/>
                  </a:lnTo>
                  <a:lnTo>
                    <a:pt x="164" y="9"/>
                  </a:lnTo>
                  <a:lnTo>
                    <a:pt x="167" y="6"/>
                  </a:lnTo>
                  <a:lnTo>
                    <a:pt x="169" y="4"/>
                  </a:lnTo>
                  <a:lnTo>
                    <a:pt x="173" y="1"/>
                  </a:lnTo>
                  <a:lnTo>
                    <a:pt x="177" y="0"/>
                  </a:lnTo>
                  <a:lnTo>
                    <a:pt x="180" y="0"/>
                  </a:lnTo>
                  <a:lnTo>
                    <a:pt x="184" y="0"/>
                  </a:lnTo>
                  <a:lnTo>
                    <a:pt x="188" y="1"/>
                  </a:lnTo>
                  <a:lnTo>
                    <a:pt x="192" y="4"/>
                  </a:lnTo>
                  <a:lnTo>
                    <a:pt x="194" y="6"/>
                  </a:lnTo>
                  <a:lnTo>
                    <a:pt x="197" y="9"/>
                  </a:lnTo>
                  <a:lnTo>
                    <a:pt x="199" y="12"/>
                  </a:lnTo>
                  <a:lnTo>
                    <a:pt x="200" y="16"/>
                  </a:lnTo>
                  <a:lnTo>
                    <a:pt x="200" y="2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199" y="188"/>
                  </a:lnTo>
                  <a:lnTo>
                    <a:pt x="197" y="191"/>
                  </a:lnTo>
                  <a:lnTo>
                    <a:pt x="194" y="194"/>
                  </a:lnTo>
                  <a:lnTo>
                    <a:pt x="192" y="196"/>
                  </a:lnTo>
                  <a:lnTo>
                    <a:pt x="188" y="199"/>
                  </a:lnTo>
                  <a:lnTo>
                    <a:pt x="184" y="200"/>
                  </a:lnTo>
                  <a:lnTo>
                    <a:pt x="180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9"/>
            <p:cNvSpPr>
              <a:spLocks noEditPoints="1"/>
            </p:cNvSpPr>
            <p:nvPr/>
          </p:nvSpPr>
          <p:spPr bwMode="auto">
            <a:xfrm>
              <a:off x="8715855" y="1898953"/>
              <a:ext cx="269365" cy="269365"/>
            </a:xfrm>
            <a:custGeom>
              <a:avLst/>
              <a:gdLst>
                <a:gd name="T0" fmla="*/ 184 w 439"/>
                <a:gd name="T1" fmla="*/ 43 h 439"/>
                <a:gd name="T2" fmla="*/ 134 w 439"/>
                <a:gd name="T3" fmla="*/ 60 h 439"/>
                <a:gd name="T4" fmla="*/ 92 w 439"/>
                <a:gd name="T5" fmla="*/ 91 h 439"/>
                <a:gd name="T6" fmla="*/ 61 w 439"/>
                <a:gd name="T7" fmla="*/ 134 h 439"/>
                <a:gd name="T8" fmla="*/ 43 w 439"/>
                <a:gd name="T9" fmla="*/ 182 h 439"/>
                <a:gd name="T10" fmla="*/ 41 w 439"/>
                <a:gd name="T11" fmla="*/ 237 h 439"/>
                <a:gd name="T12" fmla="*/ 53 w 439"/>
                <a:gd name="T13" fmla="*/ 289 h 439"/>
                <a:gd name="T14" fmla="*/ 81 w 439"/>
                <a:gd name="T15" fmla="*/ 334 h 439"/>
                <a:gd name="T16" fmla="*/ 119 w 439"/>
                <a:gd name="T17" fmla="*/ 369 h 439"/>
                <a:gd name="T18" fmla="*/ 166 w 439"/>
                <a:gd name="T19" fmla="*/ 391 h 439"/>
                <a:gd name="T20" fmla="*/ 220 w 439"/>
                <a:gd name="T21" fmla="*/ 398 h 439"/>
                <a:gd name="T22" fmla="*/ 273 w 439"/>
                <a:gd name="T23" fmla="*/ 391 h 439"/>
                <a:gd name="T24" fmla="*/ 320 w 439"/>
                <a:gd name="T25" fmla="*/ 369 h 439"/>
                <a:gd name="T26" fmla="*/ 358 w 439"/>
                <a:gd name="T27" fmla="*/ 334 h 439"/>
                <a:gd name="T28" fmla="*/ 385 w 439"/>
                <a:gd name="T29" fmla="*/ 289 h 439"/>
                <a:gd name="T30" fmla="*/ 399 w 439"/>
                <a:gd name="T31" fmla="*/ 237 h 439"/>
                <a:gd name="T32" fmla="*/ 396 w 439"/>
                <a:gd name="T33" fmla="*/ 182 h 439"/>
                <a:gd name="T34" fmla="*/ 377 w 439"/>
                <a:gd name="T35" fmla="*/ 134 h 439"/>
                <a:gd name="T36" fmla="*/ 346 w 439"/>
                <a:gd name="T37" fmla="*/ 91 h 439"/>
                <a:gd name="T38" fmla="*/ 305 w 439"/>
                <a:gd name="T39" fmla="*/ 60 h 439"/>
                <a:gd name="T40" fmla="*/ 256 w 439"/>
                <a:gd name="T41" fmla="*/ 43 h 439"/>
                <a:gd name="T42" fmla="*/ 220 w 439"/>
                <a:gd name="T43" fmla="*/ 439 h 439"/>
                <a:gd name="T44" fmla="*/ 154 w 439"/>
                <a:gd name="T45" fmla="*/ 429 h 439"/>
                <a:gd name="T46" fmla="*/ 97 w 439"/>
                <a:gd name="T47" fmla="*/ 401 h 439"/>
                <a:gd name="T48" fmla="*/ 49 w 439"/>
                <a:gd name="T49" fmla="*/ 359 h 439"/>
                <a:gd name="T50" fmla="*/ 17 w 439"/>
                <a:gd name="T51" fmla="*/ 304 h 439"/>
                <a:gd name="T52" fmla="*/ 1 w 439"/>
                <a:gd name="T53" fmla="*/ 242 h 439"/>
                <a:gd name="T54" fmla="*/ 4 w 439"/>
                <a:gd name="T55" fmla="*/ 175 h 439"/>
                <a:gd name="T56" fmla="*/ 26 w 439"/>
                <a:gd name="T57" fmla="*/ 114 h 439"/>
                <a:gd name="T58" fmla="*/ 64 w 439"/>
                <a:gd name="T59" fmla="*/ 63 h 439"/>
                <a:gd name="T60" fmla="*/ 114 w 439"/>
                <a:gd name="T61" fmla="*/ 26 h 439"/>
                <a:gd name="T62" fmla="*/ 175 w 439"/>
                <a:gd name="T63" fmla="*/ 3 h 439"/>
                <a:gd name="T64" fmla="*/ 242 w 439"/>
                <a:gd name="T65" fmla="*/ 0 h 439"/>
                <a:gd name="T66" fmla="*/ 305 w 439"/>
                <a:gd name="T67" fmla="*/ 16 h 439"/>
                <a:gd name="T68" fmla="*/ 359 w 439"/>
                <a:gd name="T69" fmla="*/ 49 h 439"/>
                <a:gd name="T70" fmla="*/ 401 w 439"/>
                <a:gd name="T71" fmla="*/ 96 h 439"/>
                <a:gd name="T72" fmla="*/ 430 w 439"/>
                <a:gd name="T73" fmla="*/ 154 h 439"/>
                <a:gd name="T74" fmla="*/ 439 w 439"/>
                <a:gd name="T75" fmla="*/ 219 h 439"/>
                <a:gd name="T76" fmla="*/ 430 w 439"/>
                <a:gd name="T77" fmla="*/ 284 h 439"/>
                <a:gd name="T78" fmla="*/ 401 w 439"/>
                <a:gd name="T79" fmla="*/ 342 h 439"/>
                <a:gd name="T80" fmla="*/ 359 w 439"/>
                <a:gd name="T81" fmla="*/ 388 h 439"/>
                <a:gd name="T82" fmla="*/ 305 w 439"/>
                <a:gd name="T83" fmla="*/ 422 h 439"/>
                <a:gd name="T84" fmla="*/ 242 w 439"/>
                <a:gd name="T85" fmla="*/ 438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9" h="439">
                  <a:moveTo>
                    <a:pt x="220" y="39"/>
                  </a:moveTo>
                  <a:lnTo>
                    <a:pt x="201" y="39"/>
                  </a:lnTo>
                  <a:lnTo>
                    <a:pt x="184" y="43"/>
                  </a:lnTo>
                  <a:lnTo>
                    <a:pt x="166" y="47"/>
                  </a:lnTo>
                  <a:lnTo>
                    <a:pt x="149" y="53"/>
                  </a:lnTo>
                  <a:lnTo>
                    <a:pt x="134" y="60"/>
                  </a:lnTo>
                  <a:lnTo>
                    <a:pt x="119" y="70"/>
                  </a:lnTo>
                  <a:lnTo>
                    <a:pt x="105" y="80"/>
                  </a:lnTo>
                  <a:lnTo>
                    <a:pt x="92" y="91"/>
                  </a:lnTo>
                  <a:lnTo>
                    <a:pt x="81" y="105"/>
                  </a:lnTo>
                  <a:lnTo>
                    <a:pt x="71" y="119"/>
                  </a:lnTo>
                  <a:lnTo>
                    <a:pt x="61" y="134"/>
                  </a:lnTo>
                  <a:lnTo>
                    <a:pt x="53" y="149"/>
                  </a:lnTo>
                  <a:lnTo>
                    <a:pt x="47" y="166"/>
                  </a:lnTo>
                  <a:lnTo>
                    <a:pt x="43" y="182"/>
                  </a:lnTo>
                  <a:lnTo>
                    <a:pt x="41" y="201"/>
                  </a:lnTo>
                  <a:lnTo>
                    <a:pt x="40" y="219"/>
                  </a:lnTo>
                  <a:lnTo>
                    <a:pt x="41" y="237"/>
                  </a:lnTo>
                  <a:lnTo>
                    <a:pt x="43" y="255"/>
                  </a:lnTo>
                  <a:lnTo>
                    <a:pt x="47" y="273"/>
                  </a:lnTo>
                  <a:lnTo>
                    <a:pt x="53" y="289"/>
                  </a:lnTo>
                  <a:lnTo>
                    <a:pt x="61" y="305"/>
                  </a:lnTo>
                  <a:lnTo>
                    <a:pt x="71" y="320"/>
                  </a:lnTo>
                  <a:lnTo>
                    <a:pt x="81" y="334"/>
                  </a:lnTo>
                  <a:lnTo>
                    <a:pt x="92" y="346"/>
                  </a:lnTo>
                  <a:lnTo>
                    <a:pt x="105" y="357"/>
                  </a:lnTo>
                  <a:lnTo>
                    <a:pt x="119" y="369"/>
                  </a:lnTo>
                  <a:lnTo>
                    <a:pt x="134" y="377"/>
                  </a:lnTo>
                  <a:lnTo>
                    <a:pt x="149" y="385"/>
                  </a:lnTo>
                  <a:lnTo>
                    <a:pt x="166" y="391"/>
                  </a:lnTo>
                  <a:lnTo>
                    <a:pt x="184" y="396"/>
                  </a:lnTo>
                  <a:lnTo>
                    <a:pt x="201" y="398"/>
                  </a:lnTo>
                  <a:lnTo>
                    <a:pt x="220" y="398"/>
                  </a:lnTo>
                  <a:lnTo>
                    <a:pt x="237" y="398"/>
                  </a:lnTo>
                  <a:lnTo>
                    <a:pt x="256" y="396"/>
                  </a:lnTo>
                  <a:lnTo>
                    <a:pt x="273" y="391"/>
                  </a:lnTo>
                  <a:lnTo>
                    <a:pt x="289" y="385"/>
                  </a:lnTo>
                  <a:lnTo>
                    <a:pt x="305" y="377"/>
                  </a:lnTo>
                  <a:lnTo>
                    <a:pt x="320" y="369"/>
                  </a:lnTo>
                  <a:lnTo>
                    <a:pt x="334" y="357"/>
                  </a:lnTo>
                  <a:lnTo>
                    <a:pt x="346" y="346"/>
                  </a:lnTo>
                  <a:lnTo>
                    <a:pt x="358" y="334"/>
                  </a:lnTo>
                  <a:lnTo>
                    <a:pt x="369" y="320"/>
                  </a:lnTo>
                  <a:lnTo>
                    <a:pt x="377" y="305"/>
                  </a:lnTo>
                  <a:lnTo>
                    <a:pt x="385" y="289"/>
                  </a:lnTo>
                  <a:lnTo>
                    <a:pt x="391" y="273"/>
                  </a:lnTo>
                  <a:lnTo>
                    <a:pt x="396" y="255"/>
                  </a:lnTo>
                  <a:lnTo>
                    <a:pt x="399" y="237"/>
                  </a:lnTo>
                  <a:lnTo>
                    <a:pt x="400" y="219"/>
                  </a:lnTo>
                  <a:lnTo>
                    <a:pt x="399" y="201"/>
                  </a:lnTo>
                  <a:lnTo>
                    <a:pt x="396" y="182"/>
                  </a:lnTo>
                  <a:lnTo>
                    <a:pt x="391" y="166"/>
                  </a:lnTo>
                  <a:lnTo>
                    <a:pt x="385" y="149"/>
                  </a:lnTo>
                  <a:lnTo>
                    <a:pt x="377" y="134"/>
                  </a:lnTo>
                  <a:lnTo>
                    <a:pt x="369" y="119"/>
                  </a:lnTo>
                  <a:lnTo>
                    <a:pt x="358" y="105"/>
                  </a:lnTo>
                  <a:lnTo>
                    <a:pt x="346" y="91"/>
                  </a:lnTo>
                  <a:lnTo>
                    <a:pt x="334" y="80"/>
                  </a:lnTo>
                  <a:lnTo>
                    <a:pt x="320" y="70"/>
                  </a:lnTo>
                  <a:lnTo>
                    <a:pt x="305" y="60"/>
                  </a:lnTo>
                  <a:lnTo>
                    <a:pt x="289" y="53"/>
                  </a:lnTo>
                  <a:lnTo>
                    <a:pt x="273" y="47"/>
                  </a:lnTo>
                  <a:lnTo>
                    <a:pt x="256" y="43"/>
                  </a:lnTo>
                  <a:lnTo>
                    <a:pt x="237" y="39"/>
                  </a:lnTo>
                  <a:lnTo>
                    <a:pt x="220" y="39"/>
                  </a:lnTo>
                  <a:close/>
                  <a:moveTo>
                    <a:pt x="220" y="439"/>
                  </a:moveTo>
                  <a:lnTo>
                    <a:pt x="197" y="438"/>
                  </a:lnTo>
                  <a:lnTo>
                    <a:pt x="175" y="434"/>
                  </a:lnTo>
                  <a:lnTo>
                    <a:pt x="154" y="429"/>
                  </a:lnTo>
                  <a:lnTo>
                    <a:pt x="134" y="422"/>
                  </a:lnTo>
                  <a:lnTo>
                    <a:pt x="114" y="412"/>
                  </a:lnTo>
                  <a:lnTo>
                    <a:pt x="97" y="401"/>
                  </a:lnTo>
                  <a:lnTo>
                    <a:pt x="79" y="388"/>
                  </a:lnTo>
                  <a:lnTo>
                    <a:pt x="64" y="375"/>
                  </a:lnTo>
                  <a:lnTo>
                    <a:pt x="49" y="359"/>
                  </a:lnTo>
                  <a:lnTo>
                    <a:pt x="37" y="342"/>
                  </a:lnTo>
                  <a:lnTo>
                    <a:pt x="26" y="324"/>
                  </a:lnTo>
                  <a:lnTo>
                    <a:pt x="17" y="304"/>
                  </a:lnTo>
                  <a:lnTo>
                    <a:pt x="10" y="284"/>
                  </a:lnTo>
                  <a:lnTo>
                    <a:pt x="4" y="263"/>
                  </a:lnTo>
                  <a:lnTo>
                    <a:pt x="1" y="242"/>
                  </a:lnTo>
                  <a:lnTo>
                    <a:pt x="0" y="219"/>
                  </a:lnTo>
                  <a:lnTo>
                    <a:pt x="1" y="197"/>
                  </a:lnTo>
                  <a:lnTo>
                    <a:pt x="4" y="175"/>
                  </a:lnTo>
                  <a:lnTo>
                    <a:pt x="10" y="154"/>
                  </a:lnTo>
                  <a:lnTo>
                    <a:pt x="17" y="134"/>
                  </a:lnTo>
                  <a:lnTo>
                    <a:pt x="26" y="114"/>
                  </a:lnTo>
                  <a:lnTo>
                    <a:pt x="37" y="96"/>
                  </a:lnTo>
                  <a:lnTo>
                    <a:pt x="49" y="79"/>
                  </a:lnTo>
                  <a:lnTo>
                    <a:pt x="64" y="63"/>
                  </a:lnTo>
                  <a:lnTo>
                    <a:pt x="79" y="49"/>
                  </a:lnTo>
                  <a:lnTo>
                    <a:pt x="97" y="37"/>
                  </a:lnTo>
                  <a:lnTo>
                    <a:pt x="114" y="26"/>
                  </a:lnTo>
                  <a:lnTo>
                    <a:pt x="134" y="16"/>
                  </a:lnTo>
                  <a:lnTo>
                    <a:pt x="154" y="9"/>
                  </a:lnTo>
                  <a:lnTo>
                    <a:pt x="175" y="3"/>
                  </a:lnTo>
                  <a:lnTo>
                    <a:pt x="197" y="0"/>
                  </a:lnTo>
                  <a:lnTo>
                    <a:pt x="220" y="0"/>
                  </a:lnTo>
                  <a:lnTo>
                    <a:pt x="242" y="0"/>
                  </a:lnTo>
                  <a:lnTo>
                    <a:pt x="263" y="3"/>
                  </a:lnTo>
                  <a:lnTo>
                    <a:pt x="284" y="9"/>
                  </a:lnTo>
                  <a:lnTo>
                    <a:pt x="305" y="16"/>
                  </a:lnTo>
                  <a:lnTo>
                    <a:pt x="324" y="26"/>
                  </a:lnTo>
                  <a:lnTo>
                    <a:pt x="343" y="37"/>
                  </a:lnTo>
                  <a:lnTo>
                    <a:pt x="359" y="49"/>
                  </a:lnTo>
                  <a:lnTo>
                    <a:pt x="375" y="63"/>
                  </a:lnTo>
                  <a:lnTo>
                    <a:pt x="389" y="79"/>
                  </a:lnTo>
                  <a:lnTo>
                    <a:pt x="401" y="96"/>
                  </a:lnTo>
                  <a:lnTo>
                    <a:pt x="412" y="114"/>
                  </a:lnTo>
                  <a:lnTo>
                    <a:pt x="422" y="134"/>
                  </a:lnTo>
                  <a:lnTo>
                    <a:pt x="430" y="154"/>
                  </a:lnTo>
                  <a:lnTo>
                    <a:pt x="435" y="175"/>
                  </a:lnTo>
                  <a:lnTo>
                    <a:pt x="438" y="197"/>
                  </a:lnTo>
                  <a:lnTo>
                    <a:pt x="439" y="219"/>
                  </a:lnTo>
                  <a:lnTo>
                    <a:pt x="438" y="242"/>
                  </a:lnTo>
                  <a:lnTo>
                    <a:pt x="435" y="263"/>
                  </a:lnTo>
                  <a:lnTo>
                    <a:pt x="430" y="284"/>
                  </a:lnTo>
                  <a:lnTo>
                    <a:pt x="422" y="304"/>
                  </a:lnTo>
                  <a:lnTo>
                    <a:pt x="412" y="324"/>
                  </a:lnTo>
                  <a:lnTo>
                    <a:pt x="401" y="342"/>
                  </a:lnTo>
                  <a:lnTo>
                    <a:pt x="389" y="359"/>
                  </a:lnTo>
                  <a:lnTo>
                    <a:pt x="375" y="375"/>
                  </a:lnTo>
                  <a:lnTo>
                    <a:pt x="359" y="388"/>
                  </a:lnTo>
                  <a:lnTo>
                    <a:pt x="343" y="401"/>
                  </a:lnTo>
                  <a:lnTo>
                    <a:pt x="324" y="412"/>
                  </a:lnTo>
                  <a:lnTo>
                    <a:pt x="305" y="422"/>
                  </a:lnTo>
                  <a:lnTo>
                    <a:pt x="284" y="429"/>
                  </a:lnTo>
                  <a:lnTo>
                    <a:pt x="263" y="434"/>
                  </a:lnTo>
                  <a:lnTo>
                    <a:pt x="242" y="438"/>
                  </a:lnTo>
                  <a:lnTo>
                    <a:pt x="220" y="4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0"/>
            <p:cNvSpPr>
              <a:spLocks/>
            </p:cNvSpPr>
            <p:nvPr/>
          </p:nvSpPr>
          <p:spPr bwMode="auto">
            <a:xfrm>
              <a:off x="8763824" y="1983821"/>
              <a:ext cx="160512" cy="110698"/>
            </a:xfrm>
            <a:custGeom>
              <a:avLst/>
              <a:gdLst>
                <a:gd name="T0" fmla="*/ 100 w 260"/>
                <a:gd name="T1" fmla="*/ 180 h 180"/>
                <a:gd name="T2" fmla="*/ 96 w 260"/>
                <a:gd name="T3" fmla="*/ 180 h 180"/>
                <a:gd name="T4" fmla="*/ 92 w 260"/>
                <a:gd name="T5" fmla="*/ 179 h 180"/>
                <a:gd name="T6" fmla="*/ 90 w 260"/>
                <a:gd name="T7" fmla="*/ 176 h 180"/>
                <a:gd name="T8" fmla="*/ 86 w 260"/>
                <a:gd name="T9" fmla="*/ 174 h 180"/>
                <a:gd name="T10" fmla="*/ 7 w 260"/>
                <a:gd name="T11" fmla="*/ 94 h 180"/>
                <a:gd name="T12" fmla="*/ 4 w 260"/>
                <a:gd name="T13" fmla="*/ 90 h 180"/>
                <a:gd name="T14" fmla="*/ 2 w 260"/>
                <a:gd name="T15" fmla="*/ 88 h 180"/>
                <a:gd name="T16" fmla="*/ 0 w 260"/>
                <a:gd name="T17" fmla="*/ 84 h 180"/>
                <a:gd name="T18" fmla="*/ 0 w 260"/>
                <a:gd name="T19" fmla="*/ 80 h 180"/>
                <a:gd name="T20" fmla="*/ 0 w 260"/>
                <a:gd name="T21" fmla="*/ 77 h 180"/>
                <a:gd name="T22" fmla="*/ 2 w 260"/>
                <a:gd name="T23" fmla="*/ 73 h 180"/>
                <a:gd name="T24" fmla="*/ 4 w 260"/>
                <a:gd name="T25" fmla="*/ 69 h 180"/>
                <a:gd name="T26" fmla="*/ 7 w 260"/>
                <a:gd name="T27" fmla="*/ 66 h 180"/>
                <a:gd name="T28" fmla="*/ 9 w 260"/>
                <a:gd name="T29" fmla="*/ 63 h 180"/>
                <a:gd name="T30" fmla="*/ 13 w 260"/>
                <a:gd name="T31" fmla="*/ 62 h 180"/>
                <a:gd name="T32" fmla="*/ 16 w 260"/>
                <a:gd name="T33" fmla="*/ 61 h 180"/>
                <a:gd name="T34" fmla="*/ 20 w 260"/>
                <a:gd name="T35" fmla="*/ 61 h 180"/>
                <a:gd name="T36" fmla="*/ 24 w 260"/>
                <a:gd name="T37" fmla="*/ 61 h 180"/>
                <a:gd name="T38" fmla="*/ 28 w 260"/>
                <a:gd name="T39" fmla="*/ 62 h 180"/>
                <a:gd name="T40" fmla="*/ 31 w 260"/>
                <a:gd name="T41" fmla="*/ 63 h 180"/>
                <a:gd name="T42" fmla="*/ 34 w 260"/>
                <a:gd name="T43" fmla="*/ 66 h 180"/>
                <a:gd name="T44" fmla="*/ 100 w 260"/>
                <a:gd name="T45" fmla="*/ 131 h 180"/>
                <a:gd name="T46" fmla="*/ 226 w 260"/>
                <a:gd name="T47" fmla="*/ 6 h 180"/>
                <a:gd name="T48" fmla="*/ 229 w 260"/>
                <a:gd name="T49" fmla="*/ 3 h 180"/>
                <a:gd name="T50" fmla="*/ 233 w 260"/>
                <a:gd name="T51" fmla="*/ 1 h 180"/>
                <a:gd name="T52" fmla="*/ 236 w 260"/>
                <a:gd name="T53" fmla="*/ 1 h 180"/>
                <a:gd name="T54" fmla="*/ 240 w 260"/>
                <a:gd name="T55" fmla="*/ 0 h 180"/>
                <a:gd name="T56" fmla="*/ 244 w 260"/>
                <a:gd name="T57" fmla="*/ 1 h 180"/>
                <a:gd name="T58" fmla="*/ 247 w 260"/>
                <a:gd name="T59" fmla="*/ 1 h 180"/>
                <a:gd name="T60" fmla="*/ 251 w 260"/>
                <a:gd name="T61" fmla="*/ 3 h 180"/>
                <a:gd name="T62" fmla="*/ 255 w 260"/>
                <a:gd name="T63" fmla="*/ 6 h 180"/>
                <a:gd name="T64" fmla="*/ 257 w 260"/>
                <a:gd name="T65" fmla="*/ 8 h 180"/>
                <a:gd name="T66" fmla="*/ 259 w 260"/>
                <a:gd name="T67" fmla="*/ 12 h 180"/>
                <a:gd name="T68" fmla="*/ 260 w 260"/>
                <a:gd name="T69" fmla="*/ 16 h 180"/>
                <a:gd name="T70" fmla="*/ 260 w 260"/>
                <a:gd name="T71" fmla="*/ 20 h 180"/>
                <a:gd name="T72" fmla="*/ 260 w 260"/>
                <a:gd name="T73" fmla="*/ 23 h 180"/>
                <a:gd name="T74" fmla="*/ 259 w 260"/>
                <a:gd name="T75" fmla="*/ 27 h 180"/>
                <a:gd name="T76" fmla="*/ 257 w 260"/>
                <a:gd name="T77" fmla="*/ 31 h 180"/>
                <a:gd name="T78" fmla="*/ 255 w 260"/>
                <a:gd name="T79" fmla="*/ 34 h 180"/>
                <a:gd name="T80" fmla="*/ 115 w 260"/>
                <a:gd name="T81" fmla="*/ 174 h 180"/>
                <a:gd name="T82" fmla="*/ 111 w 260"/>
                <a:gd name="T83" fmla="*/ 176 h 180"/>
                <a:gd name="T84" fmla="*/ 108 w 260"/>
                <a:gd name="T85" fmla="*/ 179 h 180"/>
                <a:gd name="T86" fmla="*/ 105 w 260"/>
                <a:gd name="T87" fmla="*/ 180 h 180"/>
                <a:gd name="T88" fmla="*/ 100 w 260"/>
                <a:gd name="T8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0" h="180">
                  <a:moveTo>
                    <a:pt x="100" y="180"/>
                  </a:moveTo>
                  <a:lnTo>
                    <a:pt x="96" y="180"/>
                  </a:lnTo>
                  <a:lnTo>
                    <a:pt x="92" y="179"/>
                  </a:lnTo>
                  <a:lnTo>
                    <a:pt x="90" y="176"/>
                  </a:lnTo>
                  <a:lnTo>
                    <a:pt x="86" y="174"/>
                  </a:lnTo>
                  <a:lnTo>
                    <a:pt x="7" y="94"/>
                  </a:lnTo>
                  <a:lnTo>
                    <a:pt x="4" y="90"/>
                  </a:lnTo>
                  <a:lnTo>
                    <a:pt x="2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2" y="73"/>
                  </a:lnTo>
                  <a:lnTo>
                    <a:pt x="4" y="69"/>
                  </a:lnTo>
                  <a:lnTo>
                    <a:pt x="7" y="66"/>
                  </a:lnTo>
                  <a:lnTo>
                    <a:pt x="9" y="63"/>
                  </a:lnTo>
                  <a:lnTo>
                    <a:pt x="13" y="62"/>
                  </a:lnTo>
                  <a:lnTo>
                    <a:pt x="16" y="61"/>
                  </a:lnTo>
                  <a:lnTo>
                    <a:pt x="20" y="61"/>
                  </a:lnTo>
                  <a:lnTo>
                    <a:pt x="24" y="61"/>
                  </a:lnTo>
                  <a:lnTo>
                    <a:pt x="28" y="62"/>
                  </a:lnTo>
                  <a:lnTo>
                    <a:pt x="31" y="63"/>
                  </a:lnTo>
                  <a:lnTo>
                    <a:pt x="34" y="66"/>
                  </a:lnTo>
                  <a:lnTo>
                    <a:pt x="100" y="131"/>
                  </a:lnTo>
                  <a:lnTo>
                    <a:pt x="226" y="6"/>
                  </a:lnTo>
                  <a:lnTo>
                    <a:pt x="229" y="3"/>
                  </a:lnTo>
                  <a:lnTo>
                    <a:pt x="233" y="1"/>
                  </a:lnTo>
                  <a:lnTo>
                    <a:pt x="236" y="1"/>
                  </a:lnTo>
                  <a:lnTo>
                    <a:pt x="240" y="0"/>
                  </a:lnTo>
                  <a:lnTo>
                    <a:pt x="244" y="1"/>
                  </a:lnTo>
                  <a:lnTo>
                    <a:pt x="247" y="1"/>
                  </a:lnTo>
                  <a:lnTo>
                    <a:pt x="251" y="3"/>
                  </a:lnTo>
                  <a:lnTo>
                    <a:pt x="255" y="6"/>
                  </a:lnTo>
                  <a:lnTo>
                    <a:pt x="257" y="8"/>
                  </a:lnTo>
                  <a:lnTo>
                    <a:pt x="259" y="12"/>
                  </a:lnTo>
                  <a:lnTo>
                    <a:pt x="260" y="16"/>
                  </a:lnTo>
                  <a:lnTo>
                    <a:pt x="260" y="20"/>
                  </a:lnTo>
                  <a:lnTo>
                    <a:pt x="260" y="23"/>
                  </a:lnTo>
                  <a:lnTo>
                    <a:pt x="259" y="27"/>
                  </a:lnTo>
                  <a:lnTo>
                    <a:pt x="257" y="31"/>
                  </a:lnTo>
                  <a:lnTo>
                    <a:pt x="255" y="34"/>
                  </a:lnTo>
                  <a:lnTo>
                    <a:pt x="115" y="174"/>
                  </a:lnTo>
                  <a:lnTo>
                    <a:pt x="111" y="176"/>
                  </a:lnTo>
                  <a:lnTo>
                    <a:pt x="108" y="179"/>
                  </a:lnTo>
                  <a:lnTo>
                    <a:pt x="105" y="180"/>
                  </a:lnTo>
                  <a:lnTo>
                    <a:pt x="100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962400" y="1709586"/>
            <a:ext cx="1219200" cy="1305227"/>
            <a:chOff x="-1046920" y="2123773"/>
            <a:chExt cx="1219200" cy="1305227"/>
          </a:xfrm>
        </p:grpSpPr>
        <p:sp>
          <p:nvSpPr>
            <p:cNvPr id="56" name="Oval 55"/>
            <p:cNvSpPr/>
            <p:nvPr/>
          </p:nvSpPr>
          <p:spPr>
            <a:xfrm>
              <a:off x="-1046920" y="22098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2" name="Oval 81"/>
            <p:cNvSpPr/>
            <p:nvPr/>
          </p:nvSpPr>
          <p:spPr>
            <a:xfrm>
              <a:off x="-961755" y="2294965"/>
              <a:ext cx="1048871" cy="1048871"/>
            </a:xfrm>
            <a:prstGeom prst="ellipse">
              <a:avLst/>
            </a:prstGeom>
            <a:solidFill>
              <a:srgbClr val="F1C40F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86" name="Oval 85"/>
            <p:cNvSpPr/>
            <p:nvPr/>
          </p:nvSpPr>
          <p:spPr>
            <a:xfrm>
              <a:off x="-627820" y="2123773"/>
              <a:ext cx="381000" cy="381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1C4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sz="1200" b="1" dirty="0" smtClean="0">
                  <a:solidFill>
                    <a:srgbClr val="7F8C8D"/>
                  </a:solidFill>
                  <a:latin typeface="Calibri Light" panose="020F0302020204030204" pitchFamily="34" charset="0"/>
                </a:rPr>
                <a:t>2</a:t>
              </a:r>
              <a:endParaRPr lang="id-ID" sz="1200" b="1" dirty="0">
                <a:solidFill>
                  <a:srgbClr val="7F8C8D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3501838" y="3302818"/>
            <a:ext cx="214032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b="1" dirty="0" smtClean="0">
                <a:solidFill>
                  <a:srgbClr val="F1C40F"/>
                </a:solidFill>
                <a:latin typeface="Calibri Light" panose="020F0302020204030204" pitchFamily="34" charset="0"/>
              </a:rPr>
              <a:t>ANALYSE TEMPS-REEL</a:t>
            </a:r>
            <a:endParaRPr lang="id-ID" sz="2000" b="1" dirty="0">
              <a:solidFill>
                <a:srgbClr val="F1C40F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733800" y="4107359"/>
            <a:ext cx="17374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latin typeface="Calibri Light" pitchFamily="34" charset="0"/>
              </a:rPr>
              <a:t>L’impact</a:t>
            </a:r>
            <a:r>
              <a:rPr lang="en-US" sz="1400" dirty="0" smtClean="0">
                <a:latin typeface="Calibri Light" pitchFamily="34" charset="0"/>
              </a:rPr>
              <a:t> de </a:t>
            </a:r>
            <a:r>
              <a:rPr lang="en-US" sz="1400" dirty="0" err="1" smtClean="0">
                <a:latin typeface="Calibri Light" pitchFamily="34" charset="0"/>
              </a:rPr>
              <a:t>que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vous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faites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sur</a:t>
            </a:r>
            <a:r>
              <a:rPr lang="en-US" sz="1400" dirty="0" smtClean="0">
                <a:latin typeface="Calibri Light" pitchFamily="34" charset="0"/>
              </a:rPr>
              <a:t> </a:t>
            </a:r>
            <a:r>
              <a:rPr lang="en-US" sz="1400" dirty="0" err="1" smtClean="0">
                <a:latin typeface="Calibri Light" pitchFamily="34" charset="0"/>
              </a:rPr>
              <a:t>votre</a:t>
            </a:r>
            <a:r>
              <a:rPr lang="en-US" sz="1400" dirty="0" smtClean="0">
                <a:latin typeface="Calibri Light" pitchFamily="34" charset="0"/>
              </a:rPr>
              <a:t> image et perception </a:t>
            </a:r>
            <a:r>
              <a:rPr lang="en-US" sz="1400" dirty="0" err="1" smtClean="0">
                <a:latin typeface="Calibri Light" pitchFamily="34" charset="0"/>
              </a:rPr>
              <a:t>publique</a:t>
            </a:r>
            <a:r>
              <a:rPr lang="en-US" sz="1400" dirty="0" smtClean="0">
                <a:latin typeface="Calibri Light" pitchFamily="34" charset="0"/>
              </a:rPr>
              <a:t>.</a:t>
            </a:r>
            <a:endParaRPr lang="en-US" sz="1400" dirty="0"/>
          </a:p>
        </p:txBody>
      </p:sp>
      <p:grpSp>
        <p:nvGrpSpPr>
          <p:cNvPr id="74" name="Group 73"/>
          <p:cNvGrpSpPr/>
          <p:nvPr/>
        </p:nvGrpSpPr>
        <p:grpSpPr>
          <a:xfrm>
            <a:off x="4315156" y="2185512"/>
            <a:ext cx="513689" cy="510249"/>
            <a:chOff x="5507038" y="2324101"/>
            <a:chExt cx="711200" cy="706438"/>
          </a:xfrm>
          <a:solidFill>
            <a:schemeClr val="bg1"/>
          </a:solidFill>
        </p:grpSpPr>
        <p:sp>
          <p:nvSpPr>
            <p:cNvPr id="75" name="Freeform 23"/>
            <p:cNvSpPr>
              <a:spLocks/>
            </p:cNvSpPr>
            <p:nvPr/>
          </p:nvSpPr>
          <p:spPr bwMode="auto">
            <a:xfrm>
              <a:off x="5575300" y="2374901"/>
              <a:ext cx="250825" cy="176213"/>
            </a:xfrm>
            <a:custGeom>
              <a:avLst/>
              <a:gdLst>
                <a:gd name="T0" fmla="*/ 758 w 790"/>
                <a:gd name="T1" fmla="*/ 78 h 559"/>
                <a:gd name="T2" fmla="*/ 772 w 790"/>
                <a:gd name="T3" fmla="*/ 72 h 559"/>
                <a:gd name="T4" fmla="*/ 783 w 790"/>
                <a:gd name="T5" fmla="*/ 61 h 559"/>
                <a:gd name="T6" fmla="*/ 789 w 790"/>
                <a:gd name="T7" fmla="*/ 48 h 559"/>
                <a:gd name="T8" fmla="*/ 789 w 790"/>
                <a:gd name="T9" fmla="*/ 31 h 559"/>
                <a:gd name="T10" fmla="*/ 783 w 790"/>
                <a:gd name="T11" fmla="*/ 18 h 559"/>
                <a:gd name="T12" fmla="*/ 772 w 790"/>
                <a:gd name="T13" fmla="*/ 6 h 559"/>
                <a:gd name="T14" fmla="*/ 758 w 790"/>
                <a:gd name="T15" fmla="*/ 0 h 559"/>
                <a:gd name="T16" fmla="*/ 749 w 790"/>
                <a:gd name="T17" fmla="*/ 0 h 559"/>
                <a:gd name="T18" fmla="*/ 689 w 790"/>
                <a:gd name="T19" fmla="*/ 2 h 559"/>
                <a:gd name="T20" fmla="*/ 627 w 790"/>
                <a:gd name="T21" fmla="*/ 9 h 559"/>
                <a:gd name="T22" fmla="*/ 569 w 790"/>
                <a:gd name="T23" fmla="*/ 20 h 559"/>
                <a:gd name="T24" fmla="*/ 511 w 790"/>
                <a:gd name="T25" fmla="*/ 36 h 559"/>
                <a:gd name="T26" fmla="*/ 455 w 790"/>
                <a:gd name="T27" fmla="*/ 55 h 559"/>
                <a:gd name="T28" fmla="*/ 400 w 790"/>
                <a:gd name="T29" fmla="*/ 78 h 559"/>
                <a:gd name="T30" fmla="*/ 349 w 790"/>
                <a:gd name="T31" fmla="*/ 106 h 559"/>
                <a:gd name="T32" fmla="*/ 298 w 790"/>
                <a:gd name="T33" fmla="*/ 137 h 559"/>
                <a:gd name="T34" fmla="*/ 251 w 790"/>
                <a:gd name="T35" fmla="*/ 172 h 559"/>
                <a:gd name="T36" fmla="*/ 207 w 790"/>
                <a:gd name="T37" fmla="*/ 210 h 559"/>
                <a:gd name="T38" fmla="*/ 164 w 790"/>
                <a:gd name="T39" fmla="*/ 252 h 559"/>
                <a:gd name="T40" fmla="*/ 125 w 790"/>
                <a:gd name="T41" fmla="*/ 296 h 559"/>
                <a:gd name="T42" fmla="*/ 89 w 790"/>
                <a:gd name="T43" fmla="*/ 344 h 559"/>
                <a:gd name="T44" fmla="*/ 57 w 790"/>
                <a:gd name="T45" fmla="*/ 395 h 559"/>
                <a:gd name="T46" fmla="*/ 28 w 790"/>
                <a:gd name="T47" fmla="*/ 449 h 559"/>
                <a:gd name="T48" fmla="*/ 3 w 790"/>
                <a:gd name="T49" fmla="*/ 505 h 559"/>
                <a:gd name="T50" fmla="*/ 0 w 790"/>
                <a:gd name="T51" fmla="*/ 520 h 559"/>
                <a:gd name="T52" fmla="*/ 3 w 790"/>
                <a:gd name="T53" fmla="*/ 535 h 559"/>
                <a:gd name="T54" fmla="*/ 12 w 790"/>
                <a:gd name="T55" fmla="*/ 548 h 559"/>
                <a:gd name="T56" fmla="*/ 24 w 790"/>
                <a:gd name="T57" fmla="*/ 556 h 559"/>
                <a:gd name="T58" fmla="*/ 40 w 790"/>
                <a:gd name="T59" fmla="*/ 559 h 559"/>
                <a:gd name="T60" fmla="*/ 51 w 790"/>
                <a:gd name="T61" fmla="*/ 557 h 559"/>
                <a:gd name="T62" fmla="*/ 61 w 790"/>
                <a:gd name="T63" fmla="*/ 553 h 559"/>
                <a:gd name="T64" fmla="*/ 70 w 790"/>
                <a:gd name="T65" fmla="*/ 545 h 559"/>
                <a:gd name="T66" fmla="*/ 77 w 790"/>
                <a:gd name="T67" fmla="*/ 535 h 559"/>
                <a:gd name="T68" fmla="*/ 99 w 790"/>
                <a:gd name="T69" fmla="*/ 483 h 559"/>
                <a:gd name="T70" fmla="*/ 125 w 790"/>
                <a:gd name="T71" fmla="*/ 435 h 559"/>
                <a:gd name="T72" fmla="*/ 155 w 790"/>
                <a:gd name="T73" fmla="*/ 389 h 559"/>
                <a:gd name="T74" fmla="*/ 187 w 790"/>
                <a:gd name="T75" fmla="*/ 347 h 559"/>
                <a:gd name="T76" fmla="*/ 222 w 790"/>
                <a:gd name="T77" fmla="*/ 306 h 559"/>
                <a:gd name="T78" fmla="*/ 260 w 790"/>
                <a:gd name="T79" fmla="*/ 269 h 559"/>
                <a:gd name="T80" fmla="*/ 301 w 790"/>
                <a:gd name="T81" fmla="*/ 235 h 559"/>
                <a:gd name="T82" fmla="*/ 343 w 790"/>
                <a:gd name="T83" fmla="*/ 203 h 559"/>
                <a:gd name="T84" fmla="*/ 388 w 790"/>
                <a:gd name="T85" fmla="*/ 175 h 559"/>
                <a:gd name="T86" fmla="*/ 435 w 790"/>
                <a:gd name="T87" fmla="*/ 151 h 559"/>
                <a:gd name="T88" fmla="*/ 484 w 790"/>
                <a:gd name="T89" fmla="*/ 130 h 559"/>
                <a:gd name="T90" fmla="*/ 535 w 790"/>
                <a:gd name="T91" fmla="*/ 112 h 559"/>
                <a:gd name="T92" fmla="*/ 587 w 790"/>
                <a:gd name="T93" fmla="*/ 98 h 559"/>
                <a:gd name="T94" fmla="*/ 640 w 790"/>
                <a:gd name="T95" fmla="*/ 88 h 559"/>
                <a:gd name="T96" fmla="*/ 695 w 790"/>
                <a:gd name="T97" fmla="*/ 81 h 559"/>
                <a:gd name="T98" fmla="*/ 749 w 790"/>
                <a:gd name="T99" fmla="*/ 79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90" h="559">
                  <a:moveTo>
                    <a:pt x="749" y="79"/>
                  </a:moveTo>
                  <a:lnTo>
                    <a:pt x="758" y="78"/>
                  </a:lnTo>
                  <a:lnTo>
                    <a:pt x="765" y="76"/>
                  </a:lnTo>
                  <a:lnTo>
                    <a:pt x="772" y="72"/>
                  </a:lnTo>
                  <a:lnTo>
                    <a:pt x="779" y="68"/>
                  </a:lnTo>
                  <a:lnTo>
                    <a:pt x="783" y="61"/>
                  </a:lnTo>
                  <a:lnTo>
                    <a:pt x="786" y="55"/>
                  </a:lnTo>
                  <a:lnTo>
                    <a:pt x="789" y="48"/>
                  </a:lnTo>
                  <a:lnTo>
                    <a:pt x="790" y="39"/>
                  </a:lnTo>
                  <a:lnTo>
                    <a:pt x="789" y="31"/>
                  </a:lnTo>
                  <a:lnTo>
                    <a:pt x="786" y="24"/>
                  </a:lnTo>
                  <a:lnTo>
                    <a:pt x="783" y="18"/>
                  </a:lnTo>
                  <a:lnTo>
                    <a:pt x="779" y="11"/>
                  </a:lnTo>
                  <a:lnTo>
                    <a:pt x="772" y="6"/>
                  </a:lnTo>
                  <a:lnTo>
                    <a:pt x="765" y="3"/>
                  </a:lnTo>
                  <a:lnTo>
                    <a:pt x="758" y="0"/>
                  </a:lnTo>
                  <a:lnTo>
                    <a:pt x="749" y="0"/>
                  </a:lnTo>
                  <a:lnTo>
                    <a:pt x="749" y="0"/>
                  </a:lnTo>
                  <a:lnTo>
                    <a:pt x="719" y="0"/>
                  </a:lnTo>
                  <a:lnTo>
                    <a:pt x="689" y="2"/>
                  </a:lnTo>
                  <a:lnTo>
                    <a:pt x="658" y="4"/>
                  </a:lnTo>
                  <a:lnTo>
                    <a:pt x="627" y="9"/>
                  </a:lnTo>
                  <a:lnTo>
                    <a:pt x="598" y="13"/>
                  </a:lnTo>
                  <a:lnTo>
                    <a:pt x="569" y="20"/>
                  </a:lnTo>
                  <a:lnTo>
                    <a:pt x="540" y="27"/>
                  </a:lnTo>
                  <a:lnTo>
                    <a:pt x="511" y="36"/>
                  </a:lnTo>
                  <a:lnTo>
                    <a:pt x="483" y="44"/>
                  </a:lnTo>
                  <a:lnTo>
                    <a:pt x="455" y="55"/>
                  </a:lnTo>
                  <a:lnTo>
                    <a:pt x="427" y="66"/>
                  </a:lnTo>
                  <a:lnTo>
                    <a:pt x="400" y="78"/>
                  </a:lnTo>
                  <a:lnTo>
                    <a:pt x="375" y="91"/>
                  </a:lnTo>
                  <a:lnTo>
                    <a:pt x="349" y="106"/>
                  </a:lnTo>
                  <a:lnTo>
                    <a:pt x="323" y="121"/>
                  </a:lnTo>
                  <a:lnTo>
                    <a:pt x="298" y="137"/>
                  </a:lnTo>
                  <a:lnTo>
                    <a:pt x="275" y="154"/>
                  </a:lnTo>
                  <a:lnTo>
                    <a:pt x="251" y="172"/>
                  </a:lnTo>
                  <a:lnTo>
                    <a:pt x="228" y="190"/>
                  </a:lnTo>
                  <a:lnTo>
                    <a:pt x="207" y="210"/>
                  </a:lnTo>
                  <a:lnTo>
                    <a:pt x="184" y="230"/>
                  </a:lnTo>
                  <a:lnTo>
                    <a:pt x="164" y="252"/>
                  </a:lnTo>
                  <a:lnTo>
                    <a:pt x="144" y="274"/>
                  </a:lnTo>
                  <a:lnTo>
                    <a:pt x="125" y="296"/>
                  </a:lnTo>
                  <a:lnTo>
                    <a:pt x="107" y="320"/>
                  </a:lnTo>
                  <a:lnTo>
                    <a:pt x="89" y="344"/>
                  </a:lnTo>
                  <a:lnTo>
                    <a:pt x="72" y="369"/>
                  </a:lnTo>
                  <a:lnTo>
                    <a:pt x="57" y="395"/>
                  </a:lnTo>
                  <a:lnTo>
                    <a:pt x="42" y="421"/>
                  </a:lnTo>
                  <a:lnTo>
                    <a:pt x="28" y="449"/>
                  </a:lnTo>
                  <a:lnTo>
                    <a:pt x="14" y="475"/>
                  </a:lnTo>
                  <a:lnTo>
                    <a:pt x="3" y="505"/>
                  </a:lnTo>
                  <a:lnTo>
                    <a:pt x="1" y="512"/>
                  </a:lnTo>
                  <a:lnTo>
                    <a:pt x="0" y="520"/>
                  </a:lnTo>
                  <a:lnTo>
                    <a:pt x="1" y="528"/>
                  </a:lnTo>
                  <a:lnTo>
                    <a:pt x="3" y="535"/>
                  </a:lnTo>
                  <a:lnTo>
                    <a:pt x="6" y="541"/>
                  </a:lnTo>
                  <a:lnTo>
                    <a:pt x="12" y="548"/>
                  </a:lnTo>
                  <a:lnTo>
                    <a:pt x="18" y="553"/>
                  </a:lnTo>
                  <a:lnTo>
                    <a:pt x="24" y="556"/>
                  </a:lnTo>
                  <a:lnTo>
                    <a:pt x="32" y="558"/>
                  </a:lnTo>
                  <a:lnTo>
                    <a:pt x="40" y="559"/>
                  </a:lnTo>
                  <a:lnTo>
                    <a:pt x="46" y="559"/>
                  </a:lnTo>
                  <a:lnTo>
                    <a:pt x="51" y="557"/>
                  </a:lnTo>
                  <a:lnTo>
                    <a:pt x="57" y="556"/>
                  </a:lnTo>
                  <a:lnTo>
                    <a:pt x="61" y="553"/>
                  </a:lnTo>
                  <a:lnTo>
                    <a:pt x="67" y="549"/>
                  </a:lnTo>
                  <a:lnTo>
                    <a:pt x="70" y="545"/>
                  </a:lnTo>
                  <a:lnTo>
                    <a:pt x="74" y="540"/>
                  </a:lnTo>
                  <a:lnTo>
                    <a:pt x="77" y="535"/>
                  </a:lnTo>
                  <a:lnTo>
                    <a:pt x="88" y="509"/>
                  </a:lnTo>
                  <a:lnTo>
                    <a:pt x="99" y="483"/>
                  </a:lnTo>
                  <a:lnTo>
                    <a:pt x="112" y="460"/>
                  </a:lnTo>
                  <a:lnTo>
                    <a:pt x="125" y="435"/>
                  </a:lnTo>
                  <a:lnTo>
                    <a:pt x="140" y="413"/>
                  </a:lnTo>
                  <a:lnTo>
                    <a:pt x="155" y="389"/>
                  </a:lnTo>
                  <a:lnTo>
                    <a:pt x="171" y="368"/>
                  </a:lnTo>
                  <a:lnTo>
                    <a:pt x="187" y="347"/>
                  </a:lnTo>
                  <a:lnTo>
                    <a:pt x="204" y="327"/>
                  </a:lnTo>
                  <a:lnTo>
                    <a:pt x="222" y="306"/>
                  </a:lnTo>
                  <a:lnTo>
                    <a:pt x="241" y="287"/>
                  </a:lnTo>
                  <a:lnTo>
                    <a:pt x="260" y="269"/>
                  </a:lnTo>
                  <a:lnTo>
                    <a:pt x="281" y="252"/>
                  </a:lnTo>
                  <a:lnTo>
                    <a:pt x="301" y="235"/>
                  </a:lnTo>
                  <a:lnTo>
                    <a:pt x="322" y="219"/>
                  </a:lnTo>
                  <a:lnTo>
                    <a:pt x="343" y="203"/>
                  </a:lnTo>
                  <a:lnTo>
                    <a:pt x="366" y="189"/>
                  </a:lnTo>
                  <a:lnTo>
                    <a:pt x="388" y="175"/>
                  </a:lnTo>
                  <a:lnTo>
                    <a:pt x="411" y="162"/>
                  </a:lnTo>
                  <a:lnTo>
                    <a:pt x="435" y="151"/>
                  </a:lnTo>
                  <a:lnTo>
                    <a:pt x="460" y="140"/>
                  </a:lnTo>
                  <a:lnTo>
                    <a:pt x="484" y="130"/>
                  </a:lnTo>
                  <a:lnTo>
                    <a:pt x="509" y="121"/>
                  </a:lnTo>
                  <a:lnTo>
                    <a:pt x="535" y="112"/>
                  </a:lnTo>
                  <a:lnTo>
                    <a:pt x="560" y="104"/>
                  </a:lnTo>
                  <a:lnTo>
                    <a:pt x="587" y="98"/>
                  </a:lnTo>
                  <a:lnTo>
                    <a:pt x="613" y="93"/>
                  </a:lnTo>
                  <a:lnTo>
                    <a:pt x="640" y="88"/>
                  </a:lnTo>
                  <a:lnTo>
                    <a:pt x="668" y="84"/>
                  </a:lnTo>
                  <a:lnTo>
                    <a:pt x="695" y="81"/>
                  </a:lnTo>
                  <a:lnTo>
                    <a:pt x="723" y="80"/>
                  </a:lnTo>
                  <a:lnTo>
                    <a:pt x="749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4"/>
            <p:cNvSpPr>
              <a:spLocks/>
            </p:cNvSpPr>
            <p:nvPr/>
          </p:nvSpPr>
          <p:spPr bwMode="auto">
            <a:xfrm>
              <a:off x="5557838" y="2574926"/>
              <a:ext cx="30163" cy="68263"/>
            </a:xfrm>
            <a:custGeom>
              <a:avLst/>
              <a:gdLst>
                <a:gd name="T0" fmla="*/ 58 w 92"/>
                <a:gd name="T1" fmla="*/ 0 h 215"/>
                <a:gd name="T2" fmla="*/ 50 w 92"/>
                <a:gd name="T3" fmla="*/ 0 h 215"/>
                <a:gd name="T4" fmla="*/ 42 w 92"/>
                <a:gd name="T5" fmla="*/ 1 h 215"/>
                <a:gd name="T6" fmla="*/ 36 w 92"/>
                <a:gd name="T7" fmla="*/ 3 h 215"/>
                <a:gd name="T8" fmla="*/ 29 w 92"/>
                <a:gd name="T9" fmla="*/ 7 h 215"/>
                <a:gd name="T10" fmla="*/ 22 w 92"/>
                <a:gd name="T11" fmla="*/ 12 h 215"/>
                <a:gd name="T12" fmla="*/ 18 w 92"/>
                <a:gd name="T13" fmla="*/ 18 h 215"/>
                <a:gd name="T14" fmla="*/ 14 w 92"/>
                <a:gd name="T15" fmla="*/ 25 h 215"/>
                <a:gd name="T16" fmla="*/ 12 w 92"/>
                <a:gd name="T17" fmla="*/ 32 h 215"/>
                <a:gd name="T18" fmla="*/ 7 w 92"/>
                <a:gd name="T19" fmla="*/ 68 h 215"/>
                <a:gd name="T20" fmla="*/ 2 w 92"/>
                <a:gd name="T21" fmla="*/ 103 h 215"/>
                <a:gd name="T22" fmla="*/ 0 w 92"/>
                <a:gd name="T23" fmla="*/ 139 h 215"/>
                <a:gd name="T24" fmla="*/ 0 w 92"/>
                <a:gd name="T25" fmla="*/ 176 h 215"/>
                <a:gd name="T26" fmla="*/ 0 w 92"/>
                <a:gd name="T27" fmla="*/ 183 h 215"/>
                <a:gd name="T28" fmla="*/ 2 w 92"/>
                <a:gd name="T29" fmla="*/ 191 h 215"/>
                <a:gd name="T30" fmla="*/ 7 w 92"/>
                <a:gd name="T31" fmla="*/ 198 h 215"/>
                <a:gd name="T32" fmla="*/ 11 w 92"/>
                <a:gd name="T33" fmla="*/ 204 h 215"/>
                <a:gd name="T34" fmla="*/ 17 w 92"/>
                <a:gd name="T35" fmla="*/ 208 h 215"/>
                <a:gd name="T36" fmla="*/ 23 w 92"/>
                <a:gd name="T37" fmla="*/ 213 h 215"/>
                <a:gd name="T38" fmla="*/ 31 w 92"/>
                <a:gd name="T39" fmla="*/ 215 h 215"/>
                <a:gd name="T40" fmla="*/ 39 w 92"/>
                <a:gd name="T41" fmla="*/ 215 h 215"/>
                <a:gd name="T42" fmla="*/ 48 w 92"/>
                <a:gd name="T43" fmla="*/ 215 h 215"/>
                <a:gd name="T44" fmla="*/ 55 w 92"/>
                <a:gd name="T45" fmla="*/ 213 h 215"/>
                <a:gd name="T46" fmla="*/ 61 w 92"/>
                <a:gd name="T47" fmla="*/ 208 h 215"/>
                <a:gd name="T48" fmla="*/ 68 w 92"/>
                <a:gd name="T49" fmla="*/ 204 h 215"/>
                <a:gd name="T50" fmla="*/ 73 w 92"/>
                <a:gd name="T51" fmla="*/ 198 h 215"/>
                <a:gd name="T52" fmla="*/ 76 w 92"/>
                <a:gd name="T53" fmla="*/ 191 h 215"/>
                <a:gd name="T54" fmla="*/ 78 w 92"/>
                <a:gd name="T55" fmla="*/ 183 h 215"/>
                <a:gd name="T56" fmla="*/ 79 w 92"/>
                <a:gd name="T57" fmla="*/ 176 h 215"/>
                <a:gd name="T58" fmla="*/ 80 w 92"/>
                <a:gd name="T59" fmla="*/ 143 h 215"/>
                <a:gd name="T60" fmla="*/ 83 w 92"/>
                <a:gd name="T61" fmla="*/ 111 h 215"/>
                <a:gd name="T62" fmla="*/ 86 w 92"/>
                <a:gd name="T63" fmla="*/ 78 h 215"/>
                <a:gd name="T64" fmla="*/ 90 w 92"/>
                <a:gd name="T65" fmla="*/ 47 h 215"/>
                <a:gd name="T66" fmla="*/ 92 w 92"/>
                <a:gd name="T67" fmla="*/ 39 h 215"/>
                <a:gd name="T68" fmla="*/ 90 w 92"/>
                <a:gd name="T69" fmla="*/ 31 h 215"/>
                <a:gd name="T70" fmla="*/ 88 w 92"/>
                <a:gd name="T71" fmla="*/ 23 h 215"/>
                <a:gd name="T72" fmla="*/ 84 w 92"/>
                <a:gd name="T73" fmla="*/ 17 h 215"/>
                <a:gd name="T74" fmla="*/ 79 w 92"/>
                <a:gd name="T75" fmla="*/ 11 h 215"/>
                <a:gd name="T76" fmla="*/ 74 w 92"/>
                <a:gd name="T77" fmla="*/ 6 h 215"/>
                <a:gd name="T78" fmla="*/ 66 w 92"/>
                <a:gd name="T79" fmla="*/ 2 h 215"/>
                <a:gd name="T80" fmla="*/ 58 w 92"/>
                <a:gd name="T8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2" h="215">
                  <a:moveTo>
                    <a:pt x="58" y="0"/>
                  </a:moveTo>
                  <a:lnTo>
                    <a:pt x="50" y="0"/>
                  </a:lnTo>
                  <a:lnTo>
                    <a:pt x="42" y="1"/>
                  </a:lnTo>
                  <a:lnTo>
                    <a:pt x="36" y="3"/>
                  </a:lnTo>
                  <a:lnTo>
                    <a:pt x="29" y="7"/>
                  </a:lnTo>
                  <a:lnTo>
                    <a:pt x="22" y="12"/>
                  </a:lnTo>
                  <a:lnTo>
                    <a:pt x="18" y="18"/>
                  </a:lnTo>
                  <a:lnTo>
                    <a:pt x="14" y="25"/>
                  </a:lnTo>
                  <a:lnTo>
                    <a:pt x="12" y="32"/>
                  </a:lnTo>
                  <a:lnTo>
                    <a:pt x="7" y="68"/>
                  </a:lnTo>
                  <a:lnTo>
                    <a:pt x="2" y="103"/>
                  </a:lnTo>
                  <a:lnTo>
                    <a:pt x="0" y="139"/>
                  </a:lnTo>
                  <a:lnTo>
                    <a:pt x="0" y="176"/>
                  </a:lnTo>
                  <a:lnTo>
                    <a:pt x="0" y="183"/>
                  </a:lnTo>
                  <a:lnTo>
                    <a:pt x="2" y="191"/>
                  </a:lnTo>
                  <a:lnTo>
                    <a:pt x="7" y="198"/>
                  </a:lnTo>
                  <a:lnTo>
                    <a:pt x="11" y="204"/>
                  </a:lnTo>
                  <a:lnTo>
                    <a:pt x="17" y="208"/>
                  </a:lnTo>
                  <a:lnTo>
                    <a:pt x="23" y="213"/>
                  </a:lnTo>
                  <a:lnTo>
                    <a:pt x="31" y="215"/>
                  </a:lnTo>
                  <a:lnTo>
                    <a:pt x="39" y="215"/>
                  </a:lnTo>
                  <a:lnTo>
                    <a:pt x="48" y="215"/>
                  </a:lnTo>
                  <a:lnTo>
                    <a:pt x="55" y="213"/>
                  </a:lnTo>
                  <a:lnTo>
                    <a:pt x="61" y="208"/>
                  </a:lnTo>
                  <a:lnTo>
                    <a:pt x="68" y="204"/>
                  </a:lnTo>
                  <a:lnTo>
                    <a:pt x="73" y="198"/>
                  </a:lnTo>
                  <a:lnTo>
                    <a:pt x="76" y="191"/>
                  </a:lnTo>
                  <a:lnTo>
                    <a:pt x="78" y="183"/>
                  </a:lnTo>
                  <a:lnTo>
                    <a:pt x="79" y="176"/>
                  </a:lnTo>
                  <a:lnTo>
                    <a:pt x="80" y="143"/>
                  </a:lnTo>
                  <a:lnTo>
                    <a:pt x="83" y="111"/>
                  </a:lnTo>
                  <a:lnTo>
                    <a:pt x="86" y="78"/>
                  </a:lnTo>
                  <a:lnTo>
                    <a:pt x="90" y="47"/>
                  </a:lnTo>
                  <a:lnTo>
                    <a:pt x="92" y="39"/>
                  </a:lnTo>
                  <a:lnTo>
                    <a:pt x="90" y="31"/>
                  </a:lnTo>
                  <a:lnTo>
                    <a:pt x="88" y="23"/>
                  </a:lnTo>
                  <a:lnTo>
                    <a:pt x="84" y="17"/>
                  </a:lnTo>
                  <a:lnTo>
                    <a:pt x="79" y="11"/>
                  </a:lnTo>
                  <a:lnTo>
                    <a:pt x="74" y="6"/>
                  </a:lnTo>
                  <a:lnTo>
                    <a:pt x="66" y="2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5"/>
            <p:cNvSpPr>
              <a:spLocks noEditPoints="1"/>
            </p:cNvSpPr>
            <p:nvPr/>
          </p:nvSpPr>
          <p:spPr bwMode="auto">
            <a:xfrm>
              <a:off x="5507038" y="2324101"/>
              <a:ext cx="711200" cy="706438"/>
            </a:xfrm>
            <a:custGeom>
              <a:avLst/>
              <a:gdLst>
                <a:gd name="T0" fmla="*/ 874 w 2240"/>
                <a:gd name="T1" fmla="*/ 1847 h 2227"/>
                <a:gd name="T2" fmla="*/ 661 w 2240"/>
                <a:gd name="T3" fmla="*/ 1797 h 2227"/>
                <a:gd name="T4" fmla="*/ 470 w 2240"/>
                <a:gd name="T5" fmla="*/ 1700 h 2227"/>
                <a:gd name="T6" fmla="*/ 310 w 2240"/>
                <a:gd name="T7" fmla="*/ 1560 h 2227"/>
                <a:gd name="T8" fmla="*/ 187 w 2240"/>
                <a:gd name="T9" fmla="*/ 1387 h 2227"/>
                <a:gd name="T10" fmla="*/ 107 w 2240"/>
                <a:gd name="T11" fmla="*/ 1186 h 2227"/>
                <a:gd name="T12" fmla="*/ 79 w 2240"/>
                <a:gd name="T13" fmla="*/ 966 h 2227"/>
                <a:gd name="T14" fmla="*/ 107 w 2240"/>
                <a:gd name="T15" fmla="*/ 744 h 2227"/>
                <a:gd name="T16" fmla="*/ 187 w 2240"/>
                <a:gd name="T17" fmla="*/ 544 h 2227"/>
                <a:gd name="T18" fmla="*/ 310 w 2240"/>
                <a:gd name="T19" fmla="*/ 370 h 2227"/>
                <a:gd name="T20" fmla="*/ 470 w 2240"/>
                <a:gd name="T21" fmla="*/ 231 h 2227"/>
                <a:gd name="T22" fmla="*/ 661 w 2240"/>
                <a:gd name="T23" fmla="*/ 133 h 2227"/>
                <a:gd name="T24" fmla="*/ 875 w 2240"/>
                <a:gd name="T25" fmla="*/ 84 h 2227"/>
                <a:gd name="T26" fmla="*/ 1100 w 2240"/>
                <a:gd name="T27" fmla="*/ 89 h 2227"/>
                <a:gd name="T28" fmla="*/ 1309 w 2240"/>
                <a:gd name="T29" fmla="*/ 150 h 2227"/>
                <a:gd name="T30" fmla="*/ 1495 w 2240"/>
                <a:gd name="T31" fmla="*/ 256 h 2227"/>
                <a:gd name="T32" fmla="*/ 1648 w 2240"/>
                <a:gd name="T33" fmla="*/ 403 h 2227"/>
                <a:gd name="T34" fmla="*/ 1763 w 2240"/>
                <a:gd name="T35" fmla="*/ 582 h 2227"/>
                <a:gd name="T36" fmla="*/ 1833 w 2240"/>
                <a:gd name="T37" fmla="*/ 787 h 2227"/>
                <a:gd name="T38" fmla="*/ 1850 w 2240"/>
                <a:gd name="T39" fmla="*/ 1010 h 2227"/>
                <a:gd name="T40" fmla="*/ 1810 w 2240"/>
                <a:gd name="T41" fmla="*/ 1229 h 2227"/>
                <a:gd name="T42" fmla="*/ 1722 w 2240"/>
                <a:gd name="T43" fmla="*/ 1425 h 2227"/>
                <a:gd name="T44" fmla="*/ 1591 w 2240"/>
                <a:gd name="T45" fmla="*/ 1591 h 2227"/>
                <a:gd name="T46" fmla="*/ 1423 w 2240"/>
                <a:gd name="T47" fmla="*/ 1722 h 2227"/>
                <a:gd name="T48" fmla="*/ 1227 w 2240"/>
                <a:gd name="T49" fmla="*/ 1811 h 2227"/>
                <a:gd name="T50" fmla="*/ 1010 w 2240"/>
                <a:gd name="T51" fmla="*/ 1850 h 2227"/>
                <a:gd name="T52" fmla="*/ 1737 w 2240"/>
                <a:gd name="T53" fmla="*/ 1545 h 2227"/>
                <a:gd name="T54" fmla="*/ 1847 w 2240"/>
                <a:gd name="T55" fmla="*/ 1357 h 2227"/>
                <a:gd name="T56" fmla="*/ 1913 w 2240"/>
                <a:gd name="T57" fmla="*/ 1147 h 2227"/>
                <a:gd name="T58" fmla="*/ 1929 w 2240"/>
                <a:gd name="T59" fmla="*/ 915 h 2227"/>
                <a:gd name="T60" fmla="*/ 1887 w 2240"/>
                <a:gd name="T61" fmla="*/ 678 h 2227"/>
                <a:gd name="T62" fmla="*/ 1790 w 2240"/>
                <a:gd name="T63" fmla="*/ 465 h 2227"/>
                <a:gd name="T64" fmla="*/ 1647 w 2240"/>
                <a:gd name="T65" fmla="*/ 283 h 2227"/>
                <a:gd name="T66" fmla="*/ 1465 w 2240"/>
                <a:gd name="T67" fmla="*/ 140 h 2227"/>
                <a:gd name="T68" fmla="*/ 1252 w 2240"/>
                <a:gd name="T69" fmla="*/ 43 h 2227"/>
                <a:gd name="T70" fmla="*/ 1015 w 2240"/>
                <a:gd name="T71" fmla="*/ 1 h 2227"/>
                <a:gd name="T72" fmla="*/ 771 w 2240"/>
                <a:gd name="T73" fmla="*/ 19 h 2227"/>
                <a:gd name="T74" fmla="*/ 547 w 2240"/>
                <a:gd name="T75" fmla="*/ 95 h 2227"/>
                <a:gd name="T76" fmla="*/ 351 w 2240"/>
                <a:gd name="T77" fmla="*/ 220 h 2227"/>
                <a:gd name="T78" fmla="*/ 191 w 2240"/>
                <a:gd name="T79" fmla="*/ 388 h 2227"/>
                <a:gd name="T80" fmla="*/ 76 w 2240"/>
                <a:gd name="T81" fmla="*/ 590 h 2227"/>
                <a:gd name="T82" fmla="*/ 11 w 2240"/>
                <a:gd name="T83" fmla="*/ 818 h 2227"/>
                <a:gd name="T84" fmla="*/ 4 w 2240"/>
                <a:gd name="T85" fmla="*/ 1064 h 2227"/>
                <a:gd name="T86" fmla="*/ 58 w 2240"/>
                <a:gd name="T87" fmla="*/ 1297 h 2227"/>
                <a:gd name="T88" fmla="*/ 164 w 2240"/>
                <a:gd name="T89" fmla="*/ 1505 h 2227"/>
                <a:gd name="T90" fmla="*/ 316 w 2240"/>
                <a:gd name="T91" fmla="*/ 1680 h 2227"/>
                <a:gd name="T92" fmla="*/ 504 w 2240"/>
                <a:gd name="T93" fmla="*/ 1814 h 2227"/>
                <a:gd name="T94" fmla="*/ 724 w 2240"/>
                <a:gd name="T95" fmla="*/ 1900 h 2227"/>
                <a:gd name="T96" fmla="*/ 964 w 2240"/>
                <a:gd name="T97" fmla="*/ 1931 h 2227"/>
                <a:gd name="T98" fmla="*/ 1060 w 2240"/>
                <a:gd name="T99" fmla="*/ 1926 h 2227"/>
                <a:gd name="T100" fmla="*/ 1196 w 2240"/>
                <a:gd name="T101" fmla="*/ 1903 h 2227"/>
                <a:gd name="T102" fmla="*/ 1408 w 2240"/>
                <a:gd name="T103" fmla="*/ 1823 h 2227"/>
                <a:gd name="T104" fmla="*/ 1592 w 2240"/>
                <a:gd name="T105" fmla="*/ 1699 h 2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40" h="2227">
                  <a:moveTo>
                    <a:pt x="964" y="1851"/>
                  </a:moveTo>
                  <a:lnTo>
                    <a:pt x="964" y="1891"/>
                  </a:lnTo>
                  <a:lnTo>
                    <a:pt x="964" y="1851"/>
                  </a:lnTo>
                  <a:lnTo>
                    <a:pt x="920" y="1850"/>
                  </a:lnTo>
                  <a:lnTo>
                    <a:pt x="874" y="1847"/>
                  </a:lnTo>
                  <a:lnTo>
                    <a:pt x="830" y="1841"/>
                  </a:lnTo>
                  <a:lnTo>
                    <a:pt x="787" y="1833"/>
                  </a:lnTo>
                  <a:lnTo>
                    <a:pt x="744" y="1823"/>
                  </a:lnTo>
                  <a:lnTo>
                    <a:pt x="701" y="1811"/>
                  </a:lnTo>
                  <a:lnTo>
                    <a:pt x="661" y="1797"/>
                  </a:lnTo>
                  <a:lnTo>
                    <a:pt x="621" y="1782"/>
                  </a:lnTo>
                  <a:lnTo>
                    <a:pt x="582" y="1764"/>
                  </a:lnTo>
                  <a:lnTo>
                    <a:pt x="543" y="1744"/>
                  </a:lnTo>
                  <a:lnTo>
                    <a:pt x="506" y="1722"/>
                  </a:lnTo>
                  <a:lnTo>
                    <a:pt x="470" y="1700"/>
                  </a:lnTo>
                  <a:lnTo>
                    <a:pt x="435" y="1674"/>
                  </a:lnTo>
                  <a:lnTo>
                    <a:pt x="402" y="1648"/>
                  </a:lnTo>
                  <a:lnTo>
                    <a:pt x="370" y="1620"/>
                  </a:lnTo>
                  <a:lnTo>
                    <a:pt x="339" y="1591"/>
                  </a:lnTo>
                  <a:lnTo>
                    <a:pt x="310" y="1560"/>
                  </a:lnTo>
                  <a:lnTo>
                    <a:pt x="282" y="1529"/>
                  </a:lnTo>
                  <a:lnTo>
                    <a:pt x="256" y="1495"/>
                  </a:lnTo>
                  <a:lnTo>
                    <a:pt x="230" y="1460"/>
                  </a:lnTo>
                  <a:lnTo>
                    <a:pt x="208" y="1425"/>
                  </a:lnTo>
                  <a:lnTo>
                    <a:pt x="187" y="1387"/>
                  </a:lnTo>
                  <a:lnTo>
                    <a:pt x="167" y="1348"/>
                  </a:lnTo>
                  <a:lnTo>
                    <a:pt x="149" y="1309"/>
                  </a:lnTo>
                  <a:lnTo>
                    <a:pt x="133" y="1269"/>
                  </a:lnTo>
                  <a:lnTo>
                    <a:pt x="120" y="1229"/>
                  </a:lnTo>
                  <a:lnTo>
                    <a:pt x="107" y="1186"/>
                  </a:lnTo>
                  <a:lnTo>
                    <a:pt x="97" y="1144"/>
                  </a:lnTo>
                  <a:lnTo>
                    <a:pt x="89" y="1100"/>
                  </a:lnTo>
                  <a:lnTo>
                    <a:pt x="84" y="1055"/>
                  </a:lnTo>
                  <a:lnTo>
                    <a:pt x="80" y="1010"/>
                  </a:lnTo>
                  <a:lnTo>
                    <a:pt x="79" y="966"/>
                  </a:lnTo>
                  <a:lnTo>
                    <a:pt x="80" y="920"/>
                  </a:lnTo>
                  <a:lnTo>
                    <a:pt x="84" y="875"/>
                  </a:lnTo>
                  <a:lnTo>
                    <a:pt x="89" y="830"/>
                  </a:lnTo>
                  <a:lnTo>
                    <a:pt x="97" y="787"/>
                  </a:lnTo>
                  <a:lnTo>
                    <a:pt x="107" y="744"/>
                  </a:lnTo>
                  <a:lnTo>
                    <a:pt x="120" y="703"/>
                  </a:lnTo>
                  <a:lnTo>
                    <a:pt x="133" y="661"/>
                  </a:lnTo>
                  <a:lnTo>
                    <a:pt x="149" y="621"/>
                  </a:lnTo>
                  <a:lnTo>
                    <a:pt x="167" y="582"/>
                  </a:lnTo>
                  <a:lnTo>
                    <a:pt x="187" y="544"/>
                  </a:lnTo>
                  <a:lnTo>
                    <a:pt x="208" y="507"/>
                  </a:lnTo>
                  <a:lnTo>
                    <a:pt x="231" y="471"/>
                  </a:lnTo>
                  <a:lnTo>
                    <a:pt x="256" y="436"/>
                  </a:lnTo>
                  <a:lnTo>
                    <a:pt x="282" y="403"/>
                  </a:lnTo>
                  <a:lnTo>
                    <a:pt x="310" y="370"/>
                  </a:lnTo>
                  <a:lnTo>
                    <a:pt x="339" y="339"/>
                  </a:lnTo>
                  <a:lnTo>
                    <a:pt x="370" y="310"/>
                  </a:lnTo>
                  <a:lnTo>
                    <a:pt x="402" y="282"/>
                  </a:lnTo>
                  <a:lnTo>
                    <a:pt x="435" y="256"/>
                  </a:lnTo>
                  <a:lnTo>
                    <a:pt x="470" y="231"/>
                  </a:lnTo>
                  <a:lnTo>
                    <a:pt x="506" y="208"/>
                  </a:lnTo>
                  <a:lnTo>
                    <a:pt x="544" y="187"/>
                  </a:lnTo>
                  <a:lnTo>
                    <a:pt x="582" y="168"/>
                  </a:lnTo>
                  <a:lnTo>
                    <a:pt x="621" y="150"/>
                  </a:lnTo>
                  <a:lnTo>
                    <a:pt x="661" y="133"/>
                  </a:lnTo>
                  <a:lnTo>
                    <a:pt x="701" y="119"/>
                  </a:lnTo>
                  <a:lnTo>
                    <a:pt x="744" y="107"/>
                  </a:lnTo>
                  <a:lnTo>
                    <a:pt x="787" y="97"/>
                  </a:lnTo>
                  <a:lnTo>
                    <a:pt x="830" y="89"/>
                  </a:lnTo>
                  <a:lnTo>
                    <a:pt x="875" y="84"/>
                  </a:lnTo>
                  <a:lnTo>
                    <a:pt x="920" y="80"/>
                  </a:lnTo>
                  <a:lnTo>
                    <a:pt x="964" y="79"/>
                  </a:lnTo>
                  <a:lnTo>
                    <a:pt x="1010" y="80"/>
                  </a:lnTo>
                  <a:lnTo>
                    <a:pt x="1055" y="84"/>
                  </a:lnTo>
                  <a:lnTo>
                    <a:pt x="1100" y="89"/>
                  </a:lnTo>
                  <a:lnTo>
                    <a:pt x="1143" y="97"/>
                  </a:lnTo>
                  <a:lnTo>
                    <a:pt x="1186" y="107"/>
                  </a:lnTo>
                  <a:lnTo>
                    <a:pt x="1227" y="119"/>
                  </a:lnTo>
                  <a:lnTo>
                    <a:pt x="1269" y="133"/>
                  </a:lnTo>
                  <a:lnTo>
                    <a:pt x="1309" y="150"/>
                  </a:lnTo>
                  <a:lnTo>
                    <a:pt x="1348" y="166"/>
                  </a:lnTo>
                  <a:lnTo>
                    <a:pt x="1386" y="187"/>
                  </a:lnTo>
                  <a:lnTo>
                    <a:pt x="1423" y="208"/>
                  </a:lnTo>
                  <a:lnTo>
                    <a:pt x="1460" y="231"/>
                  </a:lnTo>
                  <a:lnTo>
                    <a:pt x="1495" y="256"/>
                  </a:lnTo>
                  <a:lnTo>
                    <a:pt x="1527" y="282"/>
                  </a:lnTo>
                  <a:lnTo>
                    <a:pt x="1560" y="310"/>
                  </a:lnTo>
                  <a:lnTo>
                    <a:pt x="1591" y="339"/>
                  </a:lnTo>
                  <a:lnTo>
                    <a:pt x="1620" y="370"/>
                  </a:lnTo>
                  <a:lnTo>
                    <a:pt x="1648" y="403"/>
                  </a:lnTo>
                  <a:lnTo>
                    <a:pt x="1674" y="435"/>
                  </a:lnTo>
                  <a:lnTo>
                    <a:pt x="1699" y="471"/>
                  </a:lnTo>
                  <a:lnTo>
                    <a:pt x="1722" y="507"/>
                  </a:lnTo>
                  <a:lnTo>
                    <a:pt x="1743" y="544"/>
                  </a:lnTo>
                  <a:lnTo>
                    <a:pt x="1763" y="582"/>
                  </a:lnTo>
                  <a:lnTo>
                    <a:pt x="1780" y="621"/>
                  </a:lnTo>
                  <a:lnTo>
                    <a:pt x="1797" y="661"/>
                  </a:lnTo>
                  <a:lnTo>
                    <a:pt x="1810" y="703"/>
                  </a:lnTo>
                  <a:lnTo>
                    <a:pt x="1823" y="744"/>
                  </a:lnTo>
                  <a:lnTo>
                    <a:pt x="1833" y="787"/>
                  </a:lnTo>
                  <a:lnTo>
                    <a:pt x="1841" y="830"/>
                  </a:lnTo>
                  <a:lnTo>
                    <a:pt x="1846" y="875"/>
                  </a:lnTo>
                  <a:lnTo>
                    <a:pt x="1850" y="920"/>
                  </a:lnTo>
                  <a:lnTo>
                    <a:pt x="1851" y="966"/>
                  </a:lnTo>
                  <a:lnTo>
                    <a:pt x="1850" y="1010"/>
                  </a:lnTo>
                  <a:lnTo>
                    <a:pt x="1846" y="1055"/>
                  </a:lnTo>
                  <a:lnTo>
                    <a:pt x="1841" y="1100"/>
                  </a:lnTo>
                  <a:lnTo>
                    <a:pt x="1833" y="1144"/>
                  </a:lnTo>
                  <a:lnTo>
                    <a:pt x="1823" y="1186"/>
                  </a:lnTo>
                  <a:lnTo>
                    <a:pt x="1810" y="1229"/>
                  </a:lnTo>
                  <a:lnTo>
                    <a:pt x="1797" y="1269"/>
                  </a:lnTo>
                  <a:lnTo>
                    <a:pt x="1780" y="1309"/>
                  </a:lnTo>
                  <a:lnTo>
                    <a:pt x="1763" y="1348"/>
                  </a:lnTo>
                  <a:lnTo>
                    <a:pt x="1743" y="1387"/>
                  </a:lnTo>
                  <a:lnTo>
                    <a:pt x="1722" y="1425"/>
                  </a:lnTo>
                  <a:lnTo>
                    <a:pt x="1699" y="1460"/>
                  </a:lnTo>
                  <a:lnTo>
                    <a:pt x="1674" y="1495"/>
                  </a:lnTo>
                  <a:lnTo>
                    <a:pt x="1648" y="1529"/>
                  </a:lnTo>
                  <a:lnTo>
                    <a:pt x="1620" y="1560"/>
                  </a:lnTo>
                  <a:lnTo>
                    <a:pt x="1591" y="1591"/>
                  </a:lnTo>
                  <a:lnTo>
                    <a:pt x="1560" y="1620"/>
                  </a:lnTo>
                  <a:lnTo>
                    <a:pt x="1527" y="1648"/>
                  </a:lnTo>
                  <a:lnTo>
                    <a:pt x="1495" y="1674"/>
                  </a:lnTo>
                  <a:lnTo>
                    <a:pt x="1460" y="1700"/>
                  </a:lnTo>
                  <a:lnTo>
                    <a:pt x="1423" y="1722"/>
                  </a:lnTo>
                  <a:lnTo>
                    <a:pt x="1386" y="1744"/>
                  </a:lnTo>
                  <a:lnTo>
                    <a:pt x="1348" y="1764"/>
                  </a:lnTo>
                  <a:lnTo>
                    <a:pt x="1309" y="1782"/>
                  </a:lnTo>
                  <a:lnTo>
                    <a:pt x="1269" y="1797"/>
                  </a:lnTo>
                  <a:lnTo>
                    <a:pt x="1227" y="1811"/>
                  </a:lnTo>
                  <a:lnTo>
                    <a:pt x="1186" y="1823"/>
                  </a:lnTo>
                  <a:lnTo>
                    <a:pt x="1143" y="1833"/>
                  </a:lnTo>
                  <a:lnTo>
                    <a:pt x="1100" y="1841"/>
                  </a:lnTo>
                  <a:lnTo>
                    <a:pt x="1055" y="1847"/>
                  </a:lnTo>
                  <a:lnTo>
                    <a:pt x="1010" y="1850"/>
                  </a:lnTo>
                  <a:lnTo>
                    <a:pt x="964" y="1851"/>
                  </a:lnTo>
                  <a:close/>
                  <a:moveTo>
                    <a:pt x="2240" y="2171"/>
                  </a:moveTo>
                  <a:lnTo>
                    <a:pt x="1682" y="1612"/>
                  </a:lnTo>
                  <a:lnTo>
                    <a:pt x="1710" y="1579"/>
                  </a:lnTo>
                  <a:lnTo>
                    <a:pt x="1737" y="1545"/>
                  </a:lnTo>
                  <a:lnTo>
                    <a:pt x="1762" y="1510"/>
                  </a:lnTo>
                  <a:lnTo>
                    <a:pt x="1786" y="1474"/>
                  </a:lnTo>
                  <a:lnTo>
                    <a:pt x="1808" y="1436"/>
                  </a:lnTo>
                  <a:lnTo>
                    <a:pt x="1828" y="1398"/>
                  </a:lnTo>
                  <a:lnTo>
                    <a:pt x="1847" y="1357"/>
                  </a:lnTo>
                  <a:lnTo>
                    <a:pt x="1864" y="1317"/>
                  </a:lnTo>
                  <a:lnTo>
                    <a:pt x="1879" y="1276"/>
                  </a:lnTo>
                  <a:lnTo>
                    <a:pt x="1892" y="1234"/>
                  </a:lnTo>
                  <a:lnTo>
                    <a:pt x="1903" y="1191"/>
                  </a:lnTo>
                  <a:lnTo>
                    <a:pt x="1913" y="1147"/>
                  </a:lnTo>
                  <a:lnTo>
                    <a:pt x="1920" y="1102"/>
                  </a:lnTo>
                  <a:lnTo>
                    <a:pt x="1926" y="1057"/>
                  </a:lnTo>
                  <a:lnTo>
                    <a:pt x="1929" y="1012"/>
                  </a:lnTo>
                  <a:lnTo>
                    <a:pt x="1930" y="966"/>
                  </a:lnTo>
                  <a:lnTo>
                    <a:pt x="1929" y="915"/>
                  </a:lnTo>
                  <a:lnTo>
                    <a:pt x="1926" y="867"/>
                  </a:lnTo>
                  <a:lnTo>
                    <a:pt x="1919" y="818"/>
                  </a:lnTo>
                  <a:lnTo>
                    <a:pt x="1911" y="771"/>
                  </a:lnTo>
                  <a:lnTo>
                    <a:pt x="1900" y="724"/>
                  </a:lnTo>
                  <a:lnTo>
                    <a:pt x="1887" y="678"/>
                  </a:lnTo>
                  <a:lnTo>
                    <a:pt x="1872" y="633"/>
                  </a:lnTo>
                  <a:lnTo>
                    <a:pt x="1854" y="590"/>
                  </a:lnTo>
                  <a:lnTo>
                    <a:pt x="1835" y="547"/>
                  </a:lnTo>
                  <a:lnTo>
                    <a:pt x="1814" y="506"/>
                  </a:lnTo>
                  <a:lnTo>
                    <a:pt x="1790" y="465"/>
                  </a:lnTo>
                  <a:lnTo>
                    <a:pt x="1766" y="426"/>
                  </a:lnTo>
                  <a:lnTo>
                    <a:pt x="1739" y="388"/>
                  </a:lnTo>
                  <a:lnTo>
                    <a:pt x="1710" y="351"/>
                  </a:lnTo>
                  <a:lnTo>
                    <a:pt x="1680" y="316"/>
                  </a:lnTo>
                  <a:lnTo>
                    <a:pt x="1647" y="283"/>
                  </a:lnTo>
                  <a:lnTo>
                    <a:pt x="1614" y="250"/>
                  </a:lnTo>
                  <a:lnTo>
                    <a:pt x="1579" y="220"/>
                  </a:lnTo>
                  <a:lnTo>
                    <a:pt x="1542" y="191"/>
                  </a:lnTo>
                  <a:lnTo>
                    <a:pt x="1504" y="164"/>
                  </a:lnTo>
                  <a:lnTo>
                    <a:pt x="1465" y="140"/>
                  </a:lnTo>
                  <a:lnTo>
                    <a:pt x="1424" y="116"/>
                  </a:lnTo>
                  <a:lnTo>
                    <a:pt x="1383" y="95"/>
                  </a:lnTo>
                  <a:lnTo>
                    <a:pt x="1340" y="76"/>
                  </a:lnTo>
                  <a:lnTo>
                    <a:pt x="1297" y="58"/>
                  </a:lnTo>
                  <a:lnTo>
                    <a:pt x="1252" y="43"/>
                  </a:lnTo>
                  <a:lnTo>
                    <a:pt x="1206" y="30"/>
                  </a:lnTo>
                  <a:lnTo>
                    <a:pt x="1159" y="19"/>
                  </a:lnTo>
                  <a:lnTo>
                    <a:pt x="1112" y="11"/>
                  </a:lnTo>
                  <a:lnTo>
                    <a:pt x="1064" y="4"/>
                  </a:lnTo>
                  <a:lnTo>
                    <a:pt x="1015" y="1"/>
                  </a:lnTo>
                  <a:lnTo>
                    <a:pt x="964" y="0"/>
                  </a:lnTo>
                  <a:lnTo>
                    <a:pt x="915" y="1"/>
                  </a:lnTo>
                  <a:lnTo>
                    <a:pt x="866" y="4"/>
                  </a:lnTo>
                  <a:lnTo>
                    <a:pt x="818" y="11"/>
                  </a:lnTo>
                  <a:lnTo>
                    <a:pt x="771" y="19"/>
                  </a:lnTo>
                  <a:lnTo>
                    <a:pt x="724" y="30"/>
                  </a:lnTo>
                  <a:lnTo>
                    <a:pt x="678" y="43"/>
                  </a:lnTo>
                  <a:lnTo>
                    <a:pt x="633" y="58"/>
                  </a:lnTo>
                  <a:lnTo>
                    <a:pt x="590" y="76"/>
                  </a:lnTo>
                  <a:lnTo>
                    <a:pt x="547" y="95"/>
                  </a:lnTo>
                  <a:lnTo>
                    <a:pt x="506" y="116"/>
                  </a:lnTo>
                  <a:lnTo>
                    <a:pt x="464" y="140"/>
                  </a:lnTo>
                  <a:lnTo>
                    <a:pt x="425" y="164"/>
                  </a:lnTo>
                  <a:lnTo>
                    <a:pt x="388" y="192"/>
                  </a:lnTo>
                  <a:lnTo>
                    <a:pt x="351" y="220"/>
                  </a:lnTo>
                  <a:lnTo>
                    <a:pt x="316" y="250"/>
                  </a:lnTo>
                  <a:lnTo>
                    <a:pt x="283" y="283"/>
                  </a:lnTo>
                  <a:lnTo>
                    <a:pt x="250" y="316"/>
                  </a:lnTo>
                  <a:lnTo>
                    <a:pt x="220" y="351"/>
                  </a:lnTo>
                  <a:lnTo>
                    <a:pt x="191" y="388"/>
                  </a:lnTo>
                  <a:lnTo>
                    <a:pt x="164" y="426"/>
                  </a:lnTo>
                  <a:lnTo>
                    <a:pt x="140" y="465"/>
                  </a:lnTo>
                  <a:lnTo>
                    <a:pt x="116" y="506"/>
                  </a:lnTo>
                  <a:lnTo>
                    <a:pt x="95" y="547"/>
                  </a:lnTo>
                  <a:lnTo>
                    <a:pt x="76" y="590"/>
                  </a:lnTo>
                  <a:lnTo>
                    <a:pt x="58" y="633"/>
                  </a:lnTo>
                  <a:lnTo>
                    <a:pt x="43" y="678"/>
                  </a:lnTo>
                  <a:lnTo>
                    <a:pt x="30" y="724"/>
                  </a:lnTo>
                  <a:lnTo>
                    <a:pt x="19" y="771"/>
                  </a:lnTo>
                  <a:lnTo>
                    <a:pt x="11" y="818"/>
                  </a:lnTo>
                  <a:lnTo>
                    <a:pt x="4" y="867"/>
                  </a:lnTo>
                  <a:lnTo>
                    <a:pt x="1" y="915"/>
                  </a:lnTo>
                  <a:lnTo>
                    <a:pt x="0" y="966"/>
                  </a:lnTo>
                  <a:lnTo>
                    <a:pt x="1" y="1015"/>
                  </a:lnTo>
                  <a:lnTo>
                    <a:pt x="4" y="1064"/>
                  </a:lnTo>
                  <a:lnTo>
                    <a:pt x="11" y="1112"/>
                  </a:lnTo>
                  <a:lnTo>
                    <a:pt x="19" y="1159"/>
                  </a:lnTo>
                  <a:lnTo>
                    <a:pt x="30" y="1206"/>
                  </a:lnTo>
                  <a:lnTo>
                    <a:pt x="43" y="1252"/>
                  </a:lnTo>
                  <a:lnTo>
                    <a:pt x="58" y="1297"/>
                  </a:lnTo>
                  <a:lnTo>
                    <a:pt x="76" y="1341"/>
                  </a:lnTo>
                  <a:lnTo>
                    <a:pt x="95" y="1383"/>
                  </a:lnTo>
                  <a:lnTo>
                    <a:pt x="116" y="1426"/>
                  </a:lnTo>
                  <a:lnTo>
                    <a:pt x="140" y="1466"/>
                  </a:lnTo>
                  <a:lnTo>
                    <a:pt x="164" y="1505"/>
                  </a:lnTo>
                  <a:lnTo>
                    <a:pt x="191" y="1542"/>
                  </a:lnTo>
                  <a:lnTo>
                    <a:pt x="220" y="1579"/>
                  </a:lnTo>
                  <a:lnTo>
                    <a:pt x="250" y="1614"/>
                  </a:lnTo>
                  <a:lnTo>
                    <a:pt x="283" y="1647"/>
                  </a:lnTo>
                  <a:lnTo>
                    <a:pt x="316" y="1680"/>
                  </a:lnTo>
                  <a:lnTo>
                    <a:pt x="351" y="1710"/>
                  </a:lnTo>
                  <a:lnTo>
                    <a:pt x="388" y="1739"/>
                  </a:lnTo>
                  <a:lnTo>
                    <a:pt x="425" y="1766"/>
                  </a:lnTo>
                  <a:lnTo>
                    <a:pt x="464" y="1791"/>
                  </a:lnTo>
                  <a:lnTo>
                    <a:pt x="504" y="1814"/>
                  </a:lnTo>
                  <a:lnTo>
                    <a:pt x="547" y="1835"/>
                  </a:lnTo>
                  <a:lnTo>
                    <a:pt x="590" y="1854"/>
                  </a:lnTo>
                  <a:lnTo>
                    <a:pt x="633" y="1872"/>
                  </a:lnTo>
                  <a:lnTo>
                    <a:pt x="678" y="1887"/>
                  </a:lnTo>
                  <a:lnTo>
                    <a:pt x="724" y="1900"/>
                  </a:lnTo>
                  <a:lnTo>
                    <a:pt x="771" y="1912"/>
                  </a:lnTo>
                  <a:lnTo>
                    <a:pt x="818" y="1919"/>
                  </a:lnTo>
                  <a:lnTo>
                    <a:pt x="866" y="1926"/>
                  </a:lnTo>
                  <a:lnTo>
                    <a:pt x="915" y="1929"/>
                  </a:lnTo>
                  <a:lnTo>
                    <a:pt x="964" y="1931"/>
                  </a:lnTo>
                  <a:lnTo>
                    <a:pt x="966" y="1931"/>
                  </a:lnTo>
                  <a:lnTo>
                    <a:pt x="989" y="1931"/>
                  </a:lnTo>
                  <a:lnTo>
                    <a:pt x="1013" y="1929"/>
                  </a:lnTo>
                  <a:lnTo>
                    <a:pt x="1036" y="1928"/>
                  </a:lnTo>
                  <a:lnTo>
                    <a:pt x="1060" y="1926"/>
                  </a:lnTo>
                  <a:lnTo>
                    <a:pt x="1083" y="1924"/>
                  </a:lnTo>
                  <a:lnTo>
                    <a:pt x="1105" y="1920"/>
                  </a:lnTo>
                  <a:lnTo>
                    <a:pt x="1129" y="1917"/>
                  </a:lnTo>
                  <a:lnTo>
                    <a:pt x="1151" y="1913"/>
                  </a:lnTo>
                  <a:lnTo>
                    <a:pt x="1196" y="1903"/>
                  </a:lnTo>
                  <a:lnTo>
                    <a:pt x="1241" y="1891"/>
                  </a:lnTo>
                  <a:lnTo>
                    <a:pt x="1283" y="1877"/>
                  </a:lnTo>
                  <a:lnTo>
                    <a:pt x="1326" y="1861"/>
                  </a:lnTo>
                  <a:lnTo>
                    <a:pt x="1367" y="1843"/>
                  </a:lnTo>
                  <a:lnTo>
                    <a:pt x="1408" y="1823"/>
                  </a:lnTo>
                  <a:lnTo>
                    <a:pt x="1447" y="1802"/>
                  </a:lnTo>
                  <a:lnTo>
                    <a:pt x="1485" y="1778"/>
                  </a:lnTo>
                  <a:lnTo>
                    <a:pt x="1522" y="1754"/>
                  </a:lnTo>
                  <a:lnTo>
                    <a:pt x="1558" y="1727"/>
                  </a:lnTo>
                  <a:lnTo>
                    <a:pt x="1592" y="1699"/>
                  </a:lnTo>
                  <a:lnTo>
                    <a:pt x="1626" y="1669"/>
                  </a:lnTo>
                  <a:lnTo>
                    <a:pt x="2184" y="2227"/>
                  </a:lnTo>
                  <a:lnTo>
                    <a:pt x="2240" y="2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6"/>
            <p:cNvSpPr>
              <a:spLocks noEditPoints="1"/>
            </p:cNvSpPr>
            <p:nvPr/>
          </p:nvSpPr>
          <p:spPr bwMode="auto">
            <a:xfrm>
              <a:off x="5634038" y="2476501"/>
              <a:ext cx="381000" cy="303213"/>
            </a:xfrm>
            <a:custGeom>
              <a:avLst/>
              <a:gdLst>
                <a:gd name="T0" fmla="*/ 880 w 1200"/>
                <a:gd name="T1" fmla="*/ 79 h 959"/>
                <a:gd name="T2" fmla="*/ 960 w 1200"/>
                <a:gd name="T3" fmla="*/ 880 h 959"/>
                <a:gd name="T4" fmla="*/ 560 w 1200"/>
                <a:gd name="T5" fmla="*/ 880 h 959"/>
                <a:gd name="T6" fmla="*/ 640 w 1200"/>
                <a:gd name="T7" fmla="*/ 319 h 959"/>
                <a:gd name="T8" fmla="*/ 560 w 1200"/>
                <a:gd name="T9" fmla="*/ 880 h 959"/>
                <a:gd name="T10" fmla="*/ 240 w 1200"/>
                <a:gd name="T11" fmla="*/ 560 h 959"/>
                <a:gd name="T12" fmla="*/ 320 w 1200"/>
                <a:gd name="T13" fmla="*/ 880 h 959"/>
                <a:gd name="T14" fmla="*/ 1160 w 1200"/>
                <a:gd name="T15" fmla="*/ 880 h 959"/>
                <a:gd name="T16" fmla="*/ 1040 w 1200"/>
                <a:gd name="T17" fmla="*/ 0 h 959"/>
                <a:gd name="T18" fmla="*/ 800 w 1200"/>
                <a:gd name="T19" fmla="*/ 880 h 959"/>
                <a:gd name="T20" fmla="*/ 720 w 1200"/>
                <a:gd name="T21" fmla="*/ 239 h 959"/>
                <a:gd name="T22" fmla="*/ 480 w 1200"/>
                <a:gd name="T23" fmla="*/ 880 h 959"/>
                <a:gd name="T24" fmla="*/ 400 w 1200"/>
                <a:gd name="T25" fmla="*/ 479 h 959"/>
                <a:gd name="T26" fmla="*/ 160 w 1200"/>
                <a:gd name="T27" fmla="*/ 880 h 959"/>
                <a:gd name="T28" fmla="*/ 33 w 1200"/>
                <a:gd name="T29" fmla="*/ 880 h 959"/>
                <a:gd name="T30" fmla="*/ 18 w 1200"/>
                <a:gd name="T31" fmla="*/ 886 h 959"/>
                <a:gd name="T32" fmla="*/ 7 w 1200"/>
                <a:gd name="T33" fmla="*/ 896 h 959"/>
                <a:gd name="T34" fmla="*/ 1 w 1200"/>
                <a:gd name="T35" fmla="*/ 911 h 959"/>
                <a:gd name="T36" fmla="*/ 1 w 1200"/>
                <a:gd name="T37" fmla="*/ 928 h 959"/>
                <a:gd name="T38" fmla="*/ 7 w 1200"/>
                <a:gd name="T39" fmla="*/ 941 h 959"/>
                <a:gd name="T40" fmla="*/ 18 w 1200"/>
                <a:gd name="T41" fmla="*/ 952 h 959"/>
                <a:gd name="T42" fmla="*/ 33 w 1200"/>
                <a:gd name="T43" fmla="*/ 958 h 959"/>
                <a:gd name="T44" fmla="*/ 160 w 1200"/>
                <a:gd name="T45" fmla="*/ 959 h 959"/>
                <a:gd name="T46" fmla="*/ 480 w 1200"/>
                <a:gd name="T47" fmla="*/ 959 h 959"/>
                <a:gd name="T48" fmla="*/ 800 w 1200"/>
                <a:gd name="T49" fmla="*/ 959 h 959"/>
                <a:gd name="T50" fmla="*/ 1160 w 1200"/>
                <a:gd name="T51" fmla="*/ 959 h 959"/>
                <a:gd name="T52" fmla="*/ 1175 w 1200"/>
                <a:gd name="T53" fmla="*/ 956 h 959"/>
                <a:gd name="T54" fmla="*/ 1188 w 1200"/>
                <a:gd name="T55" fmla="*/ 948 h 959"/>
                <a:gd name="T56" fmla="*/ 1197 w 1200"/>
                <a:gd name="T57" fmla="*/ 935 h 959"/>
                <a:gd name="T58" fmla="*/ 1200 w 1200"/>
                <a:gd name="T59" fmla="*/ 919 h 959"/>
                <a:gd name="T60" fmla="*/ 1197 w 1200"/>
                <a:gd name="T61" fmla="*/ 904 h 959"/>
                <a:gd name="T62" fmla="*/ 1188 w 1200"/>
                <a:gd name="T63" fmla="*/ 891 h 959"/>
                <a:gd name="T64" fmla="*/ 1175 w 1200"/>
                <a:gd name="T65" fmla="*/ 882 h 959"/>
                <a:gd name="T66" fmla="*/ 1160 w 1200"/>
                <a:gd name="T67" fmla="*/ 880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0" h="959">
                  <a:moveTo>
                    <a:pt x="880" y="880"/>
                  </a:moveTo>
                  <a:lnTo>
                    <a:pt x="880" y="79"/>
                  </a:lnTo>
                  <a:lnTo>
                    <a:pt x="960" y="79"/>
                  </a:lnTo>
                  <a:lnTo>
                    <a:pt x="960" y="880"/>
                  </a:lnTo>
                  <a:lnTo>
                    <a:pt x="880" y="880"/>
                  </a:lnTo>
                  <a:close/>
                  <a:moveTo>
                    <a:pt x="560" y="880"/>
                  </a:moveTo>
                  <a:lnTo>
                    <a:pt x="560" y="319"/>
                  </a:lnTo>
                  <a:lnTo>
                    <a:pt x="640" y="319"/>
                  </a:lnTo>
                  <a:lnTo>
                    <a:pt x="640" y="880"/>
                  </a:lnTo>
                  <a:lnTo>
                    <a:pt x="560" y="880"/>
                  </a:lnTo>
                  <a:close/>
                  <a:moveTo>
                    <a:pt x="240" y="880"/>
                  </a:moveTo>
                  <a:lnTo>
                    <a:pt x="240" y="560"/>
                  </a:lnTo>
                  <a:lnTo>
                    <a:pt x="320" y="560"/>
                  </a:lnTo>
                  <a:lnTo>
                    <a:pt x="320" y="880"/>
                  </a:lnTo>
                  <a:lnTo>
                    <a:pt x="240" y="880"/>
                  </a:lnTo>
                  <a:close/>
                  <a:moveTo>
                    <a:pt x="1160" y="880"/>
                  </a:moveTo>
                  <a:lnTo>
                    <a:pt x="1040" y="880"/>
                  </a:lnTo>
                  <a:lnTo>
                    <a:pt x="1040" y="0"/>
                  </a:lnTo>
                  <a:lnTo>
                    <a:pt x="800" y="0"/>
                  </a:lnTo>
                  <a:lnTo>
                    <a:pt x="800" y="880"/>
                  </a:lnTo>
                  <a:lnTo>
                    <a:pt x="720" y="880"/>
                  </a:lnTo>
                  <a:lnTo>
                    <a:pt x="720" y="239"/>
                  </a:lnTo>
                  <a:lnTo>
                    <a:pt x="480" y="239"/>
                  </a:lnTo>
                  <a:lnTo>
                    <a:pt x="480" y="880"/>
                  </a:lnTo>
                  <a:lnTo>
                    <a:pt x="400" y="880"/>
                  </a:lnTo>
                  <a:lnTo>
                    <a:pt x="400" y="479"/>
                  </a:lnTo>
                  <a:lnTo>
                    <a:pt x="160" y="479"/>
                  </a:lnTo>
                  <a:lnTo>
                    <a:pt x="160" y="880"/>
                  </a:lnTo>
                  <a:lnTo>
                    <a:pt x="41" y="880"/>
                  </a:lnTo>
                  <a:lnTo>
                    <a:pt x="33" y="880"/>
                  </a:lnTo>
                  <a:lnTo>
                    <a:pt x="25" y="882"/>
                  </a:lnTo>
                  <a:lnTo>
                    <a:pt x="18" y="886"/>
                  </a:lnTo>
                  <a:lnTo>
                    <a:pt x="11" y="891"/>
                  </a:lnTo>
                  <a:lnTo>
                    <a:pt x="7" y="896"/>
                  </a:lnTo>
                  <a:lnTo>
                    <a:pt x="4" y="904"/>
                  </a:lnTo>
                  <a:lnTo>
                    <a:pt x="1" y="911"/>
                  </a:lnTo>
                  <a:lnTo>
                    <a:pt x="0" y="919"/>
                  </a:lnTo>
                  <a:lnTo>
                    <a:pt x="1" y="928"/>
                  </a:lnTo>
                  <a:lnTo>
                    <a:pt x="4" y="935"/>
                  </a:lnTo>
                  <a:lnTo>
                    <a:pt x="7" y="941"/>
                  </a:lnTo>
                  <a:lnTo>
                    <a:pt x="11" y="948"/>
                  </a:lnTo>
                  <a:lnTo>
                    <a:pt x="18" y="952"/>
                  </a:lnTo>
                  <a:lnTo>
                    <a:pt x="25" y="956"/>
                  </a:lnTo>
                  <a:lnTo>
                    <a:pt x="33" y="958"/>
                  </a:lnTo>
                  <a:lnTo>
                    <a:pt x="41" y="959"/>
                  </a:lnTo>
                  <a:lnTo>
                    <a:pt x="160" y="959"/>
                  </a:lnTo>
                  <a:lnTo>
                    <a:pt x="400" y="959"/>
                  </a:lnTo>
                  <a:lnTo>
                    <a:pt x="480" y="959"/>
                  </a:lnTo>
                  <a:lnTo>
                    <a:pt x="720" y="959"/>
                  </a:lnTo>
                  <a:lnTo>
                    <a:pt x="800" y="959"/>
                  </a:lnTo>
                  <a:lnTo>
                    <a:pt x="1040" y="959"/>
                  </a:lnTo>
                  <a:lnTo>
                    <a:pt x="1160" y="959"/>
                  </a:lnTo>
                  <a:lnTo>
                    <a:pt x="1168" y="958"/>
                  </a:lnTo>
                  <a:lnTo>
                    <a:pt x="1175" y="956"/>
                  </a:lnTo>
                  <a:lnTo>
                    <a:pt x="1182" y="952"/>
                  </a:lnTo>
                  <a:lnTo>
                    <a:pt x="1188" y="948"/>
                  </a:lnTo>
                  <a:lnTo>
                    <a:pt x="1193" y="941"/>
                  </a:lnTo>
                  <a:lnTo>
                    <a:pt x="1197" y="935"/>
                  </a:lnTo>
                  <a:lnTo>
                    <a:pt x="1199" y="928"/>
                  </a:lnTo>
                  <a:lnTo>
                    <a:pt x="1200" y="919"/>
                  </a:lnTo>
                  <a:lnTo>
                    <a:pt x="1199" y="911"/>
                  </a:lnTo>
                  <a:lnTo>
                    <a:pt x="1197" y="904"/>
                  </a:lnTo>
                  <a:lnTo>
                    <a:pt x="1193" y="896"/>
                  </a:lnTo>
                  <a:lnTo>
                    <a:pt x="1188" y="891"/>
                  </a:lnTo>
                  <a:lnTo>
                    <a:pt x="1182" y="886"/>
                  </a:lnTo>
                  <a:lnTo>
                    <a:pt x="1175" y="882"/>
                  </a:lnTo>
                  <a:lnTo>
                    <a:pt x="1168" y="880"/>
                  </a:lnTo>
                  <a:lnTo>
                    <a:pt x="1160" y="8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87" name="Straight Arrow Connector 86"/>
          <p:cNvCxnSpPr>
            <a:stCxn id="56" idx="6"/>
            <a:endCxn id="89" idx="2"/>
          </p:cNvCxnSpPr>
          <p:nvPr/>
        </p:nvCxnSpPr>
        <p:spPr>
          <a:xfrm>
            <a:off x="5181600" y="2405213"/>
            <a:ext cx="1325152" cy="0"/>
          </a:xfrm>
          <a:prstGeom prst="straightConnector1">
            <a:avLst/>
          </a:prstGeom>
          <a:ln w="38100">
            <a:solidFill>
              <a:srgbClr val="F1C40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2638185" y="2405213"/>
            <a:ext cx="1325152" cy="0"/>
          </a:xfrm>
          <a:prstGeom prst="straightConnector1">
            <a:avLst/>
          </a:prstGeom>
          <a:ln w="38100">
            <a:solidFill>
              <a:srgbClr val="F1C40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èche courbée vers le bas 10"/>
          <p:cNvSpPr/>
          <p:nvPr/>
        </p:nvSpPr>
        <p:spPr>
          <a:xfrm flipH="1">
            <a:off x="1842811" y="1143000"/>
            <a:ext cx="5342625" cy="566586"/>
          </a:xfrm>
          <a:prstGeom prst="curvedDownArrow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685800" y="5739825"/>
            <a:ext cx="7848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200" b="1" dirty="0" smtClean="0">
                <a:solidFill>
                  <a:srgbClr val="F1C40F"/>
                </a:solidFill>
                <a:latin typeface="Calibri Light" panose="020F0302020204030204" pitchFamily="34" charset="0"/>
              </a:rPr>
              <a:t>Positionnement social en monitoring continu</a:t>
            </a:r>
            <a:endParaRPr lang="id-ID" sz="3200" b="1" dirty="0">
              <a:solidFill>
                <a:srgbClr val="F1C4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05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stCxn id="9" idx="0"/>
          </p:cNvCxnSpPr>
          <p:nvPr/>
        </p:nvCxnSpPr>
        <p:spPr>
          <a:xfrm>
            <a:off x="1282450" y="3048000"/>
            <a:ext cx="0" cy="1032669"/>
          </a:xfrm>
          <a:prstGeom prst="line">
            <a:avLst/>
          </a:prstGeom>
          <a:ln>
            <a:solidFill>
              <a:srgbClr val="2ECC7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 smtClean="0"/>
              <a:t>Vue High-</a:t>
            </a:r>
            <a:r>
              <a:rPr lang="fr-FR" dirty="0" err="1" smtClean="0"/>
              <a:t>Level</a:t>
            </a:r>
            <a:r>
              <a:rPr lang="fr-FR" dirty="0" smtClean="0"/>
              <a:t> du technique </a:t>
            </a:r>
            <a:r>
              <a:rPr lang="fr-FR" dirty="0" err="1" smtClean="0"/>
              <a:t>DataNest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BUSINESS </a:t>
            </a:r>
            <a:r>
              <a:rPr lang="id-ID" dirty="0"/>
              <a:t>PROCESS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 smtClean="0"/>
              <a:t>14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3242469"/>
            <a:ext cx="9144000" cy="0"/>
          </a:xfrm>
          <a:prstGeom prst="line">
            <a:avLst/>
          </a:prstGeom>
          <a:ln w="38100">
            <a:solidFill>
              <a:srgbClr val="2ECC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761999" y="1676400"/>
            <a:ext cx="1197577" cy="1274155"/>
          </a:xfrm>
          <a:prstGeom prst="ellipse">
            <a:avLst/>
          </a:prstGeom>
          <a:solidFill>
            <a:srgbClr val="2ECC71"/>
          </a:solidFill>
          <a:ln w="38100">
            <a:solidFill>
              <a:srgbClr val="D6D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Crawling</a:t>
            </a:r>
            <a:endParaRPr lang="id-ID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9" name="Isosceles Triangle 8"/>
          <p:cNvSpPr/>
          <p:nvPr/>
        </p:nvSpPr>
        <p:spPr>
          <a:xfrm flipV="1">
            <a:off x="1164721" y="2858622"/>
            <a:ext cx="235458" cy="189378"/>
          </a:xfrm>
          <a:prstGeom prst="triangle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7F8C8D"/>
              </a:solidFill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3352800" y="1621445"/>
            <a:ext cx="1193352" cy="1274155"/>
          </a:xfrm>
          <a:prstGeom prst="ellipse">
            <a:avLst/>
          </a:prstGeom>
          <a:solidFill>
            <a:srgbClr val="2ECC71"/>
          </a:solidFill>
          <a:ln w="38100">
            <a:solidFill>
              <a:srgbClr val="D6D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ri</a:t>
            </a:r>
            <a:endParaRPr lang="id-ID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7" name="Isosceles Triangle 136"/>
          <p:cNvSpPr/>
          <p:nvPr/>
        </p:nvSpPr>
        <p:spPr>
          <a:xfrm flipV="1">
            <a:off x="3832419" y="2858622"/>
            <a:ext cx="235458" cy="189378"/>
          </a:xfrm>
          <a:prstGeom prst="triangle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5954311" y="1603796"/>
            <a:ext cx="1345202" cy="1291804"/>
          </a:xfrm>
          <a:prstGeom prst="ellipse">
            <a:avLst/>
          </a:prstGeom>
          <a:solidFill>
            <a:srgbClr val="2ECC71"/>
          </a:solidFill>
          <a:ln w="38100">
            <a:solidFill>
              <a:srgbClr val="D6D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Reporting</a:t>
            </a:r>
            <a:endParaRPr lang="id-ID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3" name="Isosceles Triangle 142"/>
          <p:cNvSpPr/>
          <p:nvPr/>
        </p:nvSpPr>
        <p:spPr>
          <a:xfrm flipV="1">
            <a:off x="6500117" y="2876271"/>
            <a:ext cx="235458" cy="189378"/>
          </a:xfrm>
          <a:prstGeom prst="triangle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2057400" y="1674312"/>
            <a:ext cx="1231802" cy="1274155"/>
          </a:xfrm>
          <a:prstGeom prst="ellipse">
            <a:avLst/>
          </a:prstGeom>
          <a:solidFill>
            <a:srgbClr val="2ECC71"/>
          </a:solidFill>
          <a:ln w="38100">
            <a:solidFill>
              <a:srgbClr val="D6D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Normalis-ation</a:t>
            </a:r>
            <a:endParaRPr lang="id-ID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9" name="Isosceles Triangle 148"/>
          <p:cNvSpPr/>
          <p:nvPr/>
        </p:nvSpPr>
        <p:spPr>
          <a:xfrm flipV="1">
            <a:off x="2498570" y="2858622"/>
            <a:ext cx="235458" cy="189378"/>
          </a:xfrm>
          <a:prstGeom prst="triangle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7F8C8D"/>
              </a:solidFill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4591967" y="1621445"/>
            <a:ext cx="1333850" cy="1291804"/>
          </a:xfrm>
          <a:prstGeom prst="ellipse">
            <a:avLst/>
          </a:prstGeom>
          <a:solidFill>
            <a:srgbClr val="2ECC71"/>
          </a:solidFill>
          <a:ln w="38100">
            <a:solidFill>
              <a:srgbClr val="D6D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Tempête !</a:t>
            </a:r>
            <a:endParaRPr lang="id-ID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2" name="Isosceles Triangle 151"/>
          <p:cNvSpPr/>
          <p:nvPr/>
        </p:nvSpPr>
        <p:spPr>
          <a:xfrm flipV="1">
            <a:off x="5166268" y="2876271"/>
            <a:ext cx="235458" cy="189378"/>
          </a:xfrm>
          <a:prstGeom prst="triangle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54" name="Oval 153"/>
          <p:cNvSpPr/>
          <p:nvPr/>
        </p:nvSpPr>
        <p:spPr>
          <a:xfrm>
            <a:off x="7353523" y="1603796"/>
            <a:ext cx="1280976" cy="1274155"/>
          </a:xfrm>
          <a:prstGeom prst="ellipse">
            <a:avLst/>
          </a:prstGeom>
          <a:solidFill>
            <a:srgbClr val="2ECC71"/>
          </a:solidFill>
          <a:ln w="38100">
            <a:solidFill>
              <a:srgbClr val="D6DA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Post-analyse</a:t>
            </a:r>
            <a:endParaRPr lang="id-ID" sz="14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55" name="Isosceles Triangle 154"/>
          <p:cNvSpPr/>
          <p:nvPr/>
        </p:nvSpPr>
        <p:spPr>
          <a:xfrm flipV="1">
            <a:off x="7845320" y="2858622"/>
            <a:ext cx="235458" cy="189378"/>
          </a:xfrm>
          <a:prstGeom prst="triangle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156" name="Straight Connector 155"/>
          <p:cNvCxnSpPr/>
          <p:nvPr/>
        </p:nvCxnSpPr>
        <p:spPr>
          <a:xfrm>
            <a:off x="2616299" y="3048000"/>
            <a:ext cx="0" cy="1032669"/>
          </a:xfrm>
          <a:prstGeom prst="line">
            <a:avLst/>
          </a:prstGeom>
          <a:ln>
            <a:solidFill>
              <a:srgbClr val="2ECC7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>
            <a:off x="3950148" y="3048000"/>
            <a:ext cx="0" cy="1032669"/>
          </a:xfrm>
          <a:prstGeom prst="line">
            <a:avLst/>
          </a:prstGeom>
          <a:ln>
            <a:solidFill>
              <a:srgbClr val="2ECC7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5283997" y="3048000"/>
            <a:ext cx="0" cy="1032669"/>
          </a:xfrm>
          <a:prstGeom prst="line">
            <a:avLst/>
          </a:prstGeom>
          <a:ln>
            <a:solidFill>
              <a:srgbClr val="2ECC7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>
            <a:off x="6617846" y="3048000"/>
            <a:ext cx="0" cy="1032669"/>
          </a:xfrm>
          <a:prstGeom prst="line">
            <a:avLst/>
          </a:prstGeom>
          <a:ln>
            <a:solidFill>
              <a:srgbClr val="2ECC7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>
            <a:off x="7957372" y="3048000"/>
            <a:ext cx="0" cy="1032669"/>
          </a:xfrm>
          <a:prstGeom prst="line">
            <a:avLst/>
          </a:prstGeom>
          <a:ln>
            <a:solidFill>
              <a:srgbClr val="2ECC71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1206250" y="3166269"/>
            <a:ext cx="152400" cy="152400"/>
          </a:xfrm>
          <a:prstGeom prst="ellipse">
            <a:avLst/>
          </a:prstGeom>
          <a:solidFill>
            <a:schemeClr val="bg1"/>
          </a:solidFill>
          <a:ln>
            <a:solidFill>
              <a:srgbClr val="2EC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9" name="Oval 78"/>
          <p:cNvSpPr/>
          <p:nvPr/>
        </p:nvSpPr>
        <p:spPr>
          <a:xfrm>
            <a:off x="2540099" y="3166269"/>
            <a:ext cx="152400" cy="152400"/>
          </a:xfrm>
          <a:prstGeom prst="ellipse">
            <a:avLst/>
          </a:prstGeom>
          <a:solidFill>
            <a:schemeClr val="bg1"/>
          </a:solidFill>
          <a:ln>
            <a:solidFill>
              <a:srgbClr val="2EC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3873948" y="3166269"/>
            <a:ext cx="152400" cy="152400"/>
          </a:xfrm>
          <a:prstGeom prst="ellipse">
            <a:avLst/>
          </a:prstGeom>
          <a:solidFill>
            <a:schemeClr val="bg1"/>
          </a:solidFill>
          <a:ln>
            <a:solidFill>
              <a:srgbClr val="2EC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>
            <a:off x="5207797" y="3166269"/>
            <a:ext cx="152400" cy="152400"/>
          </a:xfrm>
          <a:prstGeom prst="ellipse">
            <a:avLst/>
          </a:prstGeom>
          <a:solidFill>
            <a:schemeClr val="bg1"/>
          </a:solidFill>
          <a:ln>
            <a:solidFill>
              <a:srgbClr val="2EC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>
            <a:off x="6541646" y="3166269"/>
            <a:ext cx="152400" cy="152400"/>
          </a:xfrm>
          <a:prstGeom prst="ellipse">
            <a:avLst/>
          </a:prstGeom>
          <a:solidFill>
            <a:schemeClr val="bg1"/>
          </a:solidFill>
          <a:ln>
            <a:solidFill>
              <a:srgbClr val="2EC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</a:endParaRPr>
          </a:p>
        </p:txBody>
      </p:sp>
      <p:sp>
        <p:nvSpPr>
          <p:cNvPr id="83" name="Oval 82"/>
          <p:cNvSpPr/>
          <p:nvPr/>
        </p:nvSpPr>
        <p:spPr>
          <a:xfrm>
            <a:off x="7875494" y="3166269"/>
            <a:ext cx="152400" cy="152400"/>
          </a:xfrm>
          <a:prstGeom prst="ellipse">
            <a:avLst/>
          </a:prstGeom>
          <a:solidFill>
            <a:schemeClr val="bg1"/>
          </a:solidFill>
          <a:ln>
            <a:solidFill>
              <a:srgbClr val="2ECC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bg1"/>
              </a:solidFill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605322" y="4257489"/>
            <a:ext cx="135425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Écoute massive de l’</a:t>
            </a:r>
            <a:r>
              <a:rPr lang="fr-FR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OpenData</a:t>
            </a:r>
            <a:endParaRPr lang="id-ID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Canalisation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de la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précision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d’écoute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.</a:t>
            </a:r>
            <a:endParaRPr lang="en-US" sz="1100" dirty="0"/>
          </a:p>
        </p:txBody>
      </p:sp>
      <p:sp>
        <p:nvSpPr>
          <p:cNvPr id="162" name="Rectangle 161"/>
          <p:cNvSpPr/>
          <p:nvPr/>
        </p:nvSpPr>
        <p:spPr>
          <a:xfrm>
            <a:off x="1940306" y="4257489"/>
            <a:ext cx="1354255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Stockage semi-structurés des récoltes</a:t>
            </a:r>
            <a:endParaRPr lang="id-ID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Entassement de la « matière première » sous format exploitable.</a:t>
            </a:r>
            <a:endParaRPr lang="en-US" sz="1100" dirty="0"/>
          </a:p>
        </p:txBody>
      </p:sp>
      <p:sp>
        <p:nvSpPr>
          <p:cNvPr id="163" name="Rectangle 162"/>
          <p:cNvSpPr/>
          <p:nvPr/>
        </p:nvSpPr>
        <p:spPr>
          <a:xfrm>
            <a:off x="3275290" y="4257489"/>
            <a:ext cx="135425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Filtrage progressif et élimination de la data parasite.</a:t>
            </a:r>
            <a:endParaRPr lang="id-ID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Préparations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à la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soumission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au job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d’analyse</a:t>
            </a:r>
            <a:endParaRPr lang="en-US" sz="1100" dirty="0"/>
          </a:p>
        </p:txBody>
      </p:sp>
      <p:sp>
        <p:nvSpPr>
          <p:cNvPr id="164" name="Rectangle 163"/>
          <p:cNvSpPr/>
          <p:nvPr/>
        </p:nvSpPr>
        <p:spPr>
          <a:xfrm>
            <a:off x="4610274" y="4257489"/>
            <a:ext cx="1354255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Déploiement Apache </a:t>
            </a:r>
            <a:r>
              <a:rPr lang="fr-FR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Hadoop</a:t>
            </a: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/ STORM pour l’appréhension du contexte de la donnée</a:t>
            </a:r>
            <a:endParaRPr lang="id-ID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Clustering des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tendances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sémantiques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des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ndicateurs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clés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.</a:t>
            </a:r>
            <a:endParaRPr lang="en-US" sz="1100" dirty="0"/>
          </a:p>
        </p:txBody>
      </p:sp>
      <p:sp>
        <p:nvSpPr>
          <p:cNvPr id="165" name="Rectangle 164"/>
          <p:cNvSpPr/>
          <p:nvPr/>
        </p:nvSpPr>
        <p:spPr>
          <a:xfrm>
            <a:off x="5945258" y="4257489"/>
            <a:ext cx="1354255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Production des livrables sur les axes de décisions important notre client.</a:t>
            </a:r>
            <a:endParaRPr lang="id-ID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Dispatching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des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ivrables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quotidienement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/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hebdomadairem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-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ent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, etc…</a:t>
            </a:r>
            <a:endParaRPr lang="en-US" sz="1100" dirty="0"/>
          </a:p>
        </p:txBody>
      </p:sp>
      <p:sp>
        <p:nvSpPr>
          <p:cNvPr id="166" name="Rectangle 165"/>
          <p:cNvSpPr/>
          <p:nvPr/>
        </p:nvSpPr>
        <p:spPr>
          <a:xfrm>
            <a:off x="7280244" y="4257489"/>
            <a:ext cx="1354255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Compilation d’historiques d’analyse et projections mathématiques.</a:t>
            </a:r>
            <a:endParaRPr lang="id-ID" sz="11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d-ID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Mesure d’efficacité et Social Consulting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69033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Selon</a:t>
            </a:r>
            <a:r>
              <a:rPr lang="en-US" dirty="0" smtClean="0"/>
              <a:t> les budgets, </a:t>
            </a:r>
            <a:r>
              <a:rPr lang="en-US" dirty="0" err="1" smtClean="0"/>
              <a:t>mais</a:t>
            </a:r>
            <a:r>
              <a:rPr lang="en-US" dirty="0" smtClean="0"/>
              <a:t> </a:t>
            </a:r>
            <a:r>
              <a:rPr lang="en-US" dirty="0" err="1" smtClean="0"/>
              <a:t>surtout</a:t>
            </a:r>
            <a:r>
              <a:rPr lang="en-US" dirty="0" smtClean="0"/>
              <a:t> les </a:t>
            </a:r>
            <a:r>
              <a:rPr lang="en-US" dirty="0" err="1" smtClean="0"/>
              <a:t>désirs</a:t>
            </a:r>
            <a:r>
              <a:rPr lang="en-US" dirty="0" smtClean="0"/>
              <a:t> de </a:t>
            </a:r>
            <a:r>
              <a:rPr lang="en-US" dirty="0" err="1" smtClean="0"/>
              <a:t>nos</a:t>
            </a:r>
            <a:r>
              <a:rPr lang="en-US" dirty="0" smtClean="0"/>
              <a:t> clients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r>
              <a:rPr lang="en-US" dirty="0" smtClean="0"/>
              <a:t>1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 err="1" smtClean="0"/>
              <a:t>L’offre</a:t>
            </a:r>
            <a:r>
              <a:rPr lang="en-US" dirty="0" smtClean="0"/>
              <a:t> </a:t>
            </a:r>
            <a:r>
              <a:rPr lang="en-US" dirty="0" err="1" smtClean="0"/>
              <a:t>DataNest</a:t>
            </a:r>
            <a:r>
              <a:rPr lang="en-US" dirty="0" smtClean="0"/>
              <a:t>.</a:t>
            </a:r>
            <a:endParaRPr lang="en-US" dirty="0">
              <a:latin typeface="+mn-lt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DataNest</a:t>
            </a:r>
            <a:endParaRPr lang="en-US" dirty="0"/>
          </a:p>
        </p:txBody>
      </p:sp>
      <p:grpSp>
        <p:nvGrpSpPr>
          <p:cNvPr id="71" name="Group 70"/>
          <p:cNvGrpSpPr/>
          <p:nvPr/>
        </p:nvGrpSpPr>
        <p:grpSpPr>
          <a:xfrm>
            <a:off x="1191514" y="3014658"/>
            <a:ext cx="3125221" cy="2758212"/>
            <a:chOff x="6765581" y="1585913"/>
            <a:chExt cx="2777777" cy="2966400"/>
          </a:xfrm>
        </p:grpSpPr>
        <p:sp>
          <p:nvSpPr>
            <p:cNvPr id="72" name="Rectangle 71"/>
            <p:cNvSpPr/>
            <p:nvPr/>
          </p:nvSpPr>
          <p:spPr>
            <a:xfrm>
              <a:off x="6903146" y="1825517"/>
              <a:ext cx="2502648" cy="2726796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smtClean="0">
                  <a:solidFill>
                    <a:srgbClr val="000000"/>
                  </a:solidFill>
                </a:rPr>
                <a:t>Se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focalise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sur</a:t>
              </a:r>
              <a:r>
                <a:rPr lang="en-US" sz="1200" dirty="0" smtClean="0">
                  <a:solidFill>
                    <a:srgbClr val="000000"/>
                  </a:solidFill>
                </a:rPr>
                <a:t> un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évenement</a:t>
              </a:r>
              <a:r>
                <a:rPr lang="en-US" sz="1200" dirty="0" smtClean="0">
                  <a:solidFill>
                    <a:srgbClr val="000000"/>
                  </a:solidFill>
                </a:rPr>
                <a:t>/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produit</a:t>
              </a:r>
              <a:r>
                <a:rPr lang="en-US" sz="1200" dirty="0" smtClean="0">
                  <a:solidFill>
                    <a:srgbClr val="000000"/>
                  </a:solidFill>
                </a:rPr>
                <a:t>/ mot-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clé</a:t>
              </a:r>
              <a:r>
                <a:rPr lang="en-US" sz="1200" dirty="0" smtClean="0">
                  <a:solidFill>
                    <a:srgbClr val="000000"/>
                  </a:solidFill>
                </a:rPr>
                <a:t> en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particulier</a:t>
              </a:r>
              <a:r>
                <a:rPr lang="en-US" sz="1200" dirty="0" smtClean="0">
                  <a:solidFill>
                    <a:srgbClr val="000000"/>
                  </a:solidFill>
                </a:rPr>
                <a:t>.</a:t>
              </a:r>
              <a:endParaRPr lang="en-US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fr-FR" sz="1200" dirty="0" smtClean="0">
                  <a:solidFill>
                    <a:srgbClr val="000000"/>
                  </a:solidFill>
                </a:rPr>
                <a:t>Gratuite ou à cout minimal.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err="1" smtClean="0">
                  <a:solidFill>
                    <a:srgbClr val="000000"/>
                  </a:solidFill>
                </a:rPr>
                <a:t>Eléments</a:t>
              </a:r>
              <a:r>
                <a:rPr lang="en-US" sz="1200" dirty="0">
                  <a:solidFill>
                    <a:srgbClr val="000000"/>
                  </a:solidFill>
                </a:rPr>
                <a:t> </a:t>
              </a:r>
              <a:r>
                <a:rPr lang="en-US" sz="1200" dirty="0" smtClean="0">
                  <a:solidFill>
                    <a:srgbClr val="000000"/>
                  </a:solidFill>
                </a:rPr>
                <a:t>de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réponses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minimaux</a:t>
              </a:r>
              <a:r>
                <a:rPr lang="en-US" sz="1200" dirty="0" smtClean="0">
                  <a:solidFill>
                    <a:srgbClr val="000000"/>
                  </a:solidFill>
                </a:rPr>
                <a:t> :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chartes</a:t>
              </a:r>
              <a:r>
                <a:rPr lang="en-US" sz="1200" dirty="0" smtClean="0">
                  <a:solidFill>
                    <a:srgbClr val="000000"/>
                  </a:solidFill>
                </a:rPr>
                <a:t> comparatives et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résultats</a:t>
              </a:r>
              <a:r>
                <a:rPr lang="en-US" sz="1200" dirty="0" smtClean="0">
                  <a:solidFill>
                    <a:srgbClr val="000000"/>
                  </a:solidFill>
                </a:rPr>
                <a:t> semi-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traités</a:t>
              </a:r>
              <a:r>
                <a:rPr lang="en-US" sz="1200" dirty="0" smtClean="0">
                  <a:solidFill>
                    <a:srgbClr val="000000"/>
                  </a:solidFill>
                </a:rPr>
                <a:t>.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fr-FR" sz="1200" dirty="0" smtClean="0">
                  <a:solidFill>
                    <a:srgbClr val="000000"/>
                  </a:solidFill>
                </a:rPr>
                <a:t>Plateforme d’essai  de la puissance </a:t>
              </a:r>
              <a:r>
                <a:rPr lang="fr-FR" sz="1200" dirty="0" err="1" smtClean="0">
                  <a:solidFill>
                    <a:srgbClr val="000000"/>
                  </a:solidFill>
                </a:rPr>
                <a:t>DataNest</a:t>
              </a:r>
              <a:r>
                <a:rPr lang="fr-FR" sz="1200" dirty="0" smtClean="0">
                  <a:solidFill>
                    <a:srgbClr val="000000"/>
                  </a:solidFill>
                </a:rPr>
                <a:t>.</a:t>
              </a:r>
              <a:endParaRPr lang="en-US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765581" y="1585913"/>
              <a:ext cx="2777776" cy="427572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r>
                <a:rPr lang="fr-FR" sz="1600" b="1" dirty="0" smtClean="0">
                  <a:solidFill>
                    <a:schemeClr val="bg1"/>
                  </a:solidFill>
                </a:rPr>
                <a:t>Analyse Instantané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74" name="Right Triangle 73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073D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52" name="Right Triangle 51"/>
            <p:cNvSpPr/>
            <p:nvPr/>
          </p:nvSpPr>
          <p:spPr>
            <a:xfrm flipV="1">
              <a:off x="9405794" y="2013485"/>
              <a:ext cx="137564" cy="137563"/>
            </a:xfrm>
            <a:prstGeom prst="rtTriangle">
              <a:avLst/>
            </a:prstGeom>
            <a:solidFill>
              <a:srgbClr val="073D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669287" y="3014658"/>
            <a:ext cx="3125220" cy="2758212"/>
            <a:chOff x="6765581" y="1585913"/>
            <a:chExt cx="2777777" cy="2966401"/>
          </a:xfrm>
        </p:grpSpPr>
        <p:sp>
          <p:nvSpPr>
            <p:cNvPr id="33" name="Rectangle 32"/>
            <p:cNvSpPr/>
            <p:nvPr/>
          </p:nvSpPr>
          <p:spPr>
            <a:xfrm>
              <a:off x="6903146" y="1825517"/>
              <a:ext cx="2502648" cy="2726797"/>
            </a:xfrm>
            <a:prstGeom prst="rect">
              <a:avLst/>
            </a:prstGeom>
            <a:solidFill>
              <a:srgbClr val="D5D5D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365760" rIns="182880" bIns="91440" rtlCol="0" anchor="t"/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fr-FR" sz="1200" dirty="0" err="1" smtClean="0">
                  <a:solidFill>
                    <a:srgbClr val="000000"/>
                  </a:solidFill>
                </a:rPr>
                <a:t>Paiante</a:t>
              </a:r>
              <a:r>
                <a:rPr lang="fr-FR" sz="1200" dirty="0" smtClean="0">
                  <a:solidFill>
                    <a:srgbClr val="000000"/>
                  </a:solidFill>
                </a:rPr>
                <a:t>.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err="1" smtClean="0">
                  <a:solidFill>
                    <a:srgbClr val="000000"/>
                  </a:solidFill>
                </a:rPr>
                <a:t>Suivi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continu</a:t>
              </a:r>
              <a:r>
                <a:rPr lang="en-US" sz="1200" dirty="0" smtClean="0">
                  <a:solidFill>
                    <a:srgbClr val="000000"/>
                  </a:solidFill>
                </a:rPr>
                <a:t> de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nos</a:t>
              </a:r>
              <a:r>
                <a:rPr lang="en-US" sz="1200" dirty="0" smtClean="0">
                  <a:solidFill>
                    <a:srgbClr val="000000"/>
                  </a:solidFill>
                </a:rPr>
                <a:t> clients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prévilégiés</a:t>
              </a:r>
              <a:r>
                <a:rPr lang="en-US" sz="1200" dirty="0" smtClean="0">
                  <a:solidFill>
                    <a:srgbClr val="000000"/>
                  </a:solidFill>
                </a:rPr>
                <a:t> et remise de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livrables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hebdomadaires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sur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leur</a:t>
              </a:r>
              <a:r>
                <a:rPr lang="en-US" sz="1200" dirty="0" smtClean="0">
                  <a:solidFill>
                    <a:srgbClr val="000000"/>
                  </a:solidFill>
                </a:rPr>
                <a:t> performances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sociales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US" sz="1200" dirty="0" err="1" smtClean="0">
                  <a:solidFill>
                    <a:srgbClr val="000000"/>
                  </a:solidFill>
                </a:rPr>
                <a:t>Conseil</a:t>
              </a:r>
              <a:r>
                <a:rPr lang="en-US" sz="1200" dirty="0" smtClean="0">
                  <a:solidFill>
                    <a:srgbClr val="000000"/>
                  </a:solidFill>
                </a:rPr>
                <a:t> de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repositionnement</a:t>
              </a:r>
              <a:r>
                <a:rPr lang="en-US" sz="1200" dirty="0" smtClean="0">
                  <a:solidFill>
                    <a:srgbClr val="000000"/>
                  </a:solidFill>
                </a:rPr>
                <a:t> social et feed-back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sur</a:t>
              </a:r>
              <a:r>
                <a:rPr lang="en-US" sz="1200" dirty="0" smtClean="0">
                  <a:solidFill>
                    <a:srgbClr val="000000"/>
                  </a:solidFill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l’efficacité</a:t>
              </a:r>
              <a:r>
                <a:rPr lang="en-US" sz="1200" dirty="0" smtClean="0">
                  <a:solidFill>
                    <a:srgbClr val="000000"/>
                  </a:solidFill>
                </a:rPr>
                <a:t>  des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mesures</a:t>
              </a:r>
              <a:r>
                <a:rPr lang="en-US" sz="1200" dirty="0" smtClean="0">
                  <a:solidFill>
                    <a:srgbClr val="000000"/>
                  </a:solidFill>
                </a:rPr>
                <a:t> et actions 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entreprises</a:t>
              </a:r>
              <a:r>
                <a:rPr lang="en-US" sz="1200" dirty="0" smtClean="0">
                  <a:solidFill>
                    <a:srgbClr val="000000"/>
                  </a:solidFill>
                </a:rPr>
                <a:t>.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765581" y="1585913"/>
              <a:ext cx="2777777" cy="427572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r>
                <a:rPr lang="en-US" sz="1600" b="1" dirty="0" err="1" smtClean="0">
                  <a:solidFill>
                    <a:schemeClr val="bg1"/>
                  </a:solidFill>
                </a:rPr>
                <a:t>Accompagnement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 &amp; Consulting.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Right Triangle 34"/>
            <p:cNvSpPr/>
            <p:nvPr/>
          </p:nvSpPr>
          <p:spPr>
            <a:xfrm flipH="1" flipV="1">
              <a:off x="6765581" y="2013485"/>
              <a:ext cx="137564" cy="137564"/>
            </a:xfrm>
            <a:prstGeom prst="rtTriangle">
              <a:avLst/>
            </a:prstGeom>
            <a:solidFill>
              <a:srgbClr val="1E6911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3" name="Right Triangle 52"/>
            <p:cNvSpPr/>
            <p:nvPr/>
          </p:nvSpPr>
          <p:spPr>
            <a:xfrm flipV="1">
              <a:off x="9405794" y="2013485"/>
              <a:ext cx="137564" cy="137564"/>
            </a:xfrm>
            <a:prstGeom prst="rtTriangle">
              <a:avLst/>
            </a:prstGeom>
            <a:solidFill>
              <a:srgbClr val="1E6911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242021" y="1763230"/>
            <a:ext cx="1024207" cy="1024207"/>
            <a:chOff x="1988940" y="1585913"/>
            <a:chExt cx="1299094" cy="1299094"/>
          </a:xfrm>
        </p:grpSpPr>
        <p:sp>
          <p:nvSpPr>
            <p:cNvPr id="8" name="Oval 7"/>
            <p:cNvSpPr/>
            <p:nvPr/>
          </p:nvSpPr>
          <p:spPr>
            <a:xfrm>
              <a:off x="1988940" y="1585913"/>
              <a:ext cx="1299094" cy="1299094"/>
            </a:xfrm>
            <a:prstGeom prst="ellipse">
              <a:avLst/>
            </a:prstGeom>
            <a:solidFill>
              <a:srgbClr val="0D65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2274601" y="1860800"/>
              <a:ext cx="727772" cy="749321"/>
              <a:chOff x="-1080031" y="1080338"/>
              <a:chExt cx="1414362" cy="1456240"/>
            </a:xfrm>
            <a:solidFill>
              <a:schemeClr val="bg1"/>
            </a:solidFill>
          </p:grpSpPr>
          <p:sp>
            <p:nvSpPr>
              <p:cNvPr id="24" name="Freeform 491"/>
              <p:cNvSpPr>
                <a:spLocks noEditPoints="1"/>
              </p:cNvSpPr>
              <p:nvPr/>
            </p:nvSpPr>
            <p:spPr bwMode="auto">
              <a:xfrm>
                <a:off x="-568255" y="2196944"/>
                <a:ext cx="293108" cy="339634"/>
              </a:xfrm>
              <a:custGeom>
                <a:avLst/>
                <a:gdLst>
                  <a:gd name="T0" fmla="*/ 213 w 314"/>
                  <a:gd name="T1" fmla="*/ 40 h 361"/>
                  <a:gd name="T2" fmla="*/ 225 w 314"/>
                  <a:gd name="T3" fmla="*/ 42 h 361"/>
                  <a:gd name="T4" fmla="*/ 246 w 314"/>
                  <a:gd name="T5" fmla="*/ 51 h 361"/>
                  <a:gd name="T6" fmla="*/ 264 w 314"/>
                  <a:gd name="T7" fmla="*/ 67 h 361"/>
                  <a:gd name="T8" fmla="*/ 273 w 314"/>
                  <a:gd name="T9" fmla="*/ 88 h 361"/>
                  <a:gd name="T10" fmla="*/ 274 w 314"/>
                  <a:gd name="T11" fmla="*/ 100 h 361"/>
                  <a:gd name="T12" fmla="*/ 274 w 314"/>
                  <a:gd name="T13" fmla="*/ 260 h 361"/>
                  <a:gd name="T14" fmla="*/ 273 w 314"/>
                  <a:gd name="T15" fmla="*/ 272 h 361"/>
                  <a:gd name="T16" fmla="*/ 264 w 314"/>
                  <a:gd name="T17" fmla="*/ 293 h 361"/>
                  <a:gd name="T18" fmla="*/ 246 w 314"/>
                  <a:gd name="T19" fmla="*/ 309 h 361"/>
                  <a:gd name="T20" fmla="*/ 225 w 314"/>
                  <a:gd name="T21" fmla="*/ 318 h 361"/>
                  <a:gd name="T22" fmla="*/ 213 w 314"/>
                  <a:gd name="T23" fmla="*/ 320 h 361"/>
                  <a:gd name="T24" fmla="*/ 101 w 314"/>
                  <a:gd name="T25" fmla="*/ 320 h 361"/>
                  <a:gd name="T26" fmla="*/ 89 w 314"/>
                  <a:gd name="T27" fmla="*/ 318 h 361"/>
                  <a:gd name="T28" fmla="*/ 67 w 314"/>
                  <a:gd name="T29" fmla="*/ 309 h 361"/>
                  <a:gd name="T30" fmla="*/ 50 w 314"/>
                  <a:gd name="T31" fmla="*/ 293 h 361"/>
                  <a:gd name="T32" fmla="*/ 41 w 314"/>
                  <a:gd name="T33" fmla="*/ 272 h 361"/>
                  <a:gd name="T34" fmla="*/ 40 w 314"/>
                  <a:gd name="T35" fmla="*/ 260 h 361"/>
                  <a:gd name="T36" fmla="*/ 40 w 314"/>
                  <a:gd name="T37" fmla="*/ 100 h 361"/>
                  <a:gd name="T38" fmla="*/ 41 w 314"/>
                  <a:gd name="T39" fmla="*/ 88 h 361"/>
                  <a:gd name="T40" fmla="*/ 50 w 314"/>
                  <a:gd name="T41" fmla="*/ 67 h 361"/>
                  <a:gd name="T42" fmla="*/ 67 w 314"/>
                  <a:gd name="T43" fmla="*/ 51 h 361"/>
                  <a:gd name="T44" fmla="*/ 89 w 314"/>
                  <a:gd name="T45" fmla="*/ 42 h 361"/>
                  <a:gd name="T46" fmla="*/ 101 w 314"/>
                  <a:gd name="T47" fmla="*/ 40 h 361"/>
                  <a:gd name="T48" fmla="*/ 213 w 314"/>
                  <a:gd name="T49" fmla="*/ 0 h 361"/>
                  <a:gd name="T50" fmla="*/ 101 w 314"/>
                  <a:gd name="T51" fmla="*/ 0 h 361"/>
                  <a:gd name="T52" fmla="*/ 81 w 314"/>
                  <a:gd name="T53" fmla="*/ 2 h 361"/>
                  <a:gd name="T54" fmla="*/ 62 w 314"/>
                  <a:gd name="T55" fmla="*/ 8 h 361"/>
                  <a:gd name="T56" fmla="*/ 44 w 314"/>
                  <a:gd name="T57" fmla="*/ 17 h 361"/>
                  <a:gd name="T58" fmla="*/ 29 w 314"/>
                  <a:gd name="T59" fmla="*/ 30 h 361"/>
                  <a:gd name="T60" fmla="*/ 17 w 314"/>
                  <a:gd name="T61" fmla="*/ 45 h 361"/>
                  <a:gd name="T62" fmla="*/ 8 w 314"/>
                  <a:gd name="T63" fmla="*/ 62 h 361"/>
                  <a:gd name="T64" fmla="*/ 2 w 314"/>
                  <a:gd name="T65" fmla="*/ 80 h 361"/>
                  <a:gd name="T66" fmla="*/ 0 w 314"/>
                  <a:gd name="T67" fmla="*/ 100 h 361"/>
                  <a:gd name="T68" fmla="*/ 0 w 314"/>
                  <a:gd name="T69" fmla="*/ 260 h 361"/>
                  <a:gd name="T70" fmla="*/ 2 w 314"/>
                  <a:gd name="T71" fmla="*/ 280 h 361"/>
                  <a:gd name="T72" fmla="*/ 8 w 314"/>
                  <a:gd name="T73" fmla="*/ 298 h 361"/>
                  <a:gd name="T74" fmla="*/ 17 w 314"/>
                  <a:gd name="T75" fmla="*/ 315 h 361"/>
                  <a:gd name="T76" fmla="*/ 29 w 314"/>
                  <a:gd name="T77" fmla="*/ 330 h 361"/>
                  <a:gd name="T78" fmla="*/ 44 w 314"/>
                  <a:gd name="T79" fmla="*/ 343 h 361"/>
                  <a:gd name="T80" fmla="*/ 62 w 314"/>
                  <a:gd name="T81" fmla="*/ 353 h 361"/>
                  <a:gd name="T82" fmla="*/ 81 w 314"/>
                  <a:gd name="T83" fmla="*/ 359 h 361"/>
                  <a:gd name="T84" fmla="*/ 101 w 314"/>
                  <a:gd name="T85" fmla="*/ 361 h 361"/>
                  <a:gd name="T86" fmla="*/ 213 w 314"/>
                  <a:gd name="T87" fmla="*/ 361 h 361"/>
                  <a:gd name="T88" fmla="*/ 233 w 314"/>
                  <a:gd name="T89" fmla="*/ 359 h 361"/>
                  <a:gd name="T90" fmla="*/ 252 w 314"/>
                  <a:gd name="T91" fmla="*/ 353 h 361"/>
                  <a:gd name="T92" fmla="*/ 270 w 314"/>
                  <a:gd name="T93" fmla="*/ 343 h 361"/>
                  <a:gd name="T94" fmla="*/ 284 w 314"/>
                  <a:gd name="T95" fmla="*/ 330 h 361"/>
                  <a:gd name="T96" fmla="*/ 297 w 314"/>
                  <a:gd name="T97" fmla="*/ 315 h 361"/>
                  <a:gd name="T98" fmla="*/ 306 w 314"/>
                  <a:gd name="T99" fmla="*/ 298 h 361"/>
                  <a:gd name="T100" fmla="*/ 312 w 314"/>
                  <a:gd name="T101" fmla="*/ 280 h 361"/>
                  <a:gd name="T102" fmla="*/ 314 w 314"/>
                  <a:gd name="T103" fmla="*/ 260 h 361"/>
                  <a:gd name="T104" fmla="*/ 314 w 314"/>
                  <a:gd name="T105" fmla="*/ 100 h 361"/>
                  <a:gd name="T106" fmla="*/ 312 w 314"/>
                  <a:gd name="T107" fmla="*/ 80 h 361"/>
                  <a:gd name="T108" fmla="*/ 306 w 314"/>
                  <a:gd name="T109" fmla="*/ 62 h 361"/>
                  <a:gd name="T110" fmla="*/ 297 w 314"/>
                  <a:gd name="T111" fmla="*/ 45 h 361"/>
                  <a:gd name="T112" fmla="*/ 284 w 314"/>
                  <a:gd name="T113" fmla="*/ 30 h 361"/>
                  <a:gd name="T114" fmla="*/ 270 w 314"/>
                  <a:gd name="T115" fmla="*/ 17 h 361"/>
                  <a:gd name="T116" fmla="*/ 252 w 314"/>
                  <a:gd name="T117" fmla="*/ 8 h 361"/>
                  <a:gd name="T118" fmla="*/ 233 w 314"/>
                  <a:gd name="T119" fmla="*/ 2 h 361"/>
                  <a:gd name="T120" fmla="*/ 213 w 314"/>
                  <a:gd name="T121" fmla="*/ 0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4" h="361">
                    <a:moveTo>
                      <a:pt x="213" y="40"/>
                    </a:moveTo>
                    <a:lnTo>
                      <a:pt x="213" y="40"/>
                    </a:lnTo>
                    <a:lnTo>
                      <a:pt x="219" y="41"/>
                    </a:lnTo>
                    <a:lnTo>
                      <a:pt x="225" y="42"/>
                    </a:lnTo>
                    <a:lnTo>
                      <a:pt x="236" y="45"/>
                    </a:lnTo>
                    <a:lnTo>
                      <a:pt x="246" y="51"/>
                    </a:lnTo>
                    <a:lnTo>
                      <a:pt x="256" y="58"/>
                    </a:lnTo>
                    <a:lnTo>
                      <a:pt x="264" y="67"/>
                    </a:lnTo>
                    <a:lnTo>
                      <a:pt x="269" y="77"/>
                    </a:lnTo>
                    <a:lnTo>
                      <a:pt x="273" y="88"/>
                    </a:lnTo>
                    <a:lnTo>
                      <a:pt x="274" y="94"/>
                    </a:lnTo>
                    <a:lnTo>
                      <a:pt x="274" y="100"/>
                    </a:lnTo>
                    <a:lnTo>
                      <a:pt x="274" y="260"/>
                    </a:lnTo>
                    <a:lnTo>
                      <a:pt x="274" y="260"/>
                    </a:lnTo>
                    <a:lnTo>
                      <a:pt x="274" y="266"/>
                    </a:lnTo>
                    <a:lnTo>
                      <a:pt x="273" y="272"/>
                    </a:lnTo>
                    <a:lnTo>
                      <a:pt x="269" y="283"/>
                    </a:lnTo>
                    <a:lnTo>
                      <a:pt x="264" y="293"/>
                    </a:lnTo>
                    <a:lnTo>
                      <a:pt x="256" y="302"/>
                    </a:lnTo>
                    <a:lnTo>
                      <a:pt x="246" y="309"/>
                    </a:lnTo>
                    <a:lnTo>
                      <a:pt x="236" y="315"/>
                    </a:lnTo>
                    <a:lnTo>
                      <a:pt x="225" y="318"/>
                    </a:lnTo>
                    <a:lnTo>
                      <a:pt x="219" y="319"/>
                    </a:lnTo>
                    <a:lnTo>
                      <a:pt x="213" y="320"/>
                    </a:lnTo>
                    <a:lnTo>
                      <a:pt x="101" y="320"/>
                    </a:lnTo>
                    <a:lnTo>
                      <a:pt x="101" y="320"/>
                    </a:lnTo>
                    <a:lnTo>
                      <a:pt x="95" y="319"/>
                    </a:lnTo>
                    <a:lnTo>
                      <a:pt x="89" y="318"/>
                    </a:lnTo>
                    <a:lnTo>
                      <a:pt x="78" y="315"/>
                    </a:lnTo>
                    <a:lnTo>
                      <a:pt x="67" y="309"/>
                    </a:lnTo>
                    <a:lnTo>
                      <a:pt x="58" y="302"/>
                    </a:lnTo>
                    <a:lnTo>
                      <a:pt x="50" y="293"/>
                    </a:lnTo>
                    <a:lnTo>
                      <a:pt x="45" y="283"/>
                    </a:lnTo>
                    <a:lnTo>
                      <a:pt x="41" y="272"/>
                    </a:lnTo>
                    <a:lnTo>
                      <a:pt x="40" y="266"/>
                    </a:lnTo>
                    <a:lnTo>
                      <a:pt x="40" y="26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94"/>
                    </a:lnTo>
                    <a:lnTo>
                      <a:pt x="41" y="88"/>
                    </a:lnTo>
                    <a:lnTo>
                      <a:pt x="45" y="77"/>
                    </a:lnTo>
                    <a:lnTo>
                      <a:pt x="50" y="67"/>
                    </a:lnTo>
                    <a:lnTo>
                      <a:pt x="58" y="58"/>
                    </a:lnTo>
                    <a:lnTo>
                      <a:pt x="67" y="51"/>
                    </a:lnTo>
                    <a:lnTo>
                      <a:pt x="78" y="45"/>
                    </a:lnTo>
                    <a:lnTo>
                      <a:pt x="89" y="42"/>
                    </a:lnTo>
                    <a:lnTo>
                      <a:pt x="95" y="41"/>
                    </a:lnTo>
                    <a:lnTo>
                      <a:pt x="101" y="40"/>
                    </a:lnTo>
                    <a:lnTo>
                      <a:pt x="213" y="40"/>
                    </a:lnTo>
                    <a:close/>
                    <a:moveTo>
                      <a:pt x="213" y="0"/>
                    </a:moveTo>
                    <a:lnTo>
                      <a:pt x="101" y="0"/>
                    </a:lnTo>
                    <a:lnTo>
                      <a:pt x="101" y="0"/>
                    </a:lnTo>
                    <a:lnTo>
                      <a:pt x="91" y="1"/>
                    </a:lnTo>
                    <a:lnTo>
                      <a:pt x="81" y="2"/>
                    </a:lnTo>
                    <a:lnTo>
                      <a:pt x="71" y="5"/>
                    </a:lnTo>
                    <a:lnTo>
                      <a:pt x="62" y="8"/>
                    </a:lnTo>
                    <a:lnTo>
                      <a:pt x="52" y="12"/>
                    </a:lnTo>
                    <a:lnTo>
                      <a:pt x="44" y="17"/>
                    </a:lnTo>
                    <a:lnTo>
                      <a:pt x="36" y="23"/>
                    </a:lnTo>
                    <a:lnTo>
                      <a:pt x="29" y="30"/>
                    </a:lnTo>
                    <a:lnTo>
                      <a:pt x="23" y="37"/>
                    </a:lnTo>
                    <a:lnTo>
                      <a:pt x="17" y="45"/>
                    </a:lnTo>
                    <a:lnTo>
                      <a:pt x="12" y="53"/>
                    </a:lnTo>
                    <a:lnTo>
                      <a:pt x="8" y="62"/>
                    </a:lnTo>
                    <a:lnTo>
                      <a:pt x="4" y="71"/>
                    </a:lnTo>
                    <a:lnTo>
                      <a:pt x="2" y="80"/>
                    </a:lnTo>
                    <a:lnTo>
                      <a:pt x="0" y="90"/>
                    </a:lnTo>
                    <a:lnTo>
                      <a:pt x="0" y="100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0" y="270"/>
                    </a:lnTo>
                    <a:lnTo>
                      <a:pt x="2" y="280"/>
                    </a:lnTo>
                    <a:lnTo>
                      <a:pt x="4" y="289"/>
                    </a:lnTo>
                    <a:lnTo>
                      <a:pt x="8" y="298"/>
                    </a:lnTo>
                    <a:lnTo>
                      <a:pt x="12" y="307"/>
                    </a:lnTo>
                    <a:lnTo>
                      <a:pt x="17" y="315"/>
                    </a:lnTo>
                    <a:lnTo>
                      <a:pt x="23" y="323"/>
                    </a:lnTo>
                    <a:lnTo>
                      <a:pt x="29" y="330"/>
                    </a:lnTo>
                    <a:lnTo>
                      <a:pt x="36" y="337"/>
                    </a:lnTo>
                    <a:lnTo>
                      <a:pt x="44" y="343"/>
                    </a:lnTo>
                    <a:lnTo>
                      <a:pt x="52" y="349"/>
                    </a:lnTo>
                    <a:lnTo>
                      <a:pt x="62" y="353"/>
                    </a:lnTo>
                    <a:lnTo>
                      <a:pt x="71" y="356"/>
                    </a:lnTo>
                    <a:lnTo>
                      <a:pt x="81" y="359"/>
                    </a:lnTo>
                    <a:lnTo>
                      <a:pt x="91" y="360"/>
                    </a:lnTo>
                    <a:lnTo>
                      <a:pt x="101" y="361"/>
                    </a:lnTo>
                    <a:lnTo>
                      <a:pt x="213" y="361"/>
                    </a:lnTo>
                    <a:lnTo>
                      <a:pt x="213" y="361"/>
                    </a:lnTo>
                    <a:lnTo>
                      <a:pt x="223" y="360"/>
                    </a:lnTo>
                    <a:lnTo>
                      <a:pt x="233" y="359"/>
                    </a:lnTo>
                    <a:lnTo>
                      <a:pt x="243" y="356"/>
                    </a:lnTo>
                    <a:lnTo>
                      <a:pt x="252" y="353"/>
                    </a:lnTo>
                    <a:lnTo>
                      <a:pt x="261" y="349"/>
                    </a:lnTo>
                    <a:lnTo>
                      <a:pt x="270" y="343"/>
                    </a:lnTo>
                    <a:lnTo>
                      <a:pt x="277" y="337"/>
                    </a:lnTo>
                    <a:lnTo>
                      <a:pt x="284" y="330"/>
                    </a:lnTo>
                    <a:lnTo>
                      <a:pt x="291" y="323"/>
                    </a:lnTo>
                    <a:lnTo>
                      <a:pt x="297" y="315"/>
                    </a:lnTo>
                    <a:lnTo>
                      <a:pt x="302" y="307"/>
                    </a:lnTo>
                    <a:lnTo>
                      <a:pt x="306" y="298"/>
                    </a:lnTo>
                    <a:lnTo>
                      <a:pt x="309" y="289"/>
                    </a:lnTo>
                    <a:lnTo>
                      <a:pt x="312" y="280"/>
                    </a:lnTo>
                    <a:lnTo>
                      <a:pt x="313" y="270"/>
                    </a:lnTo>
                    <a:lnTo>
                      <a:pt x="314" y="260"/>
                    </a:lnTo>
                    <a:lnTo>
                      <a:pt x="314" y="100"/>
                    </a:lnTo>
                    <a:lnTo>
                      <a:pt x="314" y="100"/>
                    </a:lnTo>
                    <a:lnTo>
                      <a:pt x="313" y="90"/>
                    </a:lnTo>
                    <a:lnTo>
                      <a:pt x="312" y="80"/>
                    </a:lnTo>
                    <a:lnTo>
                      <a:pt x="309" y="71"/>
                    </a:lnTo>
                    <a:lnTo>
                      <a:pt x="306" y="62"/>
                    </a:lnTo>
                    <a:lnTo>
                      <a:pt x="302" y="53"/>
                    </a:lnTo>
                    <a:lnTo>
                      <a:pt x="297" y="45"/>
                    </a:lnTo>
                    <a:lnTo>
                      <a:pt x="291" y="37"/>
                    </a:lnTo>
                    <a:lnTo>
                      <a:pt x="284" y="30"/>
                    </a:lnTo>
                    <a:lnTo>
                      <a:pt x="277" y="23"/>
                    </a:lnTo>
                    <a:lnTo>
                      <a:pt x="270" y="17"/>
                    </a:lnTo>
                    <a:lnTo>
                      <a:pt x="261" y="12"/>
                    </a:lnTo>
                    <a:lnTo>
                      <a:pt x="252" y="8"/>
                    </a:lnTo>
                    <a:lnTo>
                      <a:pt x="243" y="5"/>
                    </a:lnTo>
                    <a:lnTo>
                      <a:pt x="233" y="2"/>
                    </a:lnTo>
                    <a:lnTo>
                      <a:pt x="223" y="1"/>
                    </a:lnTo>
                    <a:lnTo>
                      <a:pt x="213" y="0"/>
                    </a:lnTo>
                    <a:lnTo>
                      <a:pt x="213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94"/>
              <p:cNvSpPr>
                <a:spLocks/>
              </p:cNvSpPr>
              <p:nvPr/>
            </p:nvSpPr>
            <p:spPr bwMode="auto">
              <a:xfrm>
                <a:off x="-796228" y="1392057"/>
                <a:ext cx="749053" cy="893284"/>
              </a:xfrm>
              <a:custGeom>
                <a:avLst/>
                <a:gdLst>
                  <a:gd name="T0" fmla="*/ 380 w 802"/>
                  <a:gd name="T1" fmla="*/ 1 h 962"/>
                  <a:gd name="T2" fmla="*/ 320 w 802"/>
                  <a:gd name="T3" fmla="*/ 8 h 962"/>
                  <a:gd name="T4" fmla="*/ 262 w 802"/>
                  <a:gd name="T5" fmla="*/ 26 h 962"/>
                  <a:gd name="T6" fmla="*/ 209 w 802"/>
                  <a:gd name="T7" fmla="*/ 49 h 962"/>
                  <a:gd name="T8" fmla="*/ 161 w 802"/>
                  <a:gd name="T9" fmla="*/ 80 h 962"/>
                  <a:gd name="T10" fmla="*/ 117 w 802"/>
                  <a:gd name="T11" fmla="*/ 118 h 962"/>
                  <a:gd name="T12" fmla="*/ 79 w 802"/>
                  <a:gd name="T13" fmla="*/ 161 h 962"/>
                  <a:gd name="T14" fmla="*/ 48 w 802"/>
                  <a:gd name="T15" fmla="*/ 210 h 962"/>
                  <a:gd name="T16" fmla="*/ 24 w 802"/>
                  <a:gd name="T17" fmla="*/ 264 h 962"/>
                  <a:gd name="T18" fmla="*/ 8 w 802"/>
                  <a:gd name="T19" fmla="*/ 320 h 962"/>
                  <a:gd name="T20" fmla="*/ 0 w 802"/>
                  <a:gd name="T21" fmla="*/ 380 h 962"/>
                  <a:gd name="T22" fmla="*/ 0 w 802"/>
                  <a:gd name="T23" fmla="*/ 425 h 962"/>
                  <a:gd name="T24" fmla="*/ 10 w 802"/>
                  <a:gd name="T25" fmla="*/ 492 h 962"/>
                  <a:gd name="T26" fmla="*/ 30 w 802"/>
                  <a:gd name="T27" fmla="*/ 556 h 962"/>
                  <a:gd name="T28" fmla="*/ 61 w 802"/>
                  <a:gd name="T29" fmla="*/ 614 h 962"/>
                  <a:gd name="T30" fmla="*/ 101 w 802"/>
                  <a:gd name="T31" fmla="*/ 667 h 962"/>
                  <a:gd name="T32" fmla="*/ 148 w 802"/>
                  <a:gd name="T33" fmla="*/ 712 h 962"/>
                  <a:gd name="T34" fmla="*/ 159 w 802"/>
                  <a:gd name="T35" fmla="*/ 728 h 962"/>
                  <a:gd name="T36" fmla="*/ 182 w 802"/>
                  <a:gd name="T37" fmla="*/ 790 h 962"/>
                  <a:gd name="T38" fmla="*/ 212 w 802"/>
                  <a:gd name="T39" fmla="*/ 885 h 962"/>
                  <a:gd name="T40" fmla="*/ 231 w 802"/>
                  <a:gd name="T41" fmla="*/ 926 h 962"/>
                  <a:gd name="T42" fmla="*/ 244 w 802"/>
                  <a:gd name="T43" fmla="*/ 939 h 962"/>
                  <a:gd name="T44" fmla="*/ 280 w 802"/>
                  <a:gd name="T45" fmla="*/ 951 h 962"/>
                  <a:gd name="T46" fmla="*/ 340 w 802"/>
                  <a:gd name="T47" fmla="*/ 960 h 962"/>
                  <a:gd name="T48" fmla="*/ 401 w 802"/>
                  <a:gd name="T49" fmla="*/ 962 h 962"/>
                  <a:gd name="T50" fmla="*/ 482 w 802"/>
                  <a:gd name="T51" fmla="*/ 958 h 962"/>
                  <a:gd name="T52" fmla="*/ 540 w 802"/>
                  <a:gd name="T53" fmla="*/ 945 h 962"/>
                  <a:gd name="T54" fmla="*/ 562 w 802"/>
                  <a:gd name="T55" fmla="*/ 936 h 962"/>
                  <a:gd name="T56" fmla="*/ 578 w 802"/>
                  <a:gd name="T57" fmla="*/ 913 h 962"/>
                  <a:gd name="T58" fmla="*/ 597 w 802"/>
                  <a:gd name="T59" fmla="*/ 866 h 962"/>
                  <a:gd name="T60" fmla="*/ 633 w 802"/>
                  <a:gd name="T61" fmla="*/ 753 h 962"/>
                  <a:gd name="T62" fmla="*/ 650 w 802"/>
                  <a:gd name="T63" fmla="*/ 716 h 962"/>
                  <a:gd name="T64" fmla="*/ 672 w 802"/>
                  <a:gd name="T65" fmla="*/ 696 h 962"/>
                  <a:gd name="T66" fmla="*/ 717 w 802"/>
                  <a:gd name="T67" fmla="*/ 648 h 962"/>
                  <a:gd name="T68" fmla="*/ 753 w 802"/>
                  <a:gd name="T69" fmla="*/ 594 h 962"/>
                  <a:gd name="T70" fmla="*/ 779 w 802"/>
                  <a:gd name="T71" fmla="*/ 534 h 962"/>
                  <a:gd name="T72" fmla="*/ 796 w 802"/>
                  <a:gd name="T73" fmla="*/ 470 h 962"/>
                  <a:gd name="T74" fmla="*/ 802 w 802"/>
                  <a:gd name="T75" fmla="*/ 401 h 962"/>
                  <a:gd name="T76" fmla="*/ 800 w 802"/>
                  <a:gd name="T77" fmla="*/ 360 h 962"/>
                  <a:gd name="T78" fmla="*/ 789 w 802"/>
                  <a:gd name="T79" fmla="*/ 301 h 962"/>
                  <a:gd name="T80" fmla="*/ 770 w 802"/>
                  <a:gd name="T81" fmla="*/ 246 h 962"/>
                  <a:gd name="T82" fmla="*/ 744 w 802"/>
                  <a:gd name="T83" fmla="*/ 193 h 962"/>
                  <a:gd name="T84" fmla="*/ 711 w 802"/>
                  <a:gd name="T85" fmla="*/ 146 h 962"/>
                  <a:gd name="T86" fmla="*/ 670 w 802"/>
                  <a:gd name="T87" fmla="*/ 105 h 962"/>
                  <a:gd name="T88" fmla="*/ 625 w 802"/>
                  <a:gd name="T89" fmla="*/ 69 h 962"/>
                  <a:gd name="T90" fmla="*/ 575 w 802"/>
                  <a:gd name="T91" fmla="*/ 41 h 962"/>
                  <a:gd name="T92" fmla="*/ 520 w 802"/>
                  <a:gd name="T93" fmla="*/ 19 h 962"/>
                  <a:gd name="T94" fmla="*/ 461 w 802"/>
                  <a:gd name="T95" fmla="*/ 5 h 962"/>
                  <a:gd name="T96" fmla="*/ 401 w 802"/>
                  <a:gd name="T97" fmla="*/ 0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2" h="962">
                    <a:moveTo>
                      <a:pt x="401" y="0"/>
                    </a:moveTo>
                    <a:lnTo>
                      <a:pt x="401" y="0"/>
                    </a:lnTo>
                    <a:lnTo>
                      <a:pt x="380" y="1"/>
                    </a:lnTo>
                    <a:lnTo>
                      <a:pt x="360" y="2"/>
                    </a:lnTo>
                    <a:lnTo>
                      <a:pt x="340" y="5"/>
                    </a:lnTo>
                    <a:lnTo>
                      <a:pt x="320" y="8"/>
                    </a:lnTo>
                    <a:lnTo>
                      <a:pt x="301" y="13"/>
                    </a:lnTo>
                    <a:lnTo>
                      <a:pt x="281" y="19"/>
                    </a:lnTo>
                    <a:lnTo>
                      <a:pt x="262" y="26"/>
                    </a:lnTo>
                    <a:lnTo>
                      <a:pt x="244" y="33"/>
                    </a:lnTo>
                    <a:lnTo>
                      <a:pt x="227" y="41"/>
                    </a:lnTo>
                    <a:lnTo>
                      <a:pt x="209" y="49"/>
                    </a:lnTo>
                    <a:lnTo>
                      <a:pt x="193" y="59"/>
                    </a:lnTo>
                    <a:lnTo>
                      <a:pt x="177" y="69"/>
                    </a:lnTo>
                    <a:lnTo>
                      <a:pt x="161" y="80"/>
                    </a:lnTo>
                    <a:lnTo>
                      <a:pt x="146" y="92"/>
                    </a:lnTo>
                    <a:lnTo>
                      <a:pt x="131" y="105"/>
                    </a:lnTo>
                    <a:lnTo>
                      <a:pt x="117" y="118"/>
                    </a:lnTo>
                    <a:lnTo>
                      <a:pt x="104" y="132"/>
                    </a:lnTo>
                    <a:lnTo>
                      <a:pt x="91" y="146"/>
                    </a:lnTo>
                    <a:lnTo>
                      <a:pt x="79" y="161"/>
                    </a:lnTo>
                    <a:lnTo>
                      <a:pt x="68" y="177"/>
                    </a:lnTo>
                    <a:lnTo>
                      <a:pt x="57" y="193"/>
                    </a:lnTo>
                    <a:lnTo>
                      <a:pt x="48" y="210"/>
                    </a:lnTo>
                    <a:lnTo>
                      <a:pt x="39" y="228"/>
                    </a:lnTo>
                    <a:lnTo>
                      <a:pt x="31" y="246"/>
                    </a:lnTo>
                    <a:lnTo>
                      <a:pt x="24" y="264"/>
                    </a:lnTo>
                    <a:lnTo>
                      <a:pt x="17" y="282"/>
                    </a:lnTo>
                    <a:lnTo>
                      <a:pt x="12" y="301"/>
                    </a:lnTo>
                    <a:lnTo>
                      <a:pt x="8" y="320"/>
                    </a:lnTo>
                    <a:lnTo>
                      <a:pt x="4" y="340"/>
                    </a:lnTo>
                    <a:lnTo>
                      <a:pt x="2" y="360"/>
                    </a:lnTo>
                    <a:lnTo>
                      <a:pt x="0" y="380"/>
                    </a:lnTo>
                    <a:lnTo>
                      <a:pt x="0" y="401"/>
                    </a:lnTo>
                    <a:lnTo>
                      <a:pt x="0" y="401"/>
                    </a:lnTo>
                    <a:lnTo>
                      <a:pt x="0" y="425"/>
                    </a:lnTo>
                    <a:lnTo>
                      <a:pt x="2" y="448"/>
                    </a:lnTo>
                    <a:lnTo>
                      <a:pt x="5" y="470"/>
                    </a:lnTo>
                    <a:lnTo>
                      <a:pt x="10" y="492"/>
                    </a:lnTo>
                    <a:lnTo>
                      <a:pt x="16" y="514"/>
                    </a:lnTo>
                    <a:lnTo>
                      <a:pt x="22" y="535"/>
                    </a:lnTo>
                    <a:lnTo>
                      <a:pt x="30" y="556"/>
                    </a:lnTo>
                    <a:lnTo>
                      <a:pt x="40" y="576"/>
                    </a:lnTo>
                    <a:lnTo>
                      <a:pt x="50" y="595"/>
                    </a:lnTo>
                    <a:lnTo>
                      <a:pt x="61" y="614"/>
                    </a:lnTo>
                    <a:lnTo>
                      <a:pt x="73" y="633"/>
                    </a:lnTo>
                    <a:lnTo>
                      <a:pt x="86" y="650"/>
                    </a:lnTo>
                    <a:lnTo>
                      <a:pt x="101" y="667"/>
                    </a:lnTo>
                    <a:lnTo>
                      <a:pt x="116" y="683"/>
                    </a:lnTo>
                    <a:lnTo>
                      <a:pt x="132" y="698"/>
                    </a:lnTo>
                    <a:lnTo>
                      <a:pt x="148" y="712"/>
                    </a:lnTo>
                    <a:lnTo>
                      <a:pt x="148" y="712"/>
                    </a:lnTo>
                    <a:lnTo>
                      <a:pt x="154" y="718"/>
                    </a:lnTo>
                    <a:lnTo>
                      <a:pt x="159" y="728"/>
                    </a:lnTo>
                    <a:lnTo>
                      <a:pt x="165" y="740"/>
                    </a:lnTo>
                    <a:lnTo>
                      <a:pt x="170" y="755"/>
                    </a:lnTo>
                    <a:lnTo>
                      <a:pt x="182" y="790"/>
                    </a:lnTo>
                    <a:lnTo>
                      <a:pt x="194" y="829"/>
                    </a:lnTo>
                    <a:lnTo>
                      <a:pt x="206" y="867"/>
                    </a:lnTo>
                    <a:lnTo>
                      <a:pt x="212" y="885"/>
                    </a:lnTo>
                    <a:lnTo>
                      <a:pt x="218" y="901"/>
                    </a:lnTo>
                    <a:lnTo>
                      <a:pt x="224" y="914"/>
                    </a:lnTo>
                    <a:lnTo>
                      <a:pt x="231" y="926"/>
                    </a:lnTo>
                    <a:lnTo>
                      <a:pt x="237" y="934"/>
                    </a:lnTo>
                    <a:lnTo>
                      <a:pt x="240" y="937"/>
                    </a:lnTo>
                    <a:lnTo>
                      <a:pt x="244" y="939"/>
                    </a:lnTo>
                    <a:lnTo>
                      <a:pt x="244" y="939"/>
                    </a:lnTo>
                    <a:lnTo>
                      <a:pt x="262" y="945"/>
                    </a:lnTo>
                    <a:lnTo>
                      <a:pt x="280" y="951"/>
                    </a:lnTo>
                    <a:lnTo>
                      <a:pt x="300" y="955"/>
                    </a:lnTo>
                    <a:lnTo>
                      <a:pt x="320" y="958"/>
                    </a:lnTo>
                    <a:lnTo>
                      <a:pt x="340" y="960"/>
                    </a:lnTo>
                    <a:lnTo>
                      <a:pt x="360" y="961"/>
                    </a:lnTo>
                    <a:lnTo>
                      <a:pt x="401" y="962"/>
                    </a:lnTo>
                    <a:lnTo>
                      <a:pt x="401" y="962"/>
                    </a:lnTo>
                    <a:lnTo>
                      <a:pt x="442" y="961"/>
                    </a:lnTo>
                    <a:lnTo>
                      <a:pt x="462" y="960"/>
                    </a:lnTo>
                    <a:lnTo>
                      <a:pt x="482" y="958"/>
                    </a:lnTo>
                    <a:lnTo>
                      <a:pt x="502" y="954"/>
                    </a:lnTo>
                    <a:lnTo>
                      <a:pt x="521" y="950"/>
                    </a:lnTo>
                    <a:lnTo>
                      <a:pt x="540" y="945"/>
                    </a:lnTo>
                    <a:lnTo>
                      <a:pt x="558" y="938"/>
                    </a:lnTo>
                    <a:lnTo>
                      <a:pt x="558" y="938"/>
                    </a:lnTo>
                    <a:lnTo>
                      <a:pt x="562" y="936"/>
                    </a:lnTo>
                    <a:lnTo>
                      <a:pt x="565" y="933"/>
                    </a:lnTo>
                    <a:lnTo>
                      <a:pt x="572" y="925"/>
                    </a:lnTo>
                    <a:lnTo>
                      <a:pt x="578" y="913"/>
                    </a:lnTo>
                    <a:lnTo>
                      <a:pt x="584" y="899"/>
                    </a:lnTo>
                    <a:lnTo>
                      <a:pt x="591" y="883"/>
                    </a:lnTo>
                    <a:lnTo>
                      <a:pt x="597" y="866"/>
                    </a:lnTo>
                    <a:lnTo>
                      <a:pt x="609" y="828"/>
                    </a:lnTo>
                    <a:lnTo>
                      <a:pt x="621" y="788"/>
                    </a:lnTo>
                    <a:lnTo>
                      <a:pt x="633" y="753"/>
                    </a:lnTo>
                    <a:lnTo>
                      <a:pt x="639" y="739"/>
                    </a:lnTo>
                    <a:lnTo>
                      <a:pt x="645" y="726"/>
                    </a:lnTo>
                    <a:lnTo>
                      <a:pt x="650" y="716"/>
                    </a:lnTo>
                    <a:lnTo>
                      <a:pt x="656" y="710"/>
                    </a:lnTo>
                    <a:lnTo>
                      <a:pt x="656" y="710"/>
                    </a:lnTo>
                    <a:lnTo>
                      <a:pt x="672" y="696"/>
                    </a:lnTo>
                    <a:lnTo>
                      <a:pt x="687" y="681"/>
                    </a:lnTo>
                    <a:lnTo>
                      <a:pt x="703" y="665"/>
                    </a:lnTo>
                    <a:lnTo>
                      <a:pt x="717" y="648"/>
                    </a:lnTo>
                    <a:lnTo>
                      <a:pt x="730" y="631"/>
                    </a:lnTo>
                    <a:lnTo>
                      <a:pt x="742" y="612"/>
                    </a:lnTo>
                    <a:lnTo>
                      <a:pt x="753" y="594"/>
                    </a:lnTo>
                    <a:lnTo>
                      <a:pt x="763" y="574"/>
                    </a:lnTo>
                    <a:lnTo>
                      <a:pt x="771" y="554"/>
                    </a:lnTo>
                    <a:lnTo>
                      <a:pt x="779" y="534"/>
                    </a:lnTo>
                    <a:lnTo>
                      <a:pt x="786" y="513"/>
                    </a:lnTo>
                    <a:lnTo>
                      <a:pt x="792" y="492"/>
                    </a:lnTo>
                    <a:lnTo>
                      <a:pt x="796" y="470"/>
                    </a:lnTo>
                    <a:lnTo>
                      <a:pt x="799" y="447"/>
                    </a:lnTo>
                    <a:lnTo>
                      <a:pt x="801" y="425"/>
                    </a:lnTo>
                    <a:lnTo>
                      <a:pt x="802" y="401"/>
                    </a:lnTo>
                    <a:lnTo>
                      <a:pt x="802" y="401"/>
                    </a:lnTo>
                    <a:lnTo>
                      <a:pt x="801" y="380"/>
                    </a:lnTo>
                    <a:lnTo>
                      <a:pt x="800" y="360"/>
                    </a:lnTo>
                    <a:lnTo>
                      <a:pt x="797" y="340"/>
                    </a:lnTo>
                    <a:lnTo>
                      <a:pt x="794" y="320"/>
                    </a:lnTo>
                    <a:lnTo>
                      <a:pt x="789" y="301"/>
                    </a:lnTo>
                    <a:lnTo>
                      <a:pt x="784" y="282"/>
                    </a:lnTo>
                    <a:lnTo>
                      <a:pt x="778" y="264"/>
                    </a:lnTo>
                    <a:lnTo>
                      <a:pt x="770" y="246"/>
                    </a:lnTo>
                    <a:lnTo>
                      <a:pt x="762" y="228"/>
                    </a:lnTo>
                    <a:lnTo>
                      <a:pt x="754" y="210"/>
                    </a:lnTo>
                    <a:lnTo>
                      <a:pt x="744" y="193"/>
                    </a:lnTo>
                    <a:lnTo>
                      <a:pt x="734" y="177"/>
                    </a:lnTo>
                    <a:lnTo>
                      <a:pt x="723" y="161"/>
                    </a:lnTo>
                    <a:lnTo>
                      <a:pt x="711" y="146"/>
                    </a:lnTo>
                    <a:lnTo>
                      <a:pt x="698" y="132"/>
                    </a:lnTo>
                    <a:lnTo>
                      <a:pt x="684" y="118"/>
                    </a:lnTo>
                    <a:lnTo>
                      <a:pt x="670" y="105"/>
                    </a:lnTo>
                    <a:lnTo>
                      <a:pt x="656" y="92"/>
                    </a:lnTo>
                    <a:lnTo>
                      <a:pt x="641" y="80"/>
                    </a:lnTo>
                    <a:lnTo>
                      <a:pt x="625" y="69"/>
                    </a:lnTo>
                    <a:lnTo>
                      <a:pt x="609" y="59"/>
                    </a:lnTo>
                    <a:lnTo>
                      <a:pt x="592" y="49"/>
                    </a:lnTo>
                    <a:lnTo>
                      <a:pt x="575" y="41"/>
                    </a:lnTo>
                    <a:lnTo>
                      <a:pt x="557" y="33"/>
                    </a:lnTo>
                    <a:lnTo>
                      <a:pt x="539" y="26"/>
                    </a:lnTo>
                    <a:lnTo>
                      <a:pt x="520" y="19"/>
                    </a:lnTo>
                    <a:lnTo>
                      <a:pt x="501" y="13"/>
                    </a:lnTo>
                    <a:lnTo>
                      <a:pt x="481" y="8"/>
                    </a:lnTo>
                    <a:lnTo>
                      <a:pt x="461" y="5"/>
                    </a:lnTo>
                    <a:lnTo>
                      <a:pt x="442" y="2"/>
                    </a:lnTo>
                    <a:lnTo>
                      <a:pt x="421" y="1"/>
                    </a:lnTo>
                    <a:lnTo>
                      <a:pt x="401" y="0"/>
                    </a:lnTo>
                    <a:lnTo>
                      <a:pt x="401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95"/>
              <p:cNvSpPr>
                <a:spLocks noChangeArrowheads="1"/>
              </p:cNvSpPr>
              <p:nvPr/>
            </p:nvSpPr>
            <p:spPr bwMode="auto">
              <a:xfrm>
                <a:off x="-437985" y="1080338"/>
                <a:ext cx="32568" cy="237279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496"/>
              <p:cNvSpPr>
                <a:spLocks/>
              </p:cNvSpPr>
              <p:nvPr/>
            </p:nvSpPr>
            <p:spPr bwMode="auto">
              <a:xfrm>
                <a:off x="-437985" y="1080338"/>
                <a:ext cx="32568" cy="237279"/>
              </a:xfrm>
              <a:custGeom>
                <a:avLst/>
                <a:gdLst>
                  <a:gd name="T0" fmla="*/ 36 w 36"/>
                  <a:gd name="T1" fmla="*/ 255 h 255"/>
                  <a:gd name="T2" fmla="*/ 36 w 36"/>
                  <a:gd name="T3" fmla="*/ 0 h 255"/>
                  <a:gd name="T4" fmla="*/ 0 w 36"/>
                  <a:gd name="T5" fmla="*/ 0 h 255"/>
                  <a:gd name="T6" fmla="*/ 0 w 36"/>
                  <a:gd name="T7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255">
                    <a:moveTo>
                      <a:pt x="36" y="255"/>
                    </a:moveTo>
                    <a:lnTo>
                      <a:pt x="36" y="0"/>
                    </a:lnTo>
                    <a:lnTo>
                      <a:pt x="0" y="0"/>
                    </a:lnTo>
                    <a:lnTo>
                      <a:pt x="0" y="255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499"/>
              <p:cNvSpPr>
                <a:spLocks noChangeArrowheads="1"/>
              </p:cNvSpPr>
              <p:nvPr/>
            </p:nvSpPr>
            <p:spPr bwMode="auto">
              <a:xfrm>
                <a:off x="124968" y="1787522"/>
                <a:ext cx="209363" cy="3722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500"/>
              <p:cNvSpPr>
                <a:spLocks/>
              </p:cNvSpPr>
              <p:nvPr/>
            </p:nvSpPr>
            <p:spPr bwMode="auto">
              <a:xfrm>
                <a:off x="41925" y="1787523"/>
                <a:ext cx="209364" cy="37220"/>
              </a:xfrm>
              <a:custGeom>
                <a:avLst/>
                <a:gdLst>
                  <a:gd name="T0" fmla="*/ 0 w 225"/>
                  <a:gd name="T1" fmla="*/ 40 h 40"/>
                  <a:gd name="T2" fmla="*/ 225 w 225"/>
                  <a:gd name="T3" fmla="*/ 40 h 40"/>
                  <a:gd name="T4" fmla="*/ 225 w 225"/>
                  <a:gd name="T5" fmla="*/ 0 h 40"/>
                  <a:gd name="T6" fmla="*/ 0 w 225"/>
                  <a:gd name="T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5" h="40">
                    <a:moveTo>
                      <a:pt x="0" y="40"/>
                    </a:moveTo>
                    <a:lnTo>
                      <a:pt x="225" y="40"/>
                    </a:lnTo>
                    <a:lnTo>
                      <a:pt x="225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Rectangle 501"/>
              <p:cNvSpPr>
                <a:spLocks noChangeArrowheads="1"/>
              </p:cNvSpPr>
              <p:nvPr/>
            </p:nvSpPr>
            <p:spPr bwMode="auto">
              <a:xfrm>
                <a:off x="-1080031" y="1787522"/>
                <a:ext cx="204710" cy="3722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502"/>
              <p:cNvSpPr>
                <a:spLocks/>
              </p:cNvSpPr>
              <p:nvPr/>
            </p:nvSpPr>
            <p:spPr bwMode="auto">
              <a:xfrm>
                <a:off x="-103005" y="1252481"/>
                <a:ext cx="200058" cy="200058"/>
              </a:xfrm>
              <a:custGeom>
                <a:avLst/>
                <a:gdLst>
                  <a:gd name="T0" fmla="*/ 29 w 217"/>
                  <a:gd name="T1" fmla="*/ 217 h 217"/>
                  <a:gd name="T2" fmla="*/ 217 w 217"/>
                  <a:gd name="T3" fmla="*/ 28 h 217"/>
                  <a:gd name="T4" fmla="*/ 189 w 217"/>
                  <a:gd name="T5" fmla="*/ 0 h 217"/>
                  <a:gd name="T6" fmla="*/ 0 w 217"/>
                  <a:gd name="T7" fmla="*/ 188 h 217"/>
                  <a:gd name="T8" fmla="*/ 29 w 217"/>
                  <a:gd name="T9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217">
                    <a:moveTo>
                      <a:pt x="29" y="217"/>
                    </a:moveTo>
                    <a:lnTo>
                      <a:pt x="217" y="28"/>
                    </a:lnTo>
                    <a:lnTo>
                      <a:pt x="189" y="0"/>
                    </a:lnTo>
                    <a:lnTo>
                      <a:pt x="0" y="188"/>
                    </a:lnTo>
                    <a:lnTo>
                      <a:pt x="29" y="21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503"/>
              <p:cNvSpPr>
                <a:spLocks/>
              </p:cNvSpPr>
              <p:nvPr/>
            </p:nvSpPr>
            <p:spPr bwMode="auto">
              <a:xfrm>
                <a:off x="-940456" y="1252481"/>
                <a:ext cx="200058" cy="200058"/>
              </a:xfrm>
              <a:custGeom>
                <a:avLst/>
                <a:gdLst>
                  <a:gd name="T0" fmla="*/ 29 w 217"/>
                  <a:gd name="T1" fmla="*/ 0 h 217"/>
                  <a:gd name="T2" fmla="*/ 217 w 217"/>
                  <a:gd name="T3" fmla="*/ 188 h 217"/>
                  <a:gd name="T4" fmla="*/ 189 w 217"/>
                  <a:gd name="T5" fmla="*/ 217 h 217"/>
                  <a:gd name="T6" fmla="*/ 0 w 217"/>
                  <a:gd name="T7" fmla="*/ 28 h 217"/>
                  <a:gd name="T8" fmla="*/ 29 w 217"/>
                  <a:gd name="T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" h="217">
                    <a:moveTo>
                      <a:pt x="29" y="0"/>
                    </a:moveTo>
                    <a:lnTo>
                      <a:pt x="217" y="188"/>
                    </a:lnTo>
                    <a:lnTo>
                      <a:pt x="189" y="217"/>
                    </a:lnTo>
                    <a:lnTo>
                      <a:pt x="0" y="28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Line 504"/>
              <p:cNvSpPr>
                <a:spLocks noChangeShapeType="1"/>
              </p:cNvSpPr>
              <p:nvPr/>
            </p:nvSpPr>
            <p:spPr bwMode="auto">
              <a:xfrm>
                <a:off x="-303062" y="2429570"/>
                <a:ext cx="0" cy="0"/>
              </a:xfrm>
              <a:prstGeom prst="line">
                <a:avLst/>
              </a:prstGeom>
              <a:grpFill/>
              <a:ln w="8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-554298" y="2323225"/>
                <a:ext cx="265193" cy="4571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-554298" y="2404216"/>
                <a:ext cx="265193" cy="4571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Freeform 6"/>
              <p:cNvSpPr>
                <a:spLocks/>
              </p:cNvSpPr>
              <p:nvPr/>
            </p:nvSpPr>
            <p:spPr bwMode="auto">
              <a:xfrm>
                <a:off x="-588766" y="1613661"/>
                <a:ext cx="485761" cy="384942"/>
              </a:xfrm>
              <a:custGeom>
                <a:avLst/>
                <a:gdLst>
                  <a:gd name="T0" fmla="*/ 0 w 1164"/>
                  <a:gd name="T1" fmla="*/ 522 h 923"/>
                  <a:gd name="T2" fmla="*/ 241 w 1164"/>
                  <a:gd name="T3" fmla="*/ 923 h 923"/>
                  <a:gd name="T4" fmla="*/ 1164 w 1164"/>
                  <a:gd name="T5" fmla="*/ 0 h 923"/>
                  <a:gd name="T6" fmla="*/ 301 w 1164"/>
                  <a:gd name="T7" fmla="*/ 642 h 923"/>
                  <a:gd name="T8" fmla="*/ 0 w 1164"/>
                  <a:gd name="T9" fmla="*/ 522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4" h="923">
                    <a:moveTo>
                      <a:pt x="0" y="522"/>
                    </a:moveTo>
                    <a:lnTo>
                      <a:pt x="241" y="923"/>
                    </a:lnTo>
                    <a:lnTo>
                      <a:pt x="1164" y="0"/>
                    </a:lnTo>
                    <a:lnTo>
                      <a:pt x="301" y="642"/>
                    </a:lnTo>
                    <a:lnTo>
                      <a:pt x="0" y="522"/>
                    </a:lnTo>
                    <a:close/>
                  </a:path>
                </a:pathLst>
              </a:custGeom>
              <a:solidFill>
                <a:srgbClr val="0D65AC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5719794" y="1763230"/>
            <a:ext cx="1024207" cy="1024207"/>
            <a:chOff x="5486400" y="1585913"/>
            <a:chExt cx="1299094" cy="1299094"/>
          </a:xfrm>
        </p:grpSpPr>
        <p:sp>
          <p:nvSpPr>
            <p:cNvPr id="51" name="Oval 50"/>
            <p:cNvSpPr/>
            <p:nvPr/>
          </p:nvSpPr>
          <p:spPr>
            <a:xfrm>
              <a:off x="5486400" y="1585913"/>
              <a:ext cx="1299094" cy="1299094"/>
            </a:xfrm>
            <a:prstGeom prst="ellipse">
              <a:avLst/>
            </a:prstGeom>
            <a:solidFill>
              <a:srgbClr val="2A9B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5818704" y="1948302"/>
              <a:ext cx="792827" cy="639792"/>
              <a:chOff x="-866775" y="857250"/>
              <a:chExt cx="2549525" cy="2057400"/>
            </a:xfrm>
            <a:solidFill>
              <a:schemeClr val="bg1"/>
            </a:solidFill>
          </p:grpSpPr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146050" y="876300"/>
                <a:ext cx="1536700" cy="1012825"/>
              </a:xfrm>
              <a:custGeom>
                <a:avLst/>
                <a:gdLst>
                  <a:gd name="T0" fmla="*/ 870 w 968"/>
                  <a:gd name="T1" fmla="*/ 0 h 638"/>
                  <a:gd name="T2" fmla="*/ 824 w 968"/>
                  <a:gd name="T3" fmla="*/ 162 h 638"/>
                  <a:gd name="T4" fmla="*/ 968 w 968"/>
                  <a:gd name="T5" fmla="*/ 180 h 638"/>
                  <a:gd name="T6" fmla="*/ 744 w 968"/>
                  <a:gd name="T7" fmla="*/ 314 h 638"/>
                  <a:gd name="T8" fmla="*/ 622 w 968"/>
                  <a:gd name="T9" fmla="*/ 288 h 638"/>
                  <a:gd name="T10" fmla="*/ 22 w 968"/>
                  <a:gd name="T11" fmla="*/ 638 h 638"/>
                  <a:gd name="T12" fmla="*/ 0 w 968"/>
                  <a:gd name="T13" fmla="*/ 604 h 638"/>
                  <a:gd name="T14" fmla="*/ 608 w 968"/>
                  <a:gd name="T15" fmla="*/ 236 h 638"/>
                  <a:gd name="T16" fmla="*/ 628 w 968"/>
                  <a:gd name="T17" fmla="*/ 130 h 638"/>
                  <a:gd name="T18" fmla="*/ 870 w 968"/>
                  <a:gd name="T19" fmla="*/ 0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8" h="638">
                    <a:moveTo>
                      <a:pt x="870" y="0"/>
                    </a:moveTo>
                    <a:lnTo>
                      <a:pt x="824" y="162"/>
                    </a:lnTo>
                    <a:lnTo>
                      <a:pt x="968" y="180"/>
                    </a:lnTo>
                    <a:lnTo>
                      <a:pt x="744" y="314"/>
                    </a:lnTo>
                    <a:lnTo>
                      <a:pt x="622" y="288"/>
                    </a:lnTo>
                    <a:lnTo>
                      <a:pt x="22" y="638"/>
                    </a:lnTo>
                    <a:lnTo>
                      <a:pt x="0" y="604"/>
                    </a:lnTo>
                    <a:lnTo>
                      <a:pt x="608" y="236"/>
                    </a:lnTo>
                    <a:lnTo>
                      <a:pt x="628" y="130"/>
                    </a:lnTo>
                    <a:lnTo>
                      <a:pt x="8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-57150" y="1663700"/>
                <a:ext cx="441325" cy="441325"/>
              </a:xfrm>
              <a:custGeom>
                <a:avLst/>
                <a:gdLst>
                  <a:gd name="T0" fmla="*/ 152 w 278"/>
                  <a:gd name="T1" fmla="*/ 140 h 278"/>
                  <a:gd name="T2" fmla="*/ 262 w 278"/>
                  <a:gd name="T3" fmla="*/ 74 h 278"/>
                  <a:gd name="T4" fmla="*/ 240 w 278"/>
                  <a:gd name="T5" fmla="*/ 44 h 278"/>
                  <a:gd name="T6" fmla="*/ 210 w 278"/>
                  <a:gd name="T7" fmla="*/ 20 h 278"/>
                  <a:gd name="T8" fmla="*/ 176 w 278"/>
                  <a:gd name="T9" fmla="*/ 6 h 278"/>
                  <a:gd name="T10" fmla="*/ 138 w 278"/>
                  <a:gd name="T11" fmla="*/ 0 h 278"/>
                  <a:gd name="T12" fmla="*/ 124 w 278"/>
                  <a:gd name="T13" fmla="*/ 2 h 278"/>
                  <a:gd name="T14" fmla="*/ 98 w 278"/>
                  <a:gd name="T15" fmla="*/ 6 h 278"/>
                  <a:gd name="T16" fmla="*/ 72 w 278"/>
                  <a:gd name="T17" fmla="*/ 18 h 278"/>
                  <a:gd name="T18" fmla="*/ 50 w 278"/>
                  <a:gd name="T19" fmla="*/ 32 h 278"/>
                  <a:gd name="T20" fmla="*/ 32 w 278"/>
                  <a:gd name="T21" fmla="*/ 52 h 278"/>
                  <a:gd name="T22" fmla="*/ 16 w 278"/>
                  <a:gd name="T23" fmla="*/ 74 h 278"/>
                  <a:gd name="T24" fmla="*/ 6 w 278"/>
                  <a:gd name="T25" fmla="*/ 98 h 278"/>
                  <a:gd name="T26" fmla="*/ 0 w 278"/>
                  <a:gd name="T27" fmla="*/ 126 h 278"/>
                  <a:gd name="T28" fmla="*/ 0 w 278"/>
                  <a:gd name="T29" fmla="*/ 140 h 278"/>
                  <a:gd name="T30" fmla="*/ 2 w 278"/>
                  <a:gd name="T31" fmla="*/ 168 h 278"/>
                  <a:gd name="T32" fmla="*/ 10 w 278"/>
                  <a:gd name="T33" fmla="*/ 194 h 278"/>
                  <a:gd name="T34" fmla="*/ 24 w 278"/>
                  <a:gd name="T35" fmla="*/ 218 h 278"/>
                  <a:gd name="T36" fmla="*/ 40 w 278"/>
                  <a:gd name="T37" fmla="*/ 238 h 278"/>
                  <a:gd name="T38" fmla="*/ 62 w 278"/>
                  <a:gd name="T39" fmla="*/ 254 h 278"/>
                  <a:gd name="T40" fmla="*/ 84 w 278"/>
                  <a:gd name="T41" fmla="*/ 268 h 278"/>
                  <a:gd name="T42" fmla="*/ 110 w 278"/>
                  <a:gd name="T43" fmla="*/ 276 h 278"/>
                  <a:gd name="T44" fmla="*/ 138 w 278"/>
                  <a:gd name="T45" fmla="*/ 278 h 278"/>
                  <a:gd name="T46" fmla="*/ 152 w 278"/>
                  <a:gd name="T47" fmla="*/ 278 h 278"/>
                  <a:gd name="T48" fmla="*/ 180 w 278"/>
                  <a:gd name="T49" fmla="*/ 272 h 278"/>
                  <a:gd name="T50" fmla="*/ 206 w 278"/>
                  <a:gd name="T51" fmla="*/ 262 h 278"/>
                  <a:gd name="T52" fmla="*/ 228 w 278"/>
                  <a:gd name="T53" fmla="*/ 246 h 278"/>
                  <a:gd name="T54" fmla="*/ 246 w 278"/>
                  <a:gd name="T55" fmla="*/ 228 h 278"/>
                  <a:gd name="T56" fmla="*/ 260 w 278"/>
                  <a:gd name="T57" fmla="*/ 206 h 278"/>
                  <a:gd name="T58" fmla="*/ 272 w 278"/>
                  <a:gd name="T59" fmla="*/ 182 h 278"/>
                  <a:gd name="T60" fmla="*/ 278 w 278"/>
                  <a:gd name="T61" fmla="*/ 154 h 278"/>
                  <a:gd name="T62" fmla="*/ 278 w 278"/>
                  <a:gd name="T63" fmla="*/ 140 h 278"/>
                  <a:gd name="T64" fmla="*/ 174 w 278"/>
                  <a:gd name="T65" fmla="*/ 174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8" h="278">
                    <a:moveTo>
                      <a:pt x="174" y="174"/>
                    </a:moveTo>
                    <a:lnTo>
                      <a:pt x="152" y="140"/>
                    </a:lnTo>
                    <a:lnTo>
                      <a:pt x="262" y="74"/>
                    </a:lnTo>
                    <a:lnTo>
                      <a:pt x="262" y="74"/>
                    </a:lnTo>
                    <a:lnTo>
                      <a:pt x="252" y="58"/>
                    </a:lnTo>
                    <a:lnTo>
                      <a:pt x="240" y="44"/>
                    </a:lnTo>
                    <a:lnTo>
                      <a:pt x="226" y="32"/>
                    </a:lnTo>
                    <a:lnTo>
                      <a:pt x="210" y="20"/>
                    </a:lnTo>
                    <a:lnTo>
                      <a:pt x="194" y="12"/>
                    </a:lnTo>
                    <a:lnTo>
                      <a:pt x="176" y="6"/>
                    </a:lnTo>
                    <a:lnTo>
                      <a:pt x="158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24" y="2"/>
                    </a:lnTo>
                    <a:lnTo>
                      <a:pt x="110" y="4"/>
                    </a:lnTo>
                    <a:lnTo>
                      <a:pt x="98" y="6"/>
                    </a:lnTo>
                    <a:lnTo>
                      <a:pt x="84" y="12"/>
                    </a:lnTo>
                    <a:lnTo>
                      <a:pt x="72" y="18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0" y="42"/>
                    </a:lnTo>
                    <a:lnTo>
                      <a:pt x="32" y="52"/>
                    </a:lnTo>
                    <a:lnTo>
                      <a:pt x="24" y="62"/>
                    </a:lnTo>
                    <a:lnTo>
                      <a:pt x="16" y="74"/>
                    </a:lnTo>
                    <a:lnTo>
                      <a:pt x="10" y="86"/>
                    </a:lnTo>
                    <a:lnTo>
                      <a:pt x="6" y="98"/>
                    </a:lnTo>
                    <a:lnTo>
                      <a:pt x="2" y="112"/>
                    </a:lnTo>
                    <a:lnTo>
                      <a:pt x="0" y="126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54"/>
                    </a:lnTo>
                    <a:lnTo>
                      <a:pt x="2" y="168"/>
                    </a:lnTo>
                    <a:lnTo>
                      <a:pt x="6" y="182"/>
                    </a:lnTo>
                    <a:lnTo>
                      <a:pt x="10" y="194"/>
                    </a:lnTo>
                    <a:lnTo>
                      <a:pt x="16" y="206"/>
                    </a:lnTo>
                    <a:lnTo>
                      <a:pt x="24" y="218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0" y="246"/>
                    </a:lnTo>
                    <a:lnTo>
                      <a:pt x="62" y="254"/>
                    </a:lnTo>
                    <a:lnTo>
                      <a:pt x="72" y="262"/>
                    </a:lnTo>
                    <a:lnTo>
                      <a:pt x="84" y="268"/>
                    </a:lnTo>
                    <a:lnTo>
                      <a:pt x="98" y="272"/>
                    </a:lnTo>
                    <a:lnTo>
                      <a:pt x="110" y="276"/>
                    </a:lnTo>
                    <a:lnTo>
                      <a:pt x="124" y="278"/>
                    </a:lnTo>
                    <a:lnTo>
                      <a:pt x="138" y="278"/>
                    </a:lnTo>
                    <a:lnTo>
                      <a:pt x="138" y="278"/>
                    </a:lnTo>
                    <a:lnTo>
                      <a:pt x="152" y="278"/>
                    </a:lnTo>
                    <a:lnTo>
                      <a:pt x="166" y="276"/>
                    </a:lnTo>
                    <a:lnTo>
                      <a:pt x="180" y="272"/>
                    </a:lnTo>
                    <a:lnTo>
                      <a:pt x="192" y="268"/>
                    </a:lnTo>
                    <a:lnTo>
                      <a:pt x="206" y="262"/>
                    </a:lnTo>
                    <a:lnTo>
                      <a:pt x="216" y="254"/>
                    </a:lnTo>
                    <a:lnTo>
                      <a:pt x="228" y="246"/>
                    </a:lnTo>
                    <a:lnTo>
                      <a:pt x="238" y="238"/>
                    </a:lnTo>
                    <a:lnTo>
                      <a:pt x="246" y="228"/>
                    </a:lnTo>
                    <a:lnTo>
                      <a:pt x="254" y="218"/>
                    </a:lnTo>
                    <a:lnTo>
                      <a:pt x="260" y="206"/>
                    </a:lnTo>
                    <a:lnTo>
                      <a:pt x="266" y="194"/>
                    </a:lnTo>
                    <a:lnTo>
                      <a:pt x="272" y="182"/>
                    </a:lnTo>
                    <a:lnTo>
                      <a:pt x="274" y="168"/>
                    </a:lnTo>
                    <a:lnTo>
                      <a:pt x="278" y="154"/>
                    </a:lnTo>
                    <a:lnTo>
                      <a:pt x="278" y="140"/>
                    </a:lnTo>
                    <a:lnTo>
                      <a:pt x="278" y="140"/>
                    </a:lnTo>
                    <a:lnTo>
                      <a:pt x="276" y="114"/>
                    </a:lnTo>
                    <a:lnTo>
                      <a:pt x="174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5"/>
              <p:cNvSpPr>
                <a:spLocks/>
              </p:cNvSpPr>
              <p:nvPr/>
            </p:nvSpPr>
            <p:spPr bwMode="auto">
              <a:xfrm>
                <a:off x="-549275" y="1174750"/>
                <a:ext cx="1425575" cy="1422400"/>
              </a:xfrm>
              <a:custGeom>
                <a:avLst/>
                <a:gdLst>
                  <a:gd name="T0" fmla="*/ 714 w 898"/>
                  <a:gd name="T1" fmla="*/ 374 h 896"/>
                  <a:gd name="T2" fmla="*/ 724 w 898"/>
                  <a:gd name="T3" fmla="*/ 448 h 896"/>
                  <a:gd name="T4" fmla="*/ 720 w 898"/>
                  <a:gd name="T5" fmla="*/ 504 h 896"/>
                  <a:gd name="T6" fmla="*/ 692 w 898"/>
                  <a:gd name="T7" fmla="*/ 580 h 896"/>
                  <a:gd name="T8" fmla="*/ 644 w 898"/>
                  <a:gd name="T9" fmla="*/ 642 h 896"/>
                  <a:gd name="T10" fmla="*/ 580 w 898"/>
                  <a:gd name="T11" fmla="*/ 690 h 896"/>
                  <a:gd name="T12" fmla="*/ 504 w 898"/>
                  <a:gd name="T13" fmla="*/ 718 h 896"/>
                  <a:gd name="T14" fmla="*/ 448 w 898"/>
                  <a:gd name="T15" fmla="*/ 724 h 896"/>
                  <a:gd name="T16" fmla="*/ 366 w 898"/>
                  <a:gd name="T17" fmla="*/ 712 h 896"/>
                  <a:gd name="T18" fmla="*/ 294 w 898"/>
                  <a:gd name="T19" fmla="*/ 676 h 896"/>
                  <a:gd name="T20" fmla="*/ 236 w 898"/>
                  <a:gd name="T21" fmla="*/ 624 h 896"/>
                  <a:gd name="T22" fmla="*/ 194 w 898"/>
                  <a:gd name="T23" fmla="*/ 556 h 896"/>
                  <a:gd name="T24" fmla="*/ 174 w 898"/>
                  <a:gd name="T25" fmla="*/ 476 h 896"/>
                  <a:gd name="T26" fmla="*/ 174 w 898"/>
                  <a:gd name="T27" fmla="*/ 420 h 896"/>
                  <a:gd name="T28" fmla="*/ 194 w 898"/>
                  <a:gd name="T29" fmla="*/ 340 h 896"/>
                  <a:gd name="T30" fmla="*/ 236 w 898"/>
                  <a:gd name="T31" fmla="*/ 272 h 896"/>
                  <a:gd name="T32" fmla="*/ 294 w 898"/>
                  <a:gd name="T33" fmla="*/ 218 h 896"/>
                  <a:gd name="T34" fmla="*/ 366 w 898"/>
                  <a:gd name="T35" fmla="*/ 184 h 896"/>
                  <a:gd name="T36" fmla="*/ 448 w 898"/>
                  <a:gd name="T37" fmla="*/ 172 h 896"/>
                  <a:gd name="T38" fmla="*/ 486 w 898"/>
                  <a:gd name="T39" fmla="*/ 174 h 896"/>
                  <a:gd name="T40" fmla="*/ 540 w 898"/>
                  <a:gd name="T41" fmla="*/ 188 h 896"/>
                  <a:gd name="T42" fmla="*/ 618 w 898"/>
                  <a:gd name="T43" fmla="*/ 230 h 896"/>
                  <a:gd name="T44" fmla="*/ 688 w 898"/>
                  <a:gd name="T45" fmla="*/ 310 h 896"/>
                  <a:gd name="T46" fmla="*/ 820 w 898"/>
                  <a:gd name="T47" fmla="*/ 198 h 896"/>
                  <a:gd name="T48" fmla="*/ 766 w 898"/>
                  <a:gd name="T49" fmla="*/ 130 h 896"/>
                  <a:gd name="T50" fmla="*/ 700 w 898"/>
                  <a:gd name="T51" fmla="*/ 76 h 896"/>
                  <a:gd name="T52" fmla="*/ 624 w 898"/>
                  <a:gd name="T53" fmla="*/ 34 h 896"/>
                  <a:gd name="T54" fmla="*/ 540 w 898"/>
                  <a:gd name="T55" fmla="*/ 8 h 896"/>
                  <a:gd name="T56" fmla="*/ 448 w 898"/>
                  <a:gd name="T57" fmla="*/ 0 h 896"/>
                  <a:gd name="T58" fmla="*/ 358 w 898"/>
                  <a:gd name="T59" fmla="*/ 8 h 896"/>
                  <a:gd name="T60" fmla="*/ 236 w 898"/>
                  <a:gd name="T61" fmla="*/ 54 h 896"/>
                  <a:gd name="T62" fmla="*/ 132 w 898"/>
                  <a:gd name="T63" fmla="*/ 130 h 896"/>
                  <a:gd name="T64" fmla="*/ 54 w 898"/>
                  <a:gd name="T65" fmla="*/ 234 h 896"/>
                  <a:gd name="T66" fmla="*/ 10 w 898"/>
                  <a:gd name="T67" fmla="*/ 358 h 896"/>
                  <a:gd name="T68" fmla="*/ 0 w 898"/>
                  <a:gd name="T69" fmla="*/ 448 h 896"/>
                  <a:gd name="T70" fmla="*/ 20 w 898"/>
                  <a:gd name="T71" fmla="*/ 582 h 896"/>
                  <a:gd name="T72" fmla="*/ 78 w 898"/>
                  <a:gd name="T73" fmla="*/ 698 h 896"/>
                  <a:gd name="T74" fmla="*/ 164 w 898"/>
                  <a:gd name="T75" fmla="*/ 794 h 896"/>
                  <a:gd name="T76" fmla="*/ 274 w 898"/>
                  <a:gd name="T77" fmla="*/ 860 h 896"/>
                  <a:gd name="T78" fmla="*/ 402 w 898"/>
                  <a:gd name="T79" fmla="*/ 894 h 896"/>
                  <a:gd name="T80" fmla="*/ 494 w 898"/>
                  <a:gd name="T81" fmla="*/ 894 h 896"/>
                  <a:gd name="T82" fmla="*/ 624 w 898"/>
                  <a:gd name="T83" fmla="*/ 860 h 896"/>
                  <a:gd name="T84" fmla="*/ 734 w 898"/>
                  <a:gd name="T85" fmla="*/ 794 h 896"/>
                  <a:gd name="T86" fmla="*/ 820 w 898"/>
                  <a:gd name="T87" fmla="*/ 698 h 896"/>
                  <a:gd name="T88" fmla="*/ 876 w 898"/>
                  <a:gd name="T89" fmla="*/ 582 h 896"/>
                  <a:gd name="T90" fmla="*/ 898 w 898"/>
                  <a:gd name="T91" fmla="*/ 448 h 896"/>
                  <a:gd name="T92" fmla="*/ 894 w 898"/>
                  <a:gd name="T93" fmla="*/ 400 h 896"/>
                  <a:gd name="T94" fmla="*/ 882 w 898"/>
                  <a:gd name="T95" fmla="*/ 330 h 896"/>
                  <a:gd name="T96" fmla="*/ 858 w 898"/>
                  <a:gd name="T97" fmla="*/ 264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98" h="896">
                    <a:moveTo>
                      <a:pt x="708" y="352"/>
                    </a:moveTo>
                    <a:lnTo>
                      <a:pt x="708" y="352"/>
                    </a:lnTo>
                    <a:lnTo>
                      <a:pt x="714" y="374"/>
                    </a:lnTo>
                    <a:lnTo>
                      <a:pt x="720" y="398"/>
                    </a:lnTo>
                    <a:lnTo>
                      <a:pt x="724" y="422"/>
                    </a:lnTo>
                    <a:lnTo>
                      <a:pt x="724" y="448"/>
                    </a:lnTo>
                    <a:lnTo>
                      <a:pt x="724" y="448"/>
                    </a:lnTo>
                    <a:lnTo>
                      <a:pt x="724" y="476"/>
                    </a:lnTo>
                    <a:lnTo>
                      <a:pt x="720" y="504"/>
                    </a:lnTo>
                    <a:lnTo>
                      <a:pt x="712" y="530"/>
                    </a:lnTo>
                    <a:lnTo>
                      <a:pt x="704" y="556"/>
                    </a:lnTo>
                    <a:lnTo>
                      <a:pt x="692" y="580"/>
                    </a:lnTo>
                    <a:lnTo>
                      <a:pt x="678" y="602"/>
                    </a:lnTo>
                    <a:lnTo>
                      <a:pt x="662" y="624"/>
                    </a:lnTo>
                    <a:lnTo>
                      <a:pt x="644" y="642"/>
                    </a:lnTo>
                    <a:lnTo>
                      <a:pt x="624" y="660"/>
                    </a:lnTo>
                    <a:lnTo>
                      <a:pt x="604" y="676"/>
                    </a:lnTo>
                    <a:lnTo>
                      <a:pt x="580" y="690"/>
                    </a:lnTo>
                    <a:lnTo>
                      <a:pt x="556" y="702"/>
                    </a:lnTo>
                    <a:lnTo>
                      <a:pt x="530" y="712"/>
                    </a:lnTo>
                    <a:lnTo>
                      <a:pt x="504" y="718"/>
                    </a:lnTo>
                    <a:lnTo>
                      <a:pt x="476" y="722"/>
                    </a:lnTo>
                    <a:lnTo>
                      <a:pt x="448" y="724"/>
                    </a:lnTo>
                    <a:lnTo>
                      <a:pt x="448" y="724"/>
                    </a:lnTo>
                    <a:lnTo>
                      <a:pt x="420" y="722"/>
                    </a:lnTo>
                    <a:lnTo>
                      <a:pt x="394" y="718"/>
                    </a:lnTo>
                    <a:lnTo>
                      <a:pt x="366" y="712"/>
                    </a:lnTo>
                    <a:lnTo>
                      <a:pt x="342" y="702"/>
                    </a:lnTo>
                    <a:lnTo>
                      <a:pt x="318" y="690"/>
                    </a:lnTo>
                    <a:lnTo>
                      <a:pt x="294" y="676"/>
                    </a:lnTo>
                    <a:lnTo>
                      <a:pt x="274" y="660"/>
                    </a:lnTo>
                    <a:lnTo>
                      <a:pt x="254" y="642"/>
                    </a:lnTo>
                    <a:lnTo>
                      <a:pt x="236" y="624"/>
                    </a:lnTo>
                    <a:lnTo>
                      <a:pt x="220" y="602"/>
                    </a:lnTo>
                    <a:lnTo>
                      <a:pt x="206" y="580"/>
                    </a:lnTo>
                    <a:lnTo>
                      <a:pt x="194" y="556"/>
                    </a:lnTo>
                    <a:lnTo>
                      <a:pt x="186" y="530"/>
                    </a:lnTo>
                    <a:lnTo>
                      <a:pt x="178" y="504"/>
                    </a:lnTo>
                    <a:lnTo>
                      <a:pt x="174" y="476"/>
                    </a:lnTo>
                    <a:lnTo>
                      <a:pt x="172" y="448"/>
                    </a:lnTo>
                    <a:lnTo>
                      <a:pt x="172" y="448"/>
                    </a:lnTo>
                    <a:lnTo>
                      <a:pt x="174" y="420"/>
                    </a:lnTo>
                    <a:lnTo>
                      <a:pt x="178" y="392"/>
                    </a:lnTo>
                    <a:lnTo>
                      <a:pt x="186" y="366"/>
                    </a:lnTo>
                    <a:lnTo>
                      <a:pt x="194" y="340"/>
                    </a:lnTo>
                    <a:lnTo>
                      <a:pt x="206" y="316"/>
                    </a:lnTo>
                    <a:lnTo>
                      <a:pt x="220" y="294"/>
                    </a:lnTo>
                    <a:lnTo>
                      <a:pt x="236" y="272"/>
                    </a:lnTo>
                    <a:lnTo>
                      <a:pt x="254" y="252"/>
                    </a:lnTo>
                    <a:lnTo>
                      <a:pt x="274" y="234"/>
                    </a:lnTo>
                    <a:lnTo>
                      <a:pt x="294" y="218"/>
                    </a:lnTo>
                    <a:lnTo>
                      <a:pt x="318" y="206"/>
                    </a:lnTo>
                    <a:lnTo>
                      <a:pt x="342" y="194"/>
                    </a:lnTo>
                    <a:lnTo>
                      <a:pt x="366" y="184"/>
                    </a:lnTo>
                    <a:lnTo>
                      <a:pt x="394" y="178"/>
                    </a:lnTo>
                    <a:lnTo>
                      <a:pt x="420" y="174"/>
                    </a:lnTo>
                    <a:lnTo>
                      <a:pt x="448" y="172"/>
                    </a:lnTo>
                    <a:lnTo>
                      <a:pt x="448" y="172"/>
                    </a:lnTo>
                    <a:lnTo>
                      <a:pt x="468" y="172"/>
                    </a:lnTo>
                    <a:lnTo>
                      <a:pt x="486" y="174"/>
                    </a:lnTo>
                    <a:lnTo>
                      <a:pt x="504" y="178"/>
                    </a:lnTo>
                    <a:lnTo>
                      <a:pt x="522" y="182"/>
                    </a:lnTo>
                    <a:lnTo>
                      <a:pt x="540" y="188"/>
                    </a:lnTo>
                    <a:lnTo>
                      <a:pt x="558" y="194"/>
                    </a:lnTo>
                    <a:lnTo>
                      <a:pt x="590" y="210"/>
                    </a:lnTo>
                    <a:lnTo>
                      <a:pt x="618" y="230"/>
                    </a:lnTo>
                    <a:lnTo>
                      <a:pt x="646" y="254"/>
                    </a:lnTo>
                    <a:lnTo>
                      <a:pt x="668" y="280"/>
                    </a:lnTo>
                    <a:lnTo>
                      <a:pt x="688" y="310"/>
                    </a:lnTo>
                    <a:lnTo>
                      <a:pt x="836" y="222"/>
                    </a:lnTo>
                    <a:lnTo>
                      <a:pt x="836" y="222"/>
                    </a:lnTo>
                    <a:lnTo>
                      <a:pt x="820" y="198"/>
                    </a:lnTo>
                    <a:lnTo>
                      <a:pt x="804" y="174"/>
                    </a:lnTo>
                    <a:lnTo>
                      <a:pt x="786" y="152"/>
                    </a:lnTo>
                    <a:lnTo>
                      <a:pt x="766" y="130"/>
                    </a:lnTo>
                    <a:lnTo>
                      <a:pt x="744" y="112"/>
                    </a:lnTo>
                    <a:lnTo>
                      <a:pt x="722" y="92"/>
                    </a:lnTo>
                    <a:lnTo>
                      <a:pt x="700" y="76"/>
                    </a:lnTo>
                    <a:lnTo>
                      <a:pt x="674" y="60"/>
                    </a:lnTo>
                    <a:lnTo>
                      <a:pt x="650" y="46"/>
                    </a:lnTo>
                    <a:lnTo>
                      <a:pt x="624" y="34"/>
                    </a:lnTo>
                    <a:lnTo>
                      <a:pt x="596" y="24"/>
                    </a:lnTo>
                    <a:lnTo>
                      <a:pt x="568" y="16"/>
                    </a:lnTo>
                    <a:lnTo>
                      <a:pt x="540" y="8"/>
                    </a:lnTo>
                    <a:lnTo>
                      <a:pt x="510" y="4"/>
                    </a:lnTo>
                    <a:lnTo>
                      <a:pt x="480" y="0"/>
                    </a:lnTo>
                    <a:lnTo>
                      <a:pt x="448" y="0"/>
                    </a:lnTo>
                    <a:lnTo>
                      <a:pt x="448" y="0"/>
                    </a:lnTo>
                    <a:lnTo>
                      <a:pt x="402" y="2"/>
                    </a:lnTo>
                    <a:lnTo>
                      <a:pt x="358" y="8"/>
                    </a:lnTo>
                    <a:lnTo>
                      <a:pt x="316" y="20"/>
                    </a:lnTo>
                    <a:lnTo>
                      <a:pt x="274" y="34"/>
                    </a:lnTo>
                    <a:lnTo>
                      <a:pt x="236" y="54"/>
                    </a:lnTo>
                    <a:lnTo>
                      <a:pt x="198" y="76"/>
                    </a:lnTo>
                    <a:lnTo>
                      <a:pt x="164" y="102"/>
                    </a:lnTo>
                    <a:lnTo>
                      <a:pt x="132" y="130"/>
                    </a:lnTo>
                    <a:lnTo>
                      <a:pt x="102" y="162"/>
                    </a:lnTo>
                    <a:lnTo>
                      <a:pt x="78" y="198"/>
                    </a:lnTo>
                    <a:lnTo>
                      <a:pt x="54" y="234"/>
                    </a:lnTo>
                    <a:lnTo>
                      <a:pt x="36" y="274"/>
                    </a:lnTo>
                    <a:lnTo>
                      <a:pt x="20" y="314"/>
                    </a:lnTo>
                    <a:lnTo>
                      <a:pt x="10" y="358"/>
                    </a:lnTo>
                    <a:lnTo>
                      <a:pt x="2" y="402"/>
                    </a:lnTo>
                    <a:lnTo>
                      <a:pt x="0" y="448"/>
                    </a:lnTo>
                    <a:lnTo>
                      <a:pt x="0" y="448"/>
                    </a:lnTo>
                    <a:lnTo>
                      <a:pt x="2" y="494"/>
                    </a:lnTo>
                    <a:lnTo>
                      <a:pt x="10" y="538"/>
                    </a:lnTo>
                    <a:lnTo>
                      <a:pt x="20" y="582"/>
                    </a:lnTo>
                    <a:lnTo>
                      <a:pt x="36" y="622"/>
                    </a:lnTo>
                    <a:lnTo>
                      <a:pt x="54" y="662"/>
                    </a:lnTo>
                    <a:lnTo>
                      <a:pt x="78" y="698"/>
                    </a:lnTo>
                    <a:lnTo>
                      <a:pt x="102" y="732"/>
                    </a:lnTo>
                    <a:lnTo>
                      <a:pt x="132" y="764"/>
                    </a:lnTo>
                    <a:lnTo>
                      <a:pt x="164" y="794"/>
                    </a:lnTo>
                    <a:lnTo>
                      <a:pt x="198" y="820"/>
                    </a:lnTo>
                    <a:lnTo>
                      <a:pt x="236" y="842"/>
                    </a:lnTo>
                    <a:lnTo>
                      <a:pt x="274" y="860"/>
                    </a:lnTo>
                    <a:lnTo>
                      <a:pt x="316" y="876"/>
                    </a:lnTo>
                    <a:lnTo>
                      <a:pt x="358" y="886"/>
                    </a:lnTo>
                    <a:lnTo>
                      <a:pt x="402" y="89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494" y="894"/>
                    </a:lnTo>
                    <a:lnTo>
                      <a:pt x="540" y="886"/>
                    </a:lnTo>
                    <a:lnTo>
                      <a:pt x="582" y="876"/>
                    </a:lnTo>
                    <a:lnTo>
                      <a:pt x="624" y="860"/>
                    </a:lnTo>
                    <a:lnTo>
                      <a:pt x="662" y="842"/>
                    </a:lnTo>
                    <a:lnTo>
                      <a:pt x="700" y="820"/>
                    </a:lnTo>
                    <a:lnTo>
                      <a:pt x="734" y="794"/>
                    </a:lnTo>
                    <a:lnTo>
                      <a:pt x="766" y="764"/>
                    </a:lnTo>
                    <a:lnTo>
                      <a:pt x="794" y="732"/>
                    </a:lnTo>
                    <a:lnTo>
                      <a:pt x="820" y="698"/>
                    </a:lnTo>
                    <a:lnTo>
                      <a:pt x="842" y="662"/>
                    </a:lnTo>
                    <a:lnTo>
                      <a:pt x="862" y="622"/>
                    </a:lnTo>
                    <a:lnTo>
                      <a:pt x="876" y="582"/>
                    </a:lnTo>
                    <a:lnTo>
                      <a:pt x="888" y="538"/>
                    </a:lnTo>
                    <a:lnTo>
                      <a:pt x="894" y="494"/>
                    </a:lnTo>
                    <a:lnTo>
                      <a:pt x="898" y="448"/>
                    </a:lnTo>
                    <a:lnTo>
                      <a:pt x="898" y="448"/>
                    </a:lnTo>
                    <a:lnTo>
                      <a:pt x="896" y="424"/>
                    </a:lnTo>
                    <a:lnTo>
                      <a:pt x="894" y="400"/>
                    </a:lnTo>
                    <a:lnTo>
                      <a:pt x="892" y="376"/>
                    </a:lnTo>
                    <a:lnTo>
                      <a:pt x="886" y="352"/>
                    </a:lnTo>
                    <a:lnTo>
                      <a:pt x="882" y="330"/>
                    </a:lnTo>
                    <a:lnTo>
                      <a:pt x="874" y="308"/>
                    </a:lnTo>
                    <a:lnTo>
                      <a:pt x="866" y="286"/>
                    </a:lnTo>
                    <a:lnTo>
                      <a:pt x="858" y="264"/>
                    </a:lnTo>
                    <a:lnTo>
                      <a:pt x="708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6"/>
              <p:cNvSpPr>
                <a:spLocks/>
              </p:cNvSpPr>
              <p:nvPr/>
            </p:nvSpPr>
            <p:spPr bwMode="auto">
              <a:xfrm>
                <a:off x="-866775" y="857250"/>
                <a:ext cx="2057400" cy="2057400"/>
              </a:xfrm>
              <a:custGeom>
                <a:avLst/>
                <a:gdLst>
                  <a:gd name="T0" fmla="*/ 1226 w 1296"/>
                  <a:gd name="T1" fmla="*/ 442 h 1296"/>
                  <a:gd name="T2" fmla="*/ 1258 w 1296"/>
                  <a:gd name="T3" fmla="*/ 576 h 1296"/>
                  <a:gd name="T4" fmla="*/ 1260 w 1296"/>
                  <a:gd name="T5" fmla="*/ 680 h 1296"/>
                  <a:gd name="T6" fmla="*/ 1242 w 1296"/>
                  <a:gd name="T7" fmla="*/ 800 h 1296"/>
                  <a:gd name="T8" fmla="*/ 1202 w 1296"/>
                  <a:gd name="T9" fmla="*/ 914 h 1296"/>
                  <a:gd name="T10" fmla="*/ 1140 w 1296"/>
                  <a:gd name="T11" fmla="*/ 1014 h 1296"/>
                  <a:gd name="T12" fmla="*/ 1060 w 1296"/>
                  <a:gd name="T13" fmla="*/ 1102 h 1296"/>
                  <a:gd name="T14" fmla="*/ 966 w 1296"/>
                  <a:gd name="T15" fmla="*/ 1172 h 1296"/>
                  <a:gd name="T16" fmla="*/ 860 w 1296"/>
                  <a:gd name="T17" fmla="*/ 1224 h 1296"/>
                  <a:gd name="T18" fmla="*/ 742 w 1296"/>
                  <a:gd name="T19" fmla="*/ 1254 h 1296"/>
                  <a:gd name="T20" fmla="*/ 648 w 1296"/>
                  <a:gd name="T21" fmla="*/ 1260 h 1296"/>
                  <a:gd name="T22" fmla="*/ 526 w 1296"/>
                  <a:gd name="T23" fmla="*/ 1248 h 1296"/>
                  <a:gd name="T24" fmla="*/ 410 w 1296"/>
                  <a:gd name="T25" fmla="*/ 1212 h 1296"/>
                  <a:gd name="T26" fmla="*/ 306 w 1296"/>
                  <a:gd name="T27" fmla="*/ 1156 h 1296"/>
                  <a:gd name="T28" fmla="*/ 216 w 1296"/>
                  <a:gd name="T29" fmla="*/ 1082 h 1296"/>
                  <a:gd name="T30" fmla="*/ 140 w 1296"/>
                  <a:gd name="T31" fmla="*/ 990 h 1296"/>
                  <a:gd name="T32" fmla="*/ 84 w 1296"/>
                  <a:gd name="T33" fmla="*/ 886 h 1296"/>
                  <a:gd name="T34" fmla="*/ 48 w 1296"/>
                  <a:gd name="T35" fmla="*/ 772 h 1296"/>
                  <a:gd name="T36" fmla="*/ 36 w 1296"/>
                  <a:gd name="T37" fmla="*/ 648 h 1296"/>
                  <a:gd name="T38" fmla="*/ 44 w 1296"/>
                  <a:gd name="T39" fmla="*/ 554 h 1296"/>
                  <a:gd name="T40" fmla="*/ 74 w 1296"/>
                  <a:gd name="T41" fmla="*/ 438 h 1296"/>
                  <a:gd name="T42" fmla="*/ 124 w 1296"/>
                  <a:gd name="T43" fmla="*/ 330 h 1296"/>
                  <a:gd name="T44" fmla="*/ 196 w 1296"/>
                  <a:gd name="T45" fmla="*/ 236 h 1296"/>
                  <a:gd name="T46" fmla="*/ 282 w 1296"/>
                  <a:gd name="T47" fmla="*/ 156 h 1296"/>
                  <a:gd name="T48" fmla="*/ 384 w 1296"/>
                  <a:gd name="T49" fmla="*/ 96 h 1296"/>
                  <a:gd name="T50" fmla="*/ 496 w 1296"/>
                  <a:gd name="T51" fmla="*/ 54 h 1296"/>
                  <a:gd name="T52" fmla="*/ 618 w 1296"/>
                  <a:gd name="T53" fmla="*/ 36 h 1296"/>
                  <a:gd name="T54" fmla="*/ 732 w 1296"/>
                  <a:gd name="T55" fmla="*/ 40 h 1296"/>
                  <a:gd name="T56" fmla="*/ 886 w 1296"/>
                  <a:gd name="T57" fmla="*/ 82 h 1296"/>
                  <a:gd name="T58" fmla="*/ 1022 w 1296"/>
                  <a:gd name="T59" fmla="*/ 162 h 1296"/>
                  <a:gd name="T60" fmla="*/ 1132 w 1296"/>
                  <a:gd name="T61" fmla="*/ 272 h 1296"/>
                  <a:gd name="T62" fmla="*/ 1206 w 1296"/>
                  <a:gd name="T63" fmla="*/ 318 h 1296"/>
                  <a:gd name="T64" fmla="*/ 1106 w 1296"/>
                  <a:gd name="T65" fmla="*/ 188 h 1296"/>
                  <a:gd name="T66" fmla="*/ 974 w 1296"/>
                  <a:gd name="T67" fmla="*/ 88 h 1296"/>
                  <a:gd name="T68" fmla="*/ 820 w 1296"/>
                  <a:gd name="T69" fmla="*/ 22 h 1296"/>
                  <a:gd name="T70" fmla="*/ 648 w 1296"/>
                  <a:gd name="T71" fmla="*/ 0 h 1296"/>
                  <a:gd name="T72" fmla="*/ 550 w 1296"/>
                  <a:gd name="T73" fmla="*/ 8 h 1296"/>
                  <a:gd name="T74" fmla="*/ 426 w 1296"/>
                  <a:gd name="T75" fmla="*/ 40 h 1296"/>
                  <a:gd name="T76" fmla="*/ 312 w 1296"/>
                  <a:gd name="T77" fmla="*/ 94 h 1296"/>
                  <a:gd name="T78" fmla="*/ 214 w 1296"/>
                  <a:gd name="T79" fmla="*/ 168 h 1296"/>
                  <a:gd name="T80" fmla="*/ 130 w 1296"/>
                  <a:gd name="T81" fmla="*/ 260 h 1296"/>
                  <a:gd name="T82" fmla="*/ 64 w 1296"/>
                  <a:gd name="T83" fmla="*/ 366 h 1296"/>
                  <a:gd name="T84" fmla="*/ 22 w 1296"/>
                  <a:gd name="T85" fmla="*/ 486 h 1296"/>
                  <a:gd name="T86" fmla="*/ 2 w 1296"/>
                  <a:gd name="T87" fmla="*/ 614 h 1296"/>
                  <a:gd name="T88" fmla="*/ 4 w 1296"/>
                  <a:gd name="T89" fmla="*/ 714 h 1296"/>
                  <a:gd name="T90" fmla="*/ 30 w 1296"/>
                  <a:gd name="T91" fmla="*/ 840 h 1296"/>
                  <a:gd name="T92" fmla="*/ 78 w 1296"/>
                  <a:gd name="T93" fmla="*/ 956 h 1296"/>
                  <a:gd name="T94" fmla="*/ 148 w 1296"/>
                  <a:gd name="T95" fmla="*/ 1060 h 1296"/>
                  <a:gd name="T96" fmla="*/ 236 w 1296"/>
                  <a:gd name="T97" fmla="*/ 1148 h 1296"/>
                  <a:gd name="T98" fmla="*/ 340 w 1296"/>
                  <a:gd name="T99" fmla="*/ 1218 h 1296"/>
                  <a:gd name="T100" fmla="*/ 456 w 1296"/>
                  <a:gd name="T101" fmla="*/ 1266 h 1296"/>
                  <a:gd name="T102" fmla="*/ 582 w 1296"/>
                  <a:gd name="T103" fmla="*/ 1292 h 1296"/>
                  <a:gd name="T104" fmla="*/ 682 w 1296"/>
                  <a:gd name="T105" fmla="*/ 1294 h 1296"/>
                  <a:gd name="T106" fmla="*/ 810 w 1296"/>
                  <a:gd name="T107" fmla="*/ 1276 h 1296"/>
                  <a:gd name="T108" fmla="*/ 930 w 1296"/>
                  <a:gd name="T109" fmla="*/ 1232 h 1296"/>
                  <a:gd name="T110" fmla="*/ 1036 w 1296"/>
                  <a:gd name="T111" fmla="*/ 1168 h 1296"/>
                  <a:gd name="T112" fmla="*/ 1128 w 1296"/>
                  <a:gd name="T113" fmla="*/ 1084 h 1296"/>
                  <a:gd name="T114" fmla="*/ 1202 w 1296"/>
                  <a:gd name="T115" fmla="*/ 984 h 1296"/>
                  <a:gd name="T116" fmla="*/ 1258 w 1296"/>
                  <a:gd name="T117" fmla="*/ 870 h 1296"/>
                  <a:gd name="T118" fmla="*/ 1290 w 1296"/>
                  <a:gd name="T119" fmla="*/ 746 h 1296"/>
                  <a:gd name="T120" fmla="*/ 1296 w 1296"/>
                  <a:gd name="T121" fmla="*/ 648 h 1296"/>
                  <a:gd name="T122" fmla="*/ 1280 w 1296"/>
                  <a:gd name="T123" fmla="*/ 500 h 1296"/>
                  <a:gd name="T124" fmla="*/ 1230 w 1296"/>
                  <a:gd name="T125" fmla="*/ 362 h 1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96" h="1296">
                    <a:moveTo>
                      <a:pt x="1200" y="380"/>
                    </a:moveTo>
                    <a:lnTo>
                      <a:pt x="1200" y="380"/>
                    </a:lnTo>
                    <a:lnTo>
                      <a:pt x="1214" y="412"/>
                    </a:lnTo>
                    <a:lnTo>
                      <a:pt x="1226" y="442"/>
                    </a:lnTo>
                    <a:lnTo>
                      <a:pt x="1236" y="476"/>
                    </a:lnTo>
                    <a:lnTo>
                      <a:pt x="1246" y="508"/>
                    </a:lnTo>
                    <a:lnTo>
                      <a:pt x="1252" y="542"/>
                    </a:lnTo>
                    <a:lnTo>
                      <a:pt x="1258" y="576"/>
                    </a:lnTo>
                    <a:lnTo>
                      <a:pt x="1260" y="612"/>
                    </a:lnTo>
                    <a:lnTo>
                      <a:pt x="1262" y="648"/>
                    </a:lnTo>
                    <a:lnTo>
                      <a:pt x="1262" y="648"/>
                    </a:lnTo>
                    <a:lnTo>
                      <a:pt x="1260" y="680"/>
                    </a:lnTo>
                    <a:lnTo>
                      <a:pt x="1258" y="710"/>
                    </a:lnTo>
                    <a:lnTo>
                      <a:pt x="1254" y="742"/>
                    </a:lnTo>
                    <a:lnTo>
                      <a:pt x="1250" y="772"/>
                    </a:lnTo>
                    <a:lnTo>
                      <a:pt x="1242" y="800"/>
                    </a:lnTo>
                    <a:lnTo>
                      <a:pt x="1234" y="830"/>
                    </a:lnTo>
                    <a:lnTo>
                      <a:pt x="1224" y="858"/>
                    </a:lnTo>
                    <a:lnTo>
                      <a:pt x="1214" y="886"/>
                    </a:lnTo>
                    <a:lnTo>
                      <a:pt x="1202" y="914"/>
                    </a:lnTo>
                    <a:lnTo>
                      <a:pt x="1188" y="940"/>
                    </a:lnTo>
                    <a:lnTo>
                      <a:pt x="1172" y="966"/>
                    </a:lnTo>
                    <a:lnTo>
                      <a:pt x="1156" y="990"/>
                    </a:lnTo>
                    <a:lnTo>
                      <a:pt x="1140" y="1014"/>
                    </a:lnTo>
                    <a:lnTo>
                      <a:pt x="1122" y="1038"/>
                    </a:lnTo>
                    <a:lnTo>
                      <a:pt x="1102" y="1060"/>
                    </a:lnTo>
                    <a:lnTo>
                      <a:pt x="1082" y="1082"/>
                    </a:lnTo>
                    <a:lnTo>
                      <a:pt x="1060" y="1102"/>
                    </a:lnTo>
                    <a:lnTo>
                      <a:pt x="1038" y="1120"/>
                    </a:lnTo>
                    <a:lnTo>
                      <a:pt x="1016" y="1138"/>
                    </a:lnTo>
                    <a:lnTo>
                      <a:pt x="992" y="1156"/>
                    </a:lnTo>
                    <a:lnTo>
                      <a:pt x="966" y="1172"/>
                    </a:lnTo>
                    <a:lnTo>
                      <a:pt x="940" y="1186"/>
                    </a:lnTo>
                    <a:lnTo>
                      <a:pt x="914" y="1200"/>
                    </a:lnTo>
                    <a:lnTo>
                      <a:pt x="888" y="1212"/>
                    </a:lnTo>
                    <a:lnTo>
                      <a:pt x="860" y="1224"/>
                    </a:lnTo>
                    <a:lnTo>
                      <a:pt x="830" y="1232"/>
                    </a:lnTo>
                    <a:lnTo>
                      <a:pt x="802" y="1242"/>
                    </a:lnTo>
                    <a:lnTo>
                      <a:pt x="772" y="1248"/>
                    </a:lnTo>
                    <a:lnTo>
                      <a:pt x="742" y="1254"/>
                    </a:lnTo>
                    <a:lnTo>
                      <a:pt x="712" y="1258"/>
                    </a:lnTo>
                    <a:lnTo>
                      <a:pt x="680" y="1260"/>
                    </a:lnTo>
                    <a:lnTo>
                      <a:pt x="648" y="1260"/>
                    </a:lnTo>
                    <a:lnTo>
                      <a:pt x="648" y="1260"/>
                    </a:lnTo>
                    <a:lnTo>
                      <a:pt x="618" y="1260"/>
                    </a:lnTo>
                    <a:lnTo>
                      <a:pt x="586" y="1258"/>
                    </a:lnTo>
                    <a:lnTo>
                      <a:pt x="556" y="1254"/>
                    </a:lnTo>
                    <a:lnTo>
                      <a:pt x="526" y="1248"/>
                    </a:lnTo>
                    <a:lnTo>
                      <a:pt x="496" y="1242"/>
                    </a:lnTo>
                    <a:lnTo>
                      <a:pt x="466" y="1232"/>
                    </a:lnTo>
                    <a:lnTo>
                      <a:pt x="438" y="1224"/>
                    </a:lnTo>
                    <a:lnTo>
                      <a:pt x="410" y="1212"/>
                    </a:lnTo>
                    <a:lnTo>
                      <a:pt x="384" y="1200"/>
                    </a:lnTo>
                    <a:lnTo>
                      <a:pt x="356" y="1186"/>
                    </a:lnTo>
                    <a:lnTo>
                      <a:pt x="332" y="1172"/>
                    </a:lnTo>
                    <a:lnTo>
                      <a:pt x="306" y="1156"/>
                    </a:lnTo>
                    <a:lnTo>
                      <a:pt x="282" y="1138"/>
                    </a:lnTo>
                    <a:lnTo>
                      <a:pt x="258" y="1120"/>
                    </a:lnTo>
                    <a:lnTo>
                      <a:pt x="236" y="1102"/>
                    </a:lnTo>
                    <a:lnTo>
                      <a:pt x="216" y="1082"/>
                    </a:lnTo>
                    <a:lnTo>
                      <a:pt x="196" y="1060"/>
                    </a:lnTo>
                    <a:lnTo>
                      <a:pt x="176" y="1038"/>
                    </a:lnTo>
                    <a:lnTo>
                      <a:pt x="158" y="1014"/>
                    </a:lnTo>
                    <a:lnTo>
                      <a:pt x="140" y="990"/>
                    </a:lnTo>
                    <a:lnTo>
                      <a:pt x="124" y="966"/>
                    </a:lnTo>
                    <a:lnTo>
                      <a:pt x="110" y="940"/>
                    </a:lnTo>
                    <a:lnTo>
                      <a:pt x="96" y="914"/>
                    </a:lnTo>
                    <a:lnTo>
                      <a:pt x="84" y="886"/>
                    </a:lnTo>
                    <a:lnTo>
                      <a:pt x="74" y="858"/>
                    </a:lnTo>
                    <a:lnTo>
                      <a:pt x="64" y="830"/>
                    </a:lnTo>
                    <a:lnTo>
                      <a:pt x="56" y="800"/>
                    </a:lnTo>
                    <a:lnTo>
                      <a:pt x="48" y="772"/>
                    </a:lnTo>
                    <a:lnTo>
                      <a:pt x="44" y="742"/>
                    </a:lnTo>
                    <a:lnTo>
                      <a:pt x="40" y="710"/>
                    </a:lnTo>
                    <a:lnTo>
                      <a:pt x="36" y="680"/>
                    </a:lnTo>
                    <a:lnTo>
                      <a:pt x="36" y="648"/>
                    </a:lnTo>
                    <a:lnTo>
                      <a:pt x="36" y="648"/>
                    </a:lnTo>
                    <a:lnTo>
                      <a:pt x="36" y="616"/>
                    </a:lnTo>
                    <a:lnTo>
                      <a:pt x="40" y="586"/>
                    </a:lnTo>
                    <a:lnTo>
                      <a:pt x="44" y="554"/>
                    </a:lnTo>
                    <a:lnTo>
                      <a:pt x="48" y="524"/>
                    </a:lnTo>
                    <a:lnTo>
                      <a:pt x="56" y="494"/>
                    </a:lnTo>
                    <a:lnTo>
                      <a:pt x="64" y="466"/>
                    </a:lnTo>
                    <a:lnTo>
                      <a:pt x="74" y="438"/>
                    </a:lnTo>
                    <a:lnTo>
                      <a:pt x="84" y="410"/>
                    </a:lnTo>
                    <a:lnTo>
                      <a:pt x="96" y="382"/>
                    </a:lnTo>
                    <a:lnTo>
                      <a:pt x="110" y="356"/>
                    </a:lnTo>
                    <a:lnTo>
                      <a:pt x="124" y="330"/>
                    </a:lnTo>
                    <a:lnTo>
                      <a:pt x="140" y="306"/>
                    </a:lnTo>
                    <a:lnTo>
                      <a:pt x="158" y="282"/>
                    </a:lnTo>
                    <a:lnTo>
                      <a:pt x="176" y="258"/>
                    </a:lnTo>
                    <a:lnTo>
                      <a:pt x="196" y="236"/>
                    </a:lnTo>
                    <a:lnTo>
                      <a:pt x="216" y="214"/>
                    </a:lnTo>
                    <a:lnTo>
                      <a:pt x="236" y="194"/>
                    </a:lnTo>
                    <a:lnTo>
                      <a:pt x="258" y="174"/>
                    </a:lnTo>
                    <a:lnTo>
                      <a:pt x="282" y="156"/>
                    </a:lnTo>
                    <a:lnTo>
                      <a:pt x="306" y="140"/>
                    </a:lnTo>
                    <a:lnTo>
                      <a:pt x="332" y="124"/>
                    </a:lnTo>
                    <a:lnTo>
                      <a:pt x="356" y="108"/>
                    </a:lnTo>
                    <a:lnTo>
                      <a:pt x="384" y="96"/>
                    </a:lnTo>
                    <a:lnTo>
                      <a:pt x="410" y="84"/>
                    </a:lnTo>
                    <a:lnTo>
                      <a:pt x="438" y="72"/>
                    </a:lnTo>
                    <a:lnTo>
                      <a:pt x="466" y="62"/>
                    </a:lnTo>
                    <a:lnTo>
                      <a:pt x="496" y="54"/>
                    </a:lnTo>
                    <a:lnTo>
                      <a:pt x="526" y="48"/>
                    </a:lnTo>
                    <a:lnTo>
                      <a:pt x="556" y="42"/>
                    </a:lnTo>
                    <a:lnTo>
                      <a:pt x="586" y="38"/>
                    </a:lnTo>
                    <a:lnTo>
                      <a:pt x="618" y="36"/>
                    </a:lnTo>
                    <a:lnTo>
                      <a:pt x="648" y="34"/>
                    </a:lnTo>
                    <a:lnTo>
                      <a:pt x="648" y="34"/>
                    </a:lnTo>
                    <a:lnTo>
                      <a:pt x="690" y="36"/>
                    </a:lnTo>
                    <a:lnTo>
                      <a:pt x="732" y="40"/>
                    </a:lnTo>
                    <a:lnTo>
                      <a:pt x="772" y="48"/>
                    </a:lnTo>
                    <a:lnTo>
                      <a:pt x="810" y="56"/>
                    </a:lnTo>
                    <a:lnTo>
                      <a:pt x="850" y="68"/>
                    </a:lnTo>
                    <a:lnTo>
                      <a:pt x="886" y="82"/>
                    </a:lnTo>
                    <a:lnTo>
                      <a:pt x="922" y="100"/>
                    </a:lnTo>
                    <a:lnTo>
                      <a:pt x="956" y="118"/>
                    </a:lnTo>
                    <a:lnTo>
                      <a:pt x="990" y="138"/>
                    </a:lnTo>
                    <a:lnTo>
                      <a:pt x="1022" y="162"/>
                    </a:lnTo>
                    <a:lnTo>
                      <a:pt x="1052" y="186"/>
                    </a:lnTo>
                    <a:lnTo>
                      <a:pt x="1080" y="212"/>
                    </a:lnTo>
                    <a:lnTo>
                      <a:pt x="1108" y="242"/>
                    </a:lnTo>
                    <a:lnTo>
                      <a:pt x="1132" y="272"/>
                    </a:lnTo>
                    <a:lnTo>
                      <a:pt x="1156" y="302"/>
                    </a:lnTo>
                    <a:lnTo>
                      <a:pt x="1176" y="336"/>
                    </a:lnTo>
                    <a:lnTo>
                      <a:pt x="1206" y="318"/>
                    </a:lnTo>
                    <a:lnTo>
                      <a:pt x="1206" y="318"/>
                    </a:lnTo>
                    <a:lnTo>
                      <a:pt x="1184" y="282"/>
                    </a:lnTo>
                    <a:lnTo>
                      <a:pt x="1160" y="250"/>
                    </a:lnTo>
                    <a:lnTo>
                      <a:pt x="1134" y="218"/>
                    </a:lnTo>
                    <a:lnTo>
                      <a:pt x="1106" y="188"/>
                    </a:lnTo>
                    <a:lnTo>
                      <a:pt x="1074" y="160"/>
                    </a:lnTo>
                    <a:lnTo>
                      <a:pt x="1044" y="134"/>
                    </a:lnTo>
                    <a:lnTo>
                      <a:pt x="1010" y="110"/>
                    </a:lnTo>
                    <a:lnTo>
                      <a:pt x="974" y="88"/>
                    </a:lnTo>
                    <a:lnTo>
                      <a:pt x="938" y="68"/>
                    </a:lnTo>
                    <a:lnTo>
                      <a:pt x="900" y="50"/>
                    </a:lnTo>
                    <a:lnTo>
                      <a:pt x="860" y="36"/>
                    </a:lnTo>
                    <a:lnTo>
                      <a:pt x="820" y="22"/>
                    </a:lnTo>
                    <a:lnTo>
                      <a:pt x="778" y="12"/>
                    </a:lnTo>
                    <a:lnTo>
                      <a:pt x="736" y="6"/>
                    </a:lnTo>
                    <a:lnTo>
                      <a:pt x="692" y="2"/>
                    </a:lnTo>
                    <a:lnTo>
                      <a:pt x="648" y="0"/>
                    </a:lnTo>
                    <a:lnTo>
                      <a:pt x="648" y="0"/>
                    </a:lnTo>
                    <a:lnTo>
                      <a:pt x="616" y="0"/>
                    </a:lnTo>
                    <a:lnTo>
                      <a:pt x="582" y="4"/>
                    </a:lnTo>
                    <a:lnTo>
                      <a:pt x="550" y="8"/>
                    </a:lnTo>
                    <a:lnTo>
                      <a:pt x="518" y="12"/>
                    </a:lnTo>
                    <a:lnTo>
                      <a:pt x="486" y="20"/>
                    </a:lnTo>
                    <a:lnTo>
                      <a:pt x="456" y="28"/>
                    </a:lnTo>
                    <a:lnTo>
                      <a:pt x="426" y="40"/>
                    </a:lnTo>
                    <a:lnTo>
                      <a:pt x="396" y="50"/>
                    </a:lnTo>
                    <a:lnTo>
                      <a:pt x="368" y="64"/>
                    </a:lnTo>
                    <a:lnTo>
                      <a:pt x="340" y="78"/>
                    </a:lnTo>
                    <a:lnTo>
                      <a:pt x="312" y="94"/>
                    </a:lnTo>
                    <a:lnTo>
                      <a:pt x="286" y="110"/>
                    </a:lnTo>
                    <a:lnTo>
                      <a:pt x="262" y="128"/>
                    </a:lnTo>
                    <a:lnTo>
                      <a:pt x="236" y="148"/>
                    </a:lnTo>
                    <a:lnTo>
                      <a:pt x="214" y="168"/>
                    </a:lnTo>
                    <a:lnTo>
                      <a:pt x="190" y="190"/>
                    </a:lnTo>
                    <a:lnTo>
                      <a:pt x="170" y="212"/>
                    </a:lnTo>
                    <a:lnTo>
                      <a:pt x="148" y="236"/>
                    </a:lnTo>
                    <a:lnTo>
                      <a:pt x="130" y="260"/>
                    </a:lnTo>
                    <a:lnTo>
                      <a:pt x="112" y="286"/>
                    </a:lnTo>
                    <a:lnTo>
                      <a:pt x="94" y="312"/>
                    </a:lnTo>
                    <a:lnTo>
                      <a:pt x="78" y="338"/>
                    </a:lnTo>
                    <a:lnTo>
                      <a:pt x="64" y="366"/>
                    </a:lnTo>
                    <a:lnTo>
                      <a:pt x="52" y="396"/>
                    </a:lnTo>
                    <a:lnTo>
                      <a:pt x="40" y="424"/>
                    </a:lnTo>
                    <a:lnTo>
                      <a:pt x="30" y="456"/>
                    </a:lnTo>
                    <a:lnTo>
                      <a:pt x="22" y="486"/>
                    </a:lnTo>
                    <a:lnTo>
                      <a:pt x="14" y="518"/>
                    </a:lnTo>
                    <a:lnTo>
                      <a:pt x="8" y="550"/>
                    </a:lnTo>
                    <a:lnTo>
                      <a:pt x="4" y="582"/>
                    </a:lnTo>
                    <a:lnTo>
                      <a:pt x="2" y="614"/>
                    </a:lnTo>
                    <a:lnTo>
                      <a:pt x="0" y="648"/>
                    </a:lnTo>
                    <a:lnTo>
                      <a:pt x="0" y="648"/>
                    </a:lnTo>
                    <a:lnTo>
                      <a:pt x="2" y="682"/>
                    </a:lnTo>
                    <a:lnTo>
                      <a:pt x="4" y="714"/>
                    </a:lnTo>
                    <a:lnTo>
                      <a:pt x="8" y="746"/>
                    </a:lnTo>
                    <a:lnTo>
                      <a:pt x="14" y="778"/>
                    </a:lnTo>
                    <a:lnTo>
                      <a:pt x="22" y="810"/>
                    </a:lnTo>
                    <a:lnTo>
                      <a:pt x="30" y="840"/>
                    </a:lnTo>
                    <a:lnTo>
                      <a:pt x="40" y="870"/>
                    </a:lnTo>
                    <a:lnTo>
                      <a:pt x="52" y="900"/>
                    </a:lnTo>
                    <a:lnTo>
                      <a:pt x="64" y="928"/>
                    </a:lnTo>
                    <a:lnTo>
                      <a:pt x="78" y="956"/>
                    </a:lnTo>
                    <a:lnTo>
                      <a:pt x="94" y="984"/>
                    </a:lnTo>
                    <a:lnTo>
                      <a:pt x="112" y="1010"/>
                    </a:lnTo>
                    <a:lnTo>
                      <a:pt x="130" y="1036"/>
                    </a:lnTo>
                    <a:lnTo>
                      <a:pt x="148" y="1060"/>
                    </a:lnTo>
                    <a:lnTo>
                      <a:pt x="170" y="1084"/>
                    </a:lnTo>
                    <a:lnTo>
                      <a:pt x="190" y="1106"/>
                    </a:lnTo>
                    <a:lnTo>
                      <a:pt x="214" y="1128"/>
                    </a:lnTo>
                    <a:lnTo>
                      <a:pt x="236" y="1148"/>
                    </a:lnTo>
                    <a:lnTo>
                      <a:pt x="262" y="1168"/>
                    </a:lnTo>
                    <a:lnTo>
                      <a:pt x="286" y="1186"/>
                    </a:lnTo>
                    <a:lnTo>
                      <a:pt x="312" y="1202"/>
                    </a:lnTo>
                    <a:lnTo>
                      <a:pt x="340" y="1218"/>
                    </a:lnTo>
                    <a:lnTo>
                      <a:pt x="368" y="1232"/>
                    </a:lnTo>
                    <a:lnTo>
                      <a:pt x="396" y="1244"/>
                    </a:lnTo>
                    <a:lnTo>
                      <a:pt x="426" y="1256"/>
                    </a:lnTo>
                    <a:lnTo>
                      <a:pt x="456" y="1266"/>
                    </a:lnTo>
                    <a:lnTo>
                      <a:pt x="486" y="1276"/>
                    </a:lnTo>
                    <a:lnTo>
                      <a:pt x="518" y="1282"/>
                    </a:lnTo>
                    <a:lnTo>
                      <a:pt x="550" y="1288"/>
                    </a:lnTo>
                    <a:lnTo>
                      <a:pt x="582" y="1292"/>
                    </a:lnTo>
                    <a:lnTo>
                      <a:pt x="616" y="1294"/>
                    </a:lnTo>
                    <a:lnTo>
                      <a:pt x="648" y="1296"/>
                    </a:lnTo>
                    <a:lnTo>
                      <a:pt x="648" y="1296"/>
                    </a:lnTo>
                    <a:lnTo>
                      <a:pt x="682" y="1294"/>
                    </a:lnTo>
                    <a:lnTo>
                      <a:pt x="716" y="1292"/>
                    </a:lnTo>
                    <a:lnTo>
                      <a:pt x="748" y="1288"/>
                    </a:lnTo>
                    <a:lnTo>
                      <a:pt x="780" y="1282"/>
                    </a:lnTo>
                    <a:lnTo>
                      <a:pt x="810" y="1276"/>
                    </a:lnTo>
                    <a:lnTo>
                      <a:pt x="842" y="1266"/>
                    </a:lnTo>
                    <a:lnTo>
                      <a:pt x="872" y="1256"/>
                    </a:lnTo>
                    <a:lnTo>
                      <a:pt x="900" y="1244"/>
                    </a:lnTo>
                    <a:lnTo>
                      <a:pt x="930" y="1232"/>
                    </a:lnTo>
                    <a:lnTo>
                      <a:pt x="958" y="1218"/>
                    </a:lnTo>
                    <a:lnTo>
                      <a:pt x="984" y="1202"/>
                    </a:lnTo>
                    <a:lnTo>
                      <a:pt x="1012" y="1186"/>
                    </a:lnTo>
                    <a:lnTo>
                      <a:pt x="1036" y="1168"/>
                    </a:lnTo>
                    <a:lnTo>
                      <a:pt x="1060" y="1148"/>
                    </a:lnTo>
                    <a:lnTo>
                      <a:pt x="1084" y="1128"/>
                    </a:lnTo>
                    <a:lnTo>
                      <a:pt x="1106" y="1106"/>
                    </a:lnTo>
                    <a:lnTo>
                      <a:pt x="1128" y="1084"/>
                    </a:lnTo>
                    <a:lnTo>
                      <a:pt x="1148" y="1060"/>
                    </a:lnTo>
                    <a:lnTo>
                      <a:pt x="1168" y="1036"/>
                    </a:lnTo>
                    <a:lnTo>
                      <a:pt x="1186" y="1010"/>
                    </a:lnTo>
                    <a:lnTo>
                      <a:pt x="1202" y="984"/>
                    </a:lnTo>
                    <a:lnTo>
                      <a:pt x="1218" y="956"/>
                    </a:lnTo>
                    <a:lnTo>
                      <a:pt x="1232" y="928"/>
                    </a:lnTo>
                    <a:lnTo>
                      <a:pt x="1246" y="900"/>
                    </a:lnTo>
                    <a:lnTo>
                      <a:pt x="1258" y="870"/>
                    </a:lnTo>
                    <a:lnTo>
                      <a:pt x="1268" y="840"/>
                    </a:lnTo>
                    <a:lnTo>
                      <a:pt x="1276" y="810"/>
                    </a:lnTo>
                    <a:lnTo>
                      <a:pt x="1284" y="778"/>
                    </a:lnTo>
                    <a:lnTo>
                      <a:pt x="1290" y="746"/>
                    </a:lnTo>
                    <a:lnTo>
                      <a:pt x="1294" y="714"/>
                    </a:lnTo>
                    <a:lnTo>
                      <a:pt x="1296" y="682"/>
                    </a:lnTo>
                    <a:lnTo>
                      <a:pt x="1296" y="648"/>
                    </a:lnTo>
                    <a:lnTo>
                      <a:pt x="1296" y="648"/>
                    </a:lnTo>
                    <a:lnTo>
                      <a:pt x="1296" y="610"/>
                    </a:lnTo>
                    <a:lnTo>
                      <a:pt x="1292" y="572"/>
                    </a:lnTo>
                    <a:lnTo>
                      <a:pt x="1288" y="536"/>
                    </a:lnTo>
                    <a:lnTo>
                      <a:pt x="1280" y="500"/>
                    </a:lnTo>
                    <a:lnTo>
                      <a:pt x="1270" y="464"/>
                    </a:lnTo>
                    <a:lnTo>
                      <a:pt x="1258" y="430"/>
                    </a:lnTo>
                    <a:lnTo>
                      <a:pt x="1246" y="396"/>
                    </a:lnTo>
                    <a:lnTo>
                      <a:pt x="1230" y="362"/>
                    </a:lnTo>
                    <a:lnTo>
                      <a:pt x="1200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9213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>
            <p:custDataLst>
              <p:tags r:id="rId1"/>
            </p:custDataLst>
          </p:nvPr>
        </p:nvSpPr>
        <p:spPr>
          <a:xfrm>
            <a:off x="304800" y="4953000"/>
            <a:ext cx="47153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Naître, Grandir et devenir Sage.</a:t>
            </a: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45" name="Rectangle 44"/>
          <p:cNvSpPr/>
          <p:nvPr>
            <p:custDataLst>
              <p:tags r:id="rId2"/>
            </p:custDataLst>
          </p:nvPr>
        </p:nvSpPr>
        <p:spPr>
          <a:xfrm>
            <a:off x="0" y="5496580"/>
            <a:ext cx="9144000" cy="136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E74C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ETUDE FINANCIERE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 smtClean="0"/>
              <a:t>16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5879409" y="1516394"/>
            <a:ext cx="2627395" cy="3811846"/>
            <a:chOff x="5084594" y="1541916"/>
            <a:chExt cx="2627395" cy="3811846"/>
          </a:xfrm>
        </p:grpSpPr>
        <p:grpSp>
          <p:nvGrpSpPr>
            <p:cNvPr id="19" name="Group 18"/>
            <p:cNvGrpSpPr/>
            <p:nvPr/>
          </p:nvGrpSpPr>
          <p:grpSpPr>
            <a:xfrm>
              <a:off x="5084594" y="1541916"/>
              <a:ext cx="863640" cy="924579"/>
              <a:chOff x="-1046920" y="2123773"/>
              <a:chExt cx="1219200" cy="1305227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-1046920" y="2209800"/>
                <a:ext cx="1219200" cy="12192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-961755" y="2294965"/>
                <a:ext cx="1048871" cy="1048871"/>
              </a:xfrm>
              <a:prstGeom prst="ellipse">
                <a:avLst/>
              </a:prstGeom>
              <a:solidFill>
                <a:srgbClr val="E74C3C"/>
              </a:solidFill>
              <a:ln w="38100">
                <a:solidFill>
                  <a:srgbClr val="D6DA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-627820" y="2123773"/>
                <a:ext cx="381000" cy="3810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E74C3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d-ID" sz="1200" b="1" dirty="0" smtClean="0">
                    <a:solidFill>
                      <a:srgbClr val="7F8C8D"/>
                    </a:solidFill>
                    <a:latin typeface="Calibri Light" panose="020F0302020204030204" pitchFamily="34" charset="0"/>
                  </a:rPr>
                  <a:t>1</a:t>
                </a:r>
                <a:endParaRPr lang="id-ID" sz="1200" b="1" dirty="0">
                  <a:solidFill>
                    <a:srgbClr val="7F8C8D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5084594" y="2850442"/>
              <a:ext cx="863640" cy="924579"/>
              <a:chOff x="-1046920" y="2123773"/>
              <a:chExt cx="1219200" cy="1305227"/>
            </a:xfrm>
          </p:grpSpPr>
          <p:sp>
            <p:nvSpPr>
              <p:cNvPr id="38" name="Oval 37"/>
              <p:cNvSpPr/>
              <p:nvPr/>
            </p:nvSpPr>
            <p:spPr>
              <a:xfrm>
                <a:off x="-1046920" y="2209800"/>
                <a:ext cx="1219200" cy="12192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39" name="Oval 38"/>
              <p:cNvSpPr/>
              <p:nvPr/>
            </p:nvSpPr>
            <p:spPr>
              <a:xfrm>
                <a:off x="-961755" y="2294965"/>
                <a:ext cx="1048871" cy="1048871"/>
              </a:xfrm>
              <a:prstGeom prst="ellipse">
                <a:avLst/>
              </a:prstGeom>
              <a:solidFill>
                <a:srgbClr val="C0392B"/>
              </a:solidFill>
              <a:ln w="38100">
                <a:solidFill>
                  <a:srgbClr val="D6DADC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200">
                  <a:latin typeface="+mj-lt"/>
                </a:endParaRP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-627820" y="2123773"/>
                <a:ext cx="381000" cy="3810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C0392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d-ID" sz="1200" b="1" dirty="0" smtClean="0">
                    <a:solidFill>
                      <a:srgbClr val="7F8C8D"/>
                    </a:solidFill>
                    <a:latin typeface="Calibri Light" panose="020F0302020204030204" pitchFamily="34" charset="0"/>
                  </a:rPr>
                  <a:t>2</a:t>
                </a:r>
                <a:endParaRPr lang="id-ID" sz="1200" b="1" dirty="0">
                  <a:solidFill>
                    <a:srgbClr val="7F8C8D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5084594" y="4158967"/>
              <a:ext cx="863640" cy="924579"/>
              <a:chOff x="-1046920" y="2123773"/>
              <a:chExt cx="1219200" cy="1305227"/>
            </a:xfrm>
          </p:grpSpPr>
          <p:sp>
            <p:nvSpPr>
              <p:cNvPr id="42" name="Oval 41"/>
              <p:cNvSpPr/>
              <p:nvPr/>
            </p:nvSpPr>
            <p:spPr>
              <a:xfrm>
                <a:off x="-1046920" y="2209800"/>
                <a:ext cx="1219200" cy="12192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-961755" y="2294965"/>
                <a:ext cx="1048871" cy="1048871"/>
              </a:xfrm>
              <a:prstGeom prst="ellipse">
                <a:avLst/>
              </a:prstGeom>
              <a:solidFill>
                <a:srgbClr val="8D291F"/>
              </a:solidFill>
              <a:ln w="38100">
                <a:solidFill>
                  <a:srgbClr val="D6DAD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d-ID" sz="12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-627820" y="2123773"/>
                <a:ext cx="381000" cy="3810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8D29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d-ID" sz="1200" b="1" dirty="0" smtClean="0">
                    <a:solidFill>
                      <a:srgbClr val="7F8C8D"/>
                    </a:solidFill>
                    <a:latin typeface="Calibri Light" panose="020F0302020204030204" pitchFamily="34" charset="0"/>
                  </a:rPr>
                  <a:t>3</a:t>
                </a:r>
                <a:endParaRPr lang="id-ID" sz="1200" b="1" dirty="0">
                  <a:solidFill>
                    <a:srgbClr val="7F8C8D"/>
                  </a:solidFill>
                  <a:latin typeface="Calibri Light" panose="020F0302020204030204" pitchFamily="34" charset="0"/>
                </a:endParaRPr>
              </a:p>
            </p:txBody>
          </p:sp>
        </p:grpSp>
        <p:sp>
          <p:nvSpPr>
            <p:cNvPr id="49" name="Rectangle 48"/>
            <p:cNvSpPr/>
            <p:nvPr/>
          </p:nvSpPr>
          <p:spPr>
            <a:xfrm>
              <a:off x="6106526" y="1642260"/>
              <a:ext cx="1605463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CHALLENGE</a:t>
              </a:r>
            </a:p>
            <a:p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Maximiser</a:t>
              </a:r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les chances de la naissance </a:t>
              </a:r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réussie</a:t>
              </a:r>
              <a:r>
                <a:rPr lang="en-US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de </a:t>
              </a:r>
              <a:r>
                <a:rPr lang="en-US" sz="12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DataNest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106526" y="2891303"/>
              <a:ext cx="1605463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SOLUTIONS</a:t>
              </a:r>
            </a:p>
            <a:p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Assoir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e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le savoir-faire et la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renomée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DataNest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dans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le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domaine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naissant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de la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BigData</a:t>
              </a:r>
              <a:endPara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106526" y="4230378"/>
              <a:ext cx="1605463" cy="11233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Produits &amp; Services</a:t>
              </a:r>
              <a:endParaRPr lang="id-ID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endParaRPr>
            </a:p>
            <a:p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DataNest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devra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savoir diversifier son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porte-feuille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et proposer des solutions 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ascendante</a:t>
              </a:r>
              <a:r>
                <a:rPr lang="en-US" sz="11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s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 Light" pitchFamily="34" charset="0"/>
                </a:rPr>
                <a:t> en innovation</a:t>
              </a:r>
              <a:endPara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5352151" y="1911763"/>
              <a:ext cx="328525" cy="371183"/>
              <a:chOff x="4010025" y="1682750"/>
              <a:chExt cx="941388" cy="1063626"/>
            </a:xfrm>
            <a:solidFill>
              <a:schemeClr val="bg1"/>
            </a:solidFill>
          </p:grpSpPr>
          <p:sp>
            <p:nvSpPr>
              <p:cNvPr id="54" name="Freeform 48"/>
              <p:cNvSpPr>
                <a:spLocks noEditPoints="1"/>
              </p:cNvSpPr>
              <p:nvPr/>
            </p:nvSpPr>
            <p:spPr bwMode="auto">
              <a:xfrm>
                <a:off x="4265613" y="1793875"/>
                <a:ext cx="439738" cy="420688"/>
              </a:xfrm>
              <a:custGeom>
                <a:avLst/>
                <a:gdLst>
                  <a:gd name="T0" fmla="*/ 425 w 831"/>
                  <a:gd name="T1" fmla="*/ 595 h 793"/>
                  <a:gd name="T2" fmla="*/ 597 w 831"/>
                  <a:gd name="T3" fmla="*/ 685 h 793"/>
                  <a:gd name="T4" fmla="*/ 565 w 831"/>
                  <a:gd name="T5" fmla="*/ 493 h 793"/>
                  <a:gd name="T6" fmla="*/ 568 w 831"/>
                  <a:gd name="T7" fmla="*/ 480 h 793"/>
                  <a:gd name="T8" fmla="*/ 577 w 831"/>
                  <a:gd name="T9" fmla="*/ 468 h 793"/>
                  <a:gd name="T10" fmla="*/ 522 w 831"/>
                  <a:gd name="T11" fmla="*/ 311 h 793"/>
                  <a:gd name="T12" fmla="*/ 509 w 831"/>
                  <a:gd name="T13" fmla="*/ 306 h 793"/>
                  <a:gd name="T14" fmla="*/ 499 w 831"/>
                  <a:gd name="T15" fmla="*/ 295 h 793"/>
                  <a:gd name="T16" fmla="*/ 333 w 831"/>
                  <a:gd name="T17" fmla="*/ 291 h 793"/>
                  <a:gd name="T18" fmla="*/ 325 w 831"/>
                  <a:gd name="T19" fmla="*/ 302 h 793"/>
                  <a:gd name="T20" fmla="*/ 313 w 831"/>
                  <a:gd name="T21" fmla="*/ 310 h 793"/>
                  <a:gd name="T22" fmla="*/ 121 w 831"/>
                  <a:gd name="T23" fmla="*/ 338 h 793"/>
                  <a:gd name="T24" fmla="*/ 259 w 831"/>
                  <a:gd name="T25" fmla="*/ 476 h 793"/>
                  <a:gd name="T26" fmla="*/ 264 w 831"/>
                  <a:gd name="T27" fmla="*/ 488 h 793"/>
                  <a:gd name="T28" fmla="*/ 264 w 831"/>
                  <a:gd name="T29" fmla="*/ 502 h 793"/>
                  <a:gd name="T30" fmla="*/ 401 w 831"/>
                  <a:gd name="T31" fmla="*/ 597 h 793"/>
                  <a:gd name="T32" fmla="*/ 415 w 831"/>
                  <a:gd name="T33" fmla="*/ 594 h 793"/>
                  <a:gd name="T34" fmla="*/ 640 w 831"/>
                  <a:gd name="T35" fmla="*/ 792 h 793"/>
                  <a:gd name="T36" fmla="*/ 415 w 831"/>
                  <a:gd name="T37" fmla="*/ 676 h 793"/>
                  <a:gd name="T38" fmla="*/ 190 w 831"/>
                  <a:gd name="T39" fmla="*/ 793 h 793"/>
                  <a:gd name="T40" fmla="*/ 174 w 831"/>
                  <a:gd name="T41" fmla="*/ 793 h 793"/>
                  <a:gd name="T42" fmla="*/ 159 w 831"/>
                  <a:gd name="T43" fmla="*/ 787 h 793"/>
                  <a:gd name="T44" fmla="*/ 149 w 831"/>
                  <a:gd name="T45" fmla="*/ 774 h 793"/>
                  <a:gd name="T46" fmla="*/ 144 w 831"/>
                  <a:gd name="T47" fmla="*/ 759 h 793"/>
                  <a:gd name="T48" fmla="*/ 185 w 831"/>
                  <a:gd name="T49" fmla="*/ 510 h 793"/>
                  <a:gd name="T50" fmla="*/ 5 w 831"/>
                  <a:gd name="T51" fmla="*/ 331 h 793"/>
                  <a:gd name="T52" fmla="*/ 0 w 831"/>
                  <a:gd name="T53" fmla="*/ 316 h 793"/>
                  <a:gd name="T54" fmla="*/ 2 w 831"/>
                  <a:gd name="T55" fmla="*/ 300 h 793"/>
                  <a:gd name="T56" fmla="*/ 9 w 831"/>
                  <a:gd name="T57" fmla="*/ 286 h 793"/>
                  <a:gd name="T58" fmla="*/ 22 w 831"/>
                  <a:gd name="T59" fmla="*/ 277 h 793"/>
                  <a:gd name="T60" fmla="*/ 273 w 831"/>
                  <a:gd name="T61" fmla="*/ 239 h 793"/>
                  <a:gd name="T62" fmla="*/ 387 w 831"/>
                  <a:gd name="T63" fmla="*/ 12 h 793"/>
                  <a:gd name="T64" fmla="*/ 399 w 831"/>
                  <a:gd name="T65" fmla="*/ 4 h 793"/>
                  <a:gd name="T66" fmla="*/ 415 w 831"/>
                  <a:gd name="T67" fmla="*/ 0 h 793"/>
                  <a:gd name="T68" fmla="*/ 431 w 831"/>
                  <a:gd name="T69" fmla="*/ 4 h 793"/>
                  <a:gd name="T70" fmla="*/ 444 w 831"/>
                  <a:gd name="T71" fmla="*/ 12 h 793"/>
                  <a:gd name="T72" fmla="*/ 558 w 831"/>
                  <a:gd name="T73" fmla="*/ 239 h 793"/>
                  <a:gd name="T74" fmla="*/ 809 w 831"/>
                  <a:gd name="T75" fmla="*/ 277 h 793"/>
                  <a:gd name="T76" fmla="*/ 821 w 831"/>
                  <a:gd name="T77" fmla="*/ 286 h 793"/>
                  <a:gd name="T78" fmla="*/ 829 w 831"/>
                  <a:gd name="T79" fmla="*/ 300 h 793"/>
                  <a:gd name="T80" fmla="*/ 831 w 831"/>
                  <a:gd name="T81" fmla="*/ 316 h 793"/>
                  <a:gd name="T82" fmla="*/ 827 w 831"/>
                  <a:gd name="T83" fmla="*/ 331 h 793"/>
                  <a:gd name="T84" fmla="*/ 646 w 831"/>
                  <a:gd name="T85" fmla="*/ 510 h 793"/>
                  <a:gd name="T86" fmla="*/ 686 w 831"/>
                  <a:gd name="T87" fmla="*/ 759 h 793"/>
                  <a:gd name="T88" fmla="*/ 682 w 831"/>
                  <a:gd name="T89" fmla="*/ 774 h 793"/>
                  <a:gd name="T90" fmla="*/ 671 w 831"/>
                  <a:gd name="T91" fmla="*/ 787 h 793"/>
                  <a:gd name="T92" fmla="*/ 654 w 831"/>
                  <a:gd name="T93" fmla="*/ 793 h 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31" h="793">
                    <a:moveTo>
                      <a:pt x="415" y="594"/>
                    </a:moveTo>
                    <a:lnTo>
                      <a:pt x="420" y="595"/>
                    </a:lnTo>
                    <a:lnTo>
                      <a:pt x="425" y="595"/>
                    </a:lnTo>
                    <a:lnTo>
                      <a:pt x="429" y="597"/>
                    </a:lnTo>
                    <a:lnTo>
                      <a:pt x="433" y="599"/>
                    </a:lnTo>
                    <a:lnTo>
                      <a:pt x="597" y="685"/>
                    </a:lnTo>
                    <a:lnTo>
                      <a:pt x="566" y="502"/>
                    </a:lnTo>
                    <a:lnTo>
                      <a:pt x="565" y="498"/>
                    </a:lnTo>
                    <a:lnTo>
                      <a:pt x="565" y="493"/>
                    </a:lnTo>
                    <a:lnTo>
                      <a:pt x="566" y="488"/>
                    </a:lnTo>
                    <a:lnTo>
                      <a:pt x="567" y="484"/>
                    </a:lnTo>
                    <a:lnTo>
                      <a:pt x="568" y="480"/>
                    </a:lnTo>
                    <a:lnTo>
                      <a:pt x="572" y="476"/>
                    </a:lnTo>
                    <a:lnTo>
                      <a:pt x="574" y="471"/>
                    </a:lnTo>
                    <a:lnTo>
                      <a:pt x="577" y="468"/>
                    </a:lnTo>
                    <a:lnTo>
                      <a:pt x="710" y="338"/>
                    </a:lnTo>
                    <a:lnTo>
                      <a:pt x="526" y="312"/>
                    </a:lnTo>
                    <a:lnTo>
                      <a:pt x="522" y="311"/>
                    </a:lnTo>
                    <a:lnTo>
                      <a:pt x="517" y="310"/>
                    </a:lnTo>
                    <a:lnTo>
                      <a:pt x="513" y="308"/>
                    </a:lnTo>
                    <a:lnTo>
                      <a:pt x="509" y="306"/>
                    </a:lnTo>
                    <a:lnTo>
                      <a:pt x="506" y="302"/>
                    </a:lnTo>
                    <a:lnTo>
                      <a:pt x="502" y="299"/>
                    </a:lnTo>
                    <a:lnTo>
                      <a:pt x="499" y="295"/>
                    </a:lnTo>
                    <a:lnTo>
                      <a:pt x="497" y="291"/>
                    </a:lnTo>
                    <a:lnTo>
                      <a:pt x="415" y="125"/>
                    </a:lnTo>
                    <a:lnTo>
                      <a:pt x="333" y="291"/>
                    </a:lnTo>
                    <a:lnTo>
                      <a:pt x="331" y="295"/>
                    </a:lnTo>
                    <a:lnTo>
                      <a:pt x="328" y="299"/>
                    </a:lnTo>
                    <a:lnTo>
                      <a:pt x="325" y="302"/>
                    </a:lnTo>
                    <a:lnTo>
                      <a:pt x="322" y="306"/>
                    </a:lnTo>
                    <a:lnTo>
                      <a:pt x="318" y="308"/>
                    </a:lnTo>
                    <a:lnTo>
                      <a:pt x="313" y="310"/>
                    </a:lnTo>
                    <a:lnTo>
                      <a:pt x="309" y="311"/>
                    </a:lnTo>
                    <a:lnTo>
                      <a:pt x="305" y="312"/>
                    </a:lnTo>
                    <a:lnTo>
                      <a:pt x="121" y="338"/>
                    </a:lnTo>
                    <a:lnTo>
                      <a:pt x="254" y="468"/>
                    </a:lnTo>
                    <a:lnTo>
                      <a:pt x="257" y="471"/>
                    </a:lnTo>
                    <a:lnTo>
                      <a:pt x="259" y="476"/>
                    </a:lnTo>
                    <a:lnTo>
                      <a:pt x="262" y="480"/>
                    </a:lnTo>
                    <a:lnTo>
                      <a:pt x="263" y="484"/>
                    </a:lnTo>
                    <a:lnTo>
                      <a:pt x="264" y="488"/>
                    </a:lnTo>
                    <a:lnTo>
                      <a:pt x="265" y="493"/>
                    </a:lnTo>
                    <a:lnTo>
                      <a:pt x="265" y="498"/>
                    </a:lnTo>
                    <a:lnTo>
                      <a:pt x="264" y="502"/>
                    </a:lnTo>
                    <a:lnTo>
                      <a:pt x="234" y="685"/>
                    </a:lnTo>
                    <a:lnTo>
                      <a:pt x="397" y="599"/>
                    </a:lnTo>
                    <a:lnTo>
                      <a:pt x="401" y="597"/>
                    </a:lnTo>
                    <a:lnTo>
                      <a:pt x="406" y="595"/>
                    </a:lnTo>
                    <a:lnTo>
                      <a:pt x="411" y="595"/>
                    </a:lnTo>
                    <a:lnTo>
                      <a:pt x="415" y="594"/>
                    </a:lnTo>
                    <a:close/>
                    <a:moveTo>
                      <a:pt x="648" y="793"/>
                    </a:moveTo>
                    <a:lnTo>
                      <a:pt x="644" y="793"/>
                    </a:lnTo>
                    <a:lnTo>
                      <a:pt x="640" y="792"/>
                    </a:lnTo>
                    <a:lnTo>
                      <a:pt x="634" y="791"/>
                    </a:lnTo>
                    <a:lnTo>
                      <a:pt x="630" y="789"/>
                    </a:lnTo>
                    <a:lnTo>
                      <a:pt x="415" y="676"/>
                    </a:lnTo>
                    <a:lnTo>
                      <a:pt x="201" y="789"/>
                    </a:lnTo>
                    <a:lnTo>
                      <a:pt x="195" y="791"/>
                    </a:lnTo>
                    <a:lnTo>
                      <a:pt x="190" y="793"/>
                    </a:lnTo>
                    <a:lnTo>
                      <a:pt x="185" y="793"/>
                    </a:lnTo>
                    <a:lnTo>
                      <a:pt x="179" y="793"/>
                    </a:lnTo>
                    <a:lnTo>
                      <a:pt x="174" y="793"/>
                    </a:lnTo>
                    <a:lnTo>
                      <a:pt x="169" y="791"/>
                    </a:lnTo>
                    <a:lnTo>
                      <a:pt x="164" y="789"/>
                    </a:lnTo>
                    <a:lnTo>
                      <a:pt x="159" y="787"/>
                    </a:lnTo>
                    <a:lnTo>
                      <a:pt x="155" y="783"/>
                    </a:lnTo>
                    <a:lnTo>
                      <a:pt x="152" y="778"/>
                    </a:lnTo>
                    <a:lnTo>
                      <a:pt x="149" y="774"/>
                    </a:lnTo>
                    <a:lnTo>
                      <a:pt x="146" y="770"/>
                    </a:lnTo>
                    <a:lnTo>
                      <a:pt x="144" y="765"/>
                    </a:lnTo>
                    <a:lnTo>
                      <a:pt x="144" y="759"/>
                    </a:lnTo>
                    <a:lnTo>
                      <a:pt x="143" y="754"/>
                    </a:lnTo>
                    <a:lnTo>
                      <a:pt x="144" y="749"/>
                    </a:lnTo>
                    <a:lnTo>
                      <a:pt x="185" y="510"/>
                    </a:lnTo>
                    <a:lnTo>
                      <a:pt x="11" y="340"/>
                    </a:lnTo>
                    <a:lnTo>
                      <a:pt x="7" y="335"/>
                    </a:lnTo>
                    <a:lnTo>
                      <a:pt x="5" y="331"/>
                    </a:lnTo>
                    <a:lnTo>
                      <a:pt x="2" y="326"/>
                    </a:lnTo>
                    <a:lnTo>
                      <a:pt x="1" y="321"/>
                    </a:lnTo>
                    <a:lnTo>
                      <a:pt x="0" y="316"/>
                    </a:lnTo>
                    <a:lnTo>
                      <a:pt x="0" y="311"/>
                    </a:lnTo>
                    <a:lnTo>
                      <a:pt x="0" y="306"/>
                    </a:lnTo>
                    <a:lnTo>
                      <a:pt x="2" y="300"/>
                    </a:lnTo>
                    <a:lnTo>
                      <a:pt x="3" y="295"/>
                    </a:lnTo>
                    <a:lnTo>
                      <a:pt x="6" y="290"/>
                    </a:lnTo>
                    <a:lnTo>
                      <a:pt x="9" y="286"/>
                    </a:lnTo>
                    <a:lnTo>
                      <a:pt x="14" y="282"/>
                    </a:lnTo>
                    <a:lnTo>
                      <a:pt x="18" y="279"/>
                    </a:lnTo>
                    <a:lnTo>
                      <a:pt x="22" y="277"/>
                    </a:lnTo>
                    <a:lnTo>
                      <a:pt x="27" y="275"/>
                    </a:lnTo>
                    <a:lnTo>
                      <a:pt x="33" y="274"/>
                    </a:lnTo>
                    <a:lnTo>
                      <a:pt x="273" y="239"/>
                    </a:lnTo>
                    <a:lnTo>
                      <a:pt x="380" y="21"/>
                    </a:lnTo>
                    <a:lnTo>
                      <a:pt x="383" y="16"/>
                    </a:lnTo>
                    <a:lnTo>
                      <a:pt x="387" y="12"/>
                    </a:lnTo>
                    <a:lnTo>
                      <a:pt x="391" y="9"/>
                    </a:lnTo>
                    <a:lnTo>
                      <a:pt x="395" y="6"/>
                    </a:lnTo>
                    <a:lnTo>
                      <a:pt x="399" y="4"/>
                    </a:lnTo>
                    <a:lnTo>
                      <a:pt x="405" y="2"/>
                    </a:lnTo>
                    <a:lnTo>
                      <a:pt x="410" y="2"/>
                    </a:lnTo>
                    <a:lnTo>
                      <a:pt x="415" y="0"/>
                    </a:lnTo>
                    <a:lnTo>
                      <a:pt x="421" y="2"/>
                    </a:lnTo>
                    <a:lnTo>
                      <a:pt x="426" y="2"/>
                    </a:lnTo>
                    <a:lnTo>
                      <a:pt x="431" y="4"/>
                    </a:lnTo>
                    <a:lnTo>
                      <a:pt x="435" y="6"/>
                    </a:lnTo>
                    <a:lnTo>
                      <a:pt x="440" y="9"/>
                    </a:lnTo>
                    <a:lnTo>
                      <a:pt x="444" y="12"/>
                    </a:lnTo>
                    <a:lnTo>
                      <a:pt x="447" y="16"/>
                    </a:lnTo>
                    <a:lnTo>
                      <a:pt x="450" y="21"/>
                    </a:lnTo>
                    <a:lnTo>
                      <a:pt x="558" y="239"/>
                    </a:lnTo>
                    <a:lnTo>
                      <a:pt x="798" y="274"/>
                    </a:lnTo>
                    <a:lnTo>
                      <a:pt x="803" y="275"/>
                    </a:lnTo>
                    <a:lnTo>
                      <a:pt x="809" y="277"/>
                    </a:lnTo>
                    <a:lnTo>
                      <a:pt x="813" y="279"/>
                    </a:lnTo>
                    <a:lnTo>
                      <a:pt x="817" y="282"/>
                    </a:lnTo>
                    <a:lnTo>
                      <a:pt x="821" y="286"/>
                    </a:lnTo>
                    <a:lnTo>
                      <a:pt x="824" y="290"/>
                    </a:lnTo>
                    <a:lnTo>
                      <a:pt x="828" y="295"/>
                    </a:lnTo>
                    <a:lnTo>
                      <a:pt x="829" y="300"/>
                    </a:lnTo>
                    <a:lnTo>
                      <a:pt x="831" y="306"/>
                    </a:lnTo>
                    <a:lnTo>
                      <a:pt x="831" y="311"/>
                    </a:lnTo>
                    <a:lnTo>
                      <a:pt x="831" y="316"/>
                    </a:lnTo>
                    <a:lnTo>
                      <a:pt x="830" y="321"/>
                    </a:lnTo>
                    <a:lnTo>
                      <a:pt x="829" y="326"/>
                    </a:lnTo>
                    <a:lnTo>
                      <a:pt x="827" y="331"/>
                    </a:lnTo>
                    <a:lnTo>
                      <a:pt x="823" y="335"/>
                    </a:lnTo>
                    <a:lnTo>
                      <a:pt x="819" y="340"/>
                    </a:lnTo>
                    <a:lnTo>
                      <a:pt x="646" y="510"/>
                    </a:lnTo>
                    <a:lnTo>
                      <a:pt x="686" y="749"/>
                    </a:lnTo>
                    <a:lnTo>
                      <a:pt x="687" y="754"/>
                    </a:lnTo>
                    <a:lnTo>
                      <a:pt x="686" y="759"/>
                    </a:lnTo>
                    <a:lnTo>
                      <a:pt x="686" y="765"/>
                    </a:lnTo>
                    <a:lnTo>
                      <a:pt x="684" y="770"/>
                    </a:lnTo>
                    <a:lnTo>
                      <a:pt x="682" y="774"/>
                    </a:lnTo>
                    <a:lnTo>
                      <a:pt x="679" y="778"/>
                    </a:lnTo>
                    <a:lnTo>
                      <a:pt x="676" y="783"/>
                    </a:lnTo>
                    <a:lnTo>
                      <a:pt x="671" y="787"/>
                    </a:lnTo>
                    <a:lnTo>
                      <a:pt x="666" y="790"/>
                    </a:lnTo>
                    <a:lnTo>
                      <a:pt x="660" y="792"/>
                    </a:lnTo>
                    <a:lnTo>
                      <a:pt x="654" y="793"/>
                    </a:lnTo>
                    <a:lnTo>
                      <a:pt x="648" y="7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49"/>
              <p:cNvSpPr>
                <a:spLocks noEditPoints="1"/>
              </p:cNvSpPr>
              <p:nvPr/>
            </p:nvSpPr>
            <p:spPr bwMode="auto">
              <a:xfrm>
                <a:off x="4173538" y="1682750"/>
                <a:ext cx="614363" cy="777875"/>
              </a:xfrm>
              <a:custGeom>
                <a:avLst/>
                <a:gdLst>
                  <a:gd name="T0" fmla="*/ 93 w 1159"/>
                  <a:gd name="T1" fmla="*/ 1065 h 1469"/>
                  <a:gd name="T2" fmla="*/ 143 w 1159"/>
                  <a:gd name="T3" fmla="*/ 1140 h 1469"/>
                  <a:gd name="T4" fmla="*/ 194 w 1159"/>
                  <a:gd name="T5" fmla="*/ 1201 h 1469"/>
                  <a:gd name="T6" fmla="*/ 240 w 1159"/>
                  <a:gd name="T7" fmla="*/ 1248 h 1469"/>
                  <a:gd name="T8" fmla="*/ 293 w 1159"/>
                  <a:gd name="T9" fmla="*/ 1292 h 1469"/>
                  <a:gd name="T10" fmla="*/ 353 w 1159"/>
                  <a:gd name="T11" fmla="*/ 1332 h 1469"/>
                  <a:gd name="T12" fmla="*/ 421 w 1159"/>
                  <a:gd name="T13" fmla="*/ 1363 h 1469"/>
                  <a:gd name="T14" fmla="*/ 497 w 1159"/>
                  <a:gd name="T15" fmla="*/ 1384 h 1469"/>
                  <a:gd name="T16" fmla="*/ 579 w 1159"/>
                  <a:gd name="T17" fmla="*/ 1391 h 1469"/>
                  <a:gd name="T18" fmla="*/ 662 w 1159"/>
                  <a:gd name="T19" fmla="*/ 1384 h 1469"/>
                  <a:gd name="T20" fmla="*/ 736 w 1159"/>
                  <a:gd name="T21" fmla="*/ 1363 h 1469"/>
                  <a:gd name="T22" fmla="*/ 804 w 1159"/>
                  <a:gd name="T23" fmla="*/ 1332 h 1469"/>
                  <a:gd name="T24" fmla="*/ 865 w 1159"/>
                  <a:gd name="T25" fmla="*/ 1292 h 1469"/>
                  <a:gd name="T26" fmla="*/ 919 w 1159"/>
                  <a:gd name="T27" fmla="*/ 1248 h 1469"/>
                  <a:gd name="T28" fmla="*/ 964 w 1159"/>
                  <a:gd name="T29" fmla="*/ 1201 h 1469"/>
                  <a:gd name="T30" fmla="*/ 1014 w 1159"/>
                  <a:gd name="T31" fmla="*/ 1140 h 1469"/>
                  <a:gd name="T32" fmla="*/ 1064 w 1159"/>
                  <a:gd name="T33" fmla="*/ 1065 h 1469"/>
                  <a:gd name="T34" fmla="*/ 1081 w 1159"/>
                  <a:gd name="T35" fmla="*/ 78 h 1469"/>
                  <a:gd name="T36" fmla="*/ 579 w 1159"/>
                  <a:gd name="T37" fmla="*/ 1469 h 1469"/>
                  <a:gd name="T38" fmla="*/ 477 w 1159"/>
                  <a:gd name="T39" fmla="*/ 1459 h 1469"/>
                  <a:gd name="T40" fmla="*/ 385 w 1159"/>
                  <a:gd name="T41" fmla="*/ 1433 h 1469"/>
                  <a:gd name="T42" fmla="*/ 303 w 1159"/>
                  <a:gd name="T43" fmla="*/ 1392 h 1469"/>
                  <a:gd name="T44" fmla="*/ 231 w 1159"/>
                  <a:gd name="T45" fmla="*/ 1343 h 1469"/>
                  <a:gd name="T46" fmla="*/ 170 w 1159"/>
                  <a:gd name="T47" fmla="*/ 1289 h 1469"/>
                  <a:gd name="T48" fmla="*/ 117 w 1159"/>
                  <a:gd name="T49" fmla="*/ 1233 h 1469"/>
                  <a:gd name="T50" fmla="*/ 63 w 1159"/>
                  <a:gd name="T51" fmla="*/ 1162 h 1469"/>
                  <a:gd name="T52" fmla="*/ 3 w 1159"/>
                  <a:gd name="T53" fmla="*/ 1060 h 1469"/>
                  <a:gd name="T54" fmla="*/ 0 w 1159"/>
                  <a:gd name="T55" fmla="*/ 38 h 1469"/>
                  <a:gd name="T56" fmla="*/ 6 w 1159"/>
                  <a:gd name="T57" fmla="*/ 17 h 1469"/>
                  <a:gd name="T58" fmla="*/ 23 w 1159"/>
                  <a:gd name="T59" fmla="*/ 3 h 1469"/>
                  <a:gd name="T60" fmla="*/ 1120 w 1159"/>
                  <a:gd name="T61" fmla="*/ 0 h 1469"/>
                  <a:gd name="T62" fmla="*/ 1142 w 1159"/>
                  <a:gd name="T63" fmla="*/ 6 h 1469"/>
                  <a:gd name="T64" fmla="*/ 1156 w 1159"/>
                  <a:gd name="T65" fmla="*/ 23 h 1469"/>
                  <a:gd name="T66" fmla="*/ 1159 w 1159"/>
                  <a:gd name="T67" fmla="*/ 1044 h 1469"/>
                  <a:gd name="T68" fmla="*/ 1144 w 1159"/>
                  <a:gd name="T69" fmla="*/ 1082 h 1469"/>
                  <a:gd name="T70" fmla="*/ 1070 w 1159"/>
                  <a:gd name="T71" fmla="*/ 1197 h 1469"/>
                  <a:gd name="T72" fmla="*/ 1024 w 1159"/>
                  <a:gd name="T73" fmla="*/ 1252 h 1469"/>
                  <a:gd name="T74" fmla="*/ 969 w 1159"/>
                  <a:gd name="T75" fmla="*/ 1307 h 1469"/>
                  <a:gd name="T76" fmla="*/ 904 w 1159"/>
                  <a:gd name="T77" fmla="*/ 1360 h 1469"/>
                  <a:gd name="T78" fmla="*/ 828 w 1159"/>
                  <a:gd name="T79" fmla="*/ 1407 h 1469"/>
                  <a:gd name="T80" fmla="*/ 743 w 1159"/>
                  <a:gd name="T81" fmla="*/ 1443 h 1469"/>
                  <a:gd name="T82" fmla="*/ 648 w 1159"/>
                  <a:gd name="T83" fmla="*/ 1465 h 1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59" h="1469">
                    <a:moveTo>
                      <a:pt x="77" y="1034"/>
                    </a:moveTo>
                    <a:lnTo>
                      <a:pt x="83" y="1047"/>
                    </a:lnTo>
                    <a:lnTo>
                      <a:pt x="93" y="1065"/>
                    </a:lnTo>
                    <a:lnTo>
                      <a:pt x="107" y="1086"/>
                    </a:lnTo>
                    <a:lnTo>
                      <a:pt x="124" y="1112"/>
                    </a:lnTo>
                    <a:lnTo>
                      <a:pt x="143" y="1140"/>
                    </a:lnTo>
                    <a:lnTo>
                      <a:pt x="166" y="1170"/>
                    </a:lnTo>
                    <a:lnTo>
                      <a:pt x="180" y="1185"/>
                    </a:lnTo>
                    <a:lnTo>
                      <a:pt x="194" y="1201"/>
                    </a:lnTo>
                    <a:lnTo>
                      <a:pt x="208" y="1217"/>
                    </a:lnTo>
                    <a:lnTo>
                      <a:pt x="224" y="1232"/>
                    </a:lnTo>
                    <a:lnTo>
                      <a:pt x="240" y="1248"/>
                    </a:lnTo>
                    <a:lnTo>
                      <a:pt x="257" y="1263"/>
                    </a:lnTo>
                    <a:lnTo>
                      <a:pt x="275" y="1277"/>
                    </a:lnTo>
                    <a:lnTo>
                      <a:pt x="293" y="1292"/>
                    </a:lnTo>
                    <a:lnTo>
                      <a:pt x="312" y="1306"/>
                    </a:lnTo>
                    <a:lnTo>
                      <a:pt x="333" y="1319"/>
                    </a:lnTo>
                    <a:lnTo>
                      <a:pt x="353" y="1332"/>
                    </a:lnTo>
                    <a:lnTo>
                      <a:pt x="376" y="1342"/>
                    </a:lnTo>
                    <a:lnTo>
                      <a:pt x="398" y="1353"/>
                    </a:lnTo>
                    <a:lnTo>
                      <a:pt x="421" y="1363"/>
                    </a:lnTo>
                    <a:lnTo>
                      <a:pt x="446" y="1371"/>
                    </a:lnTo>
                    <a:lnTo>
                      <a:pt x="471" y="1378"/>
                    </a:lnTo>
                    <a:lnTo>
                      <a:pt x="497" y="1384"/>
                    </a:lnTo>
                    <a:lnTo>
                      <a:pt x="523" y="1388"/>
                    </a:lnTo>
                    <a:lnTo>
                      <a:pt x="551" y="1390"/>
                    </a:lnTo>
                    <a:lnTo>
                      <a:pt x="579" y="1391"/>
                    </a:lnTo>
                    <a:lnTo>
                      <a:pt x="607" y="1390"/>
                    </a:lnTo>
                    <a:lnTo>
                      <a:pt x="635" y="1388"/>
                    </a:lnTo>
                    <a:lnTo>
                      <a:pt x="662" y="1384"/>
                    </a:lnTo>
                    <a:lnTo>
                      <a:pt x="687" y="1378"/>
                    </a:lnTo>
                    <a:lnTo>
                      <a:pt x="713" y="1371"/>
                    </a:lnTo>
                    <a:lnTo>
                      <a:pt x="736" y="1363"/>
                    </a:lnTo>
                    <a:lnTo>
                      <a:pt x="759" y="1353"/>
                    </a:lnTo>
                    <a:lnTo>
                      <a:pt x="783" y="1342"/>
                    </a:lnTo>
                    <a:lnTo>
                      <a:pt x="804" y="1332"/>
                    </a:lnTo>
                    <a:lnTo>
                      <a:pt x="825" y="1319"/>
                    </a:lnTo>
                    <a:lnTo>
                      <a:pt x="845" y="1306"/>
                    </a:lnTo>
                    <a:lnTo>
                      <a:pt x="865" y="1292"/>
                    </a:lnTo>
                    <a:lnTo>
                      <a:pt x="884" y="1277"/>
                    </a:lnTo>
                    <a:lnTo>
                      <a:pt x="902" y="1263"/>
                    </a:lnTo>
                    <a:lnTo>
                      <a:pt x="919" y="1248"/>
                    </a:lnTo>
                    <a:lnTo>
                      <a:pt x="935" y="1232"/>
                    </a:lnTo>
                    <a:lnTo>
                      <a:pt x="950" y="1217"/>
                    </a:lnTo>
                    <a:lnTo>
                      <a:pt x="964" y="1201"/>
                    </a:lnTo>
                    <a:lnTo>
                      <a:pt x="978" y="1185"/>
                    </a:lnTo>
                    <a:lnTo>
                      <a:pt x="991" y="1170"/>
                    </a:lnTo>
                    <a:lnTo>
                      <a:pt x="1014" y="1140"/>
                    </a:lnTo>
                    <a:lnTo>
                      <a:pt x="1035" y="1112"/>
                    </a:lnTo>
                    <a:lnTo>
                      <a:pt x="1052" y="1086"/>
                    </a:lnTo>
                    <a:lnTo>
                      <a:pt x="1064" y="1065"/>
                    </a:lnTo>
                    <a:lnTo>
                      <a:pt x="1075" y="1047"/>
                    </a:lnTo>
                    <a:lnTo>
                      <a:pt x="1081" y="1034"/>
                    </a:lnTo>
                    <a:lnTo>
                      <a:pt x="1081" y="78"/>
                    </a:lnTo>
                    <a:lnTo>
                      <a:pt x="77" y="78"/>
                    </a:lnTo>
                    <a:lnTo>
                      <a:pt x="77" y="1034"/>
                    </a:lnTo>
                    <a:close/>
                    <a:moveTo>
                      <a:pt x="579" y="1469"/>
                    </a:moveTo>
                    <a:lnTo>
                      <a:pt x="544" y="1468"/>
                    </a:lnTo>
                    <a:lnTo>
                      <a:pt x="510" y="1465"/>
                    </a:lnTo>
                    <a:lnTo>
                      <a:pt x="477" y="1459"/>
                    </a:lnTo>
                    <a:lnTo>
                      <a:pt x="445" y="1452"/>
                    </a:lnTo>
                    <a:lnTo>
                      <a:pt x="415" y="1443"/>
                    </a:lnTo>
                    <a:lnTo>
                      <a:pt x="385" y="1433"/>
                    </a:lnTo>
                    <a:lnTo>
                      <a:pt x="357" y="1420"/>
                    </a:lnTo>
                    <a:lnTo>
                      <a:pt x="329" y="1407"/>
                    </a:lnTo>
                    <a:lnTo>
                      <a:pt x="303" y="1392"/>
                    </a:lnTo>
                    <a:lnTo>
                      <a:pt x="278" y="1377"/>
                    </a:lnTo>
                    <a:lnTo>
                      <a:pt x="255" y="1360"/>
                    </a:lnTo>
                    <a:lnTo>
                      <a:pt x="231" y="1343"/>
                    </a:lnTo>
                    <a:lnTo>
                      <a:pt x="210" y="1326"/>
                    </a:lnTo>
                    <a:lnTo>
                      <a:pt x="189" y="1307"/>
                    </a:lnTo>
                    <a:lnTo>
                      <a:pt x="170" y="1289"/>
                    </a:lnTo>
                    <a:lnTo>
                      <a:pt x="151" y="1270"/>
                    </a:lnTo>
                    <a:lnTo>
                      <a:pt x="133" y="1252"/>
                    </a:lnTo>
                    <a:lnTo>
                      <a:pt x="117" y="1233"/>
                    </a:lnTo>
                    <a:lnTo>
                      <a:pt x="103" y="1215"/>
                    </a:lnTo>
                    <a:lnTo>
                      <a:pt x="88" y="1197"/>
                    </a:lnTo>
                    <a:lnTo>
                      <a:pt x="63" y="1162"/>
                    </a:lnTo>
                    <a:lnTo>
                      <a:pt x="43" y="1131"/>
                    </a:lnTo>
                    <a:lnTo>
                      <a:pt x="14" y="1082"/>
                    </a:lnTo>
                    <a:lnTo>
                      <a:pt x="3" y="1060"/>
                    </a:lnTo>
                    <a:lnTo>
                      <a:pt x="1" y="1052"/>
                    </a:lnTo>
                    <a:lnTo>
                      <a:pt x="0" y="1044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3"/>
                    </a:lnTo>
                    <a:lnTo>
                      <a:pt x="6" y="17"/>
                    </a:lnTo>
                    <a:lnTo>
                      <a:pt x="10" y="12"/>
                    </a:lnTo>
                    <a:lnTo>
                      <a:pt x="17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1120" y="0"/>
                    </a:lnTo>
                    <a:lnTo>
                      <a:pt x="1128" y="1"/>
                    </a:lnTo>
                    <a:lnTo>
                      <a:pt x="1136" y="3"/>
                    </a:lnTo>
                    <a:lnTo>
                      <a:pt x="1142" y="6"/>
                    </a:lnTo>
                    <a:lnTo>
                      <a:pt x="1147" y="12"/>
                    </a:lnTo>
                    <a:lnTo>
                      <a:pt x="1153" y="17"/>
                    </a:lnTo>
                    <a:lnTo>
                      <a:pt x="1156" y="23"/>
                    </a:lnTo>
                    <a:lnTo>
                      <a:pt x="1158" y="31"/>
                    </a:lnTo>
                    <a:lnTo>
                      <a:pt x="1159" y="38"/>
                    </a:lnTo>
                    <a:lnTo>
                      <a:pt x="1159" y="1044"/>
                    </a:lnTo>
                    <a:lnTo>
                      <a:pt x="1158" y="1052"/>
                    </a:lnTo>
                    <a:lnTo>
                      <a:pt x="1155" y="1060"/>
                    </a:lnTo>
                    <a:lnTo>
                      <a:pt x="1144" y="1082"/>
                    </a:lnTo>
                    <a:lnTo>
                      <a:pt x="1115" y="1131"/>
                    </a:lnTo>
                    <a:lnTo>
                      <a:pt x="1095" y="1162"/>
                    </a:lnTo>
                    <a:lnTo>
                      <a:pt x="1070" y="1197"/>
                    </a:lnTo>
                    <a:lnTo>
                      <a:pt x="1056" y="1215"/>
                    </a:lnTo>
                    <a:lnTo>
                      <a:pt x="1041" y="1233"/>
                    </a:lnTo>
                    <a:lnTo>
                      <a:pt x="1024" y="1252"/>
                    </a:lnTo>
                    <a:lnTo>
                      <a:pt x="1007" y="1270"/>
                    </a:lnTo>
                    <a:lnTo>
                      <a:pt x="989" y="1289"/>
                    </a:lnTo>
                    <a:lnTo>
                      <a:pt x="969" y="1307"/>
                    </a:lnTo>
                    <a:lnTo>
                      <a:pt x="949" y="1326"/>
                    </a:lnTo>
                    <a:lnTo>
                      <a:pt x="926" y="1343"/>
                    </a:lnTo>
                    <a:lnTo>
                      <a:pt x="904" y="1360"/>
                    </a:lnTo>
                    <a:lnTo>
                      <a:pt x="879" y="1377"/>
                    </a:lnTo>
                    <a:lnTo>
                      <a:pt x="855" y="1392"/>
                    </a:lnTo>
                    <a:lnTo>
                      <a:pt x="828" y="1407"/>
                    </a:lnTo>
                    <a:lnTo>
                      <a:pt x="801" y="1420"/>
                    </a:lnTo>
                    <a:lnTo>
                      <a:pt x="773" y="1433"/>
                    </a:lnTo>
                    <a:lnTo>
                      <a:pt x="743" y="1443"/>
                    </a:lnTo>
                    <a:lnTo>
                      <a:pt x="713" y="1452"/>
                    </a:lnTo>
                    <a:lnTo>
                      <a:pt x="681" y="1459"/>
                    </a:lnTo>
                    <a:lnTo>
                      <a:pt x="648" y="1465"/>
                    </a:lnTo>
                    <a:lnTo>
                      <a:pt x="614" y="1468"/>
                    </a:lnTo>
                    <a:lnTo>
                      <a:pt x="579" y="14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0"/>
              <p:cNvSpPr>
                <a:spLocks/>
              </p:cNvSpPr>
              <p:nvPr/>
            </p:nvSpPr>
            <p:spPr bwMode="auto">
              <a:xfrm>
                <a:off x="4010025" y="1763713"/>
                <a:ext cx="204788" cy="368300"/>
              </a:xfrm>
              <a:custGeom>
                <a:avLst/>
                <a:gdLst>
                  <a:gd name="T0" fmla="*/ 344 w 387"/>
                  <a:gd name="T1" fmla="*/ 696 h 696"/>
                  <a:gd name="T2" fmla="*/ 333 w 387"/>
                  <a:gd name="T3" fmla="*/ 693 h 696"/>
                  <a:gd name="T4" fmla="*/ 302 w 387"/>
                  <a:gd name="T5" fmla="*/ 681 h 696"/>
                  <a:gd name="T6" fmla="*/ 267 w 387"/>
                  <a:gd name="T7" fmla="*/ 663 h 696"/>
                  <a:gd name="T8" fmla="*/ 240 w 387"/>
                  <a:gd name="T9" fmla="*/ 645 h 696"/>
                  <a:gd name="T10" fmla="*/ 211 w 387"/>
                  <a:gd name="T11" fmla="*/ 623 h 696"/>
                  <a:gd name="T12" fmla="*/ 180 w 387"/>
                  <a:gd name="T13" fmla="*/ 594 h 696"/>
                  <a:gd name="T14" fmla="*/ 149 w 387"/>
                  <a:gd name="T15" fmla="*/ 559 h 696"/>
                  <a:gd name="T16" fmla="*/ 118 w 387"/>
                  <a:gd name="T17" fmla="*/ 518 h 696"/>
                  <a:gd name="T18" fmla="*/ 90 w 387"/>
                  <a:gd name="T19" fmla="*/ 469 h 696"/>
                  <a:gd name="T20" fmla="*/ 63 w 387"/>
                  <a:gd name="T21" fmla="*/ 411 h 696"/>
                  <a:gd name="T22" fmla="*/ 40 w 387"/>
                  <a:gd name="T23" fmla="*/ 346 h 696"/>
                  <a:gd name="T24" fmla="*/ 22 w 387"/>
                  <a:gd name="T25" fmla="*/ 270 h 696"/>
                  <a:gd name="T26" fmla="*/ 8 w 387"/>
                  <a:gd name="T27" fmla="*/ 186 h 696"/>
                  <a:gd name="T28" fmla="*/ 1 w 387"/>
                  <a:gd name="T29" fmla="*/ 90 h 696"/>
                  <a:gd name="T30" fmla="*/ 1 w 387"/>
                  <a:gd name="T31" fmla="*/ 31 h 696"/>
                  <a:gd name="T32" fmla="*/ 7 w 387"/>
                  <a:gd name="T33" fmla="*/ 17 h 696"/>
                  <a:gd name="T34" fmla="*/ 17 w 387"/>
                  <a:gd name="T35" fmla="*/ 8 h 696"/>
                  <a:gd name="T36" fmla="*/ 31 w 387"/>
                  <a:gd name="T37" fmla="*/ 1 h 696"/>
                  <a:gd name="T38" fmla="*/ 348 w 387"/>
                  <a:gd name="T39" fmla="*/ 0 h 696"/>
                  <a:gd name="T40" fmla="*/ 363 w 387"/>
                  <a:gd name="T41" fmla="*/ 3 h 696"/>
                  <a:gd name="T42" fmla="*/ 375 w 387"/>
                  <a:gd name="T43" fmla="*/ 12 h 696"/>
                  <a:gd name="T44" fmla="*/ 384 w 387"/>
                  <a:gd name="T45" fmla="*/ 25 h 696"/>
                  <a:gd name="T46" fmla="*/ 387 w 387"/>
                  <a:gd name="T47" fmla="*/ 39 h 696"/>
                  <a:gd name="T48" fmla="*/ 384 w 387"/>
                  <a:gd name="T49" fmla="*/ 54 h 696"/>
                  <a:gd name="T50" fmla="*/ 375 w 387"/>
                  <a:gd name="T51" fmla="*/ 67 h 696"/>
                  <a:gd name="T52" fmla="*/ 363 w 387"/>
                  <a:gd name="T53" fmla="*/ 75 h 696"/>
                  <a:gd name="T54" fmla="*/ 348 w 387"/>
                  <a:gd name="T55" fmla="*/ 78 h 696"/>
                  <a:gd name="T56" fmla="*/ 80 w 387"/>
                  <a:gd name="T57" fmla="*/ 121 h 696"/>
                  <a:gd name="T58" fmla="*/ 88 w 387"/>
                  <a:gd name="T59" fmla="*/ 200 h 696"/>
                  <a:gd name="T60" fmla="*/ 101 w 387"/>
                  <a:gd name="T61" fmla="*/ 270 h 696"/>
                  <a:gd name="T62" fmla="*/ 117 w 387"/>
                  <a:gd name="T63" fmla="*/ 333 h 696"/>
                  <a:gd name="T64" fmla="*/ 137 w 387"/>
                  <a:gd name="T65" fmla="*/ 387 h 696"/>
                  <a:gd name="T66" fmla="*/ 160 w 387"/>
                  <a:gd name="T67" fmla="*/ 435 h 696"/>
                  <a:gd name="T68" fmla="*/ 184 w 387"/>
                  <a:gd name="T69" fmla="*/ 475 h 696"/>
                  <a:gd name="T70" fmla="*/ 209 w 387"/>
                  <a:gd name="T71" fmla="*/ 510 h 696"/>
                  <a:gd name="T72" fmla="*/ 234 w 387"/>
                  <a:gd name="T73" fmla="*/ 539 h 696"/>
                  <a:gd name="T74" fmla="*/ 260 w 387"/>
                  <a:gd name="T75" fmla="*/ 562 h 696"/>
                  <a:gd name="T76" fmla="*/ 294 w 387"/>
                  <a:gd name="T77" fmla="*/ 589 h 696"/>
                  <a:gd name="T78" fmla="*/ 332 w 387"/>
                  <a:gd name="T79" fmla="*/ 610 h 696"/>
                  <a:gd name="T80" fmla="*/ 354 w 387"/>
                  <a:gd name="T81" fmla="*/ 619 h 696"/>
                  <a:gd name="T82" fmla="*/ 365 w 387"/>
                  <a:gd name="T83" fmla="*/ 623 h 696"/>
                  <a:gd name="T84" fmla="*/ 376 w 387"/>
                  <a:gd name="T85" fmla="*/ 631 h 696"/>
                  <a:gd name="T86" fmla="*/ 384 w 387"/>
                  <a:gd name="T87" fmla="*/ 644 h 696"/>
                  <a:gd name="T88" fmla="*/ 387 w 387"/>
                  <a:gd name="T89" fmla="*/ 659 h 696"/>
                  <a:gd name="T90" fmla="*/ 383 w 387"/>
                  <a:gd name="T91" fmla="*/ 673 h 696"/>
                  <a:gd name="T92" fmla="*/ 376 w 387"/>
                  <a:gd name="T93" fmla="*/ 683 h 696"/>
                  <a:gd name="T94" fmla="*/ 366 w 387"/>
                  <a:gd name="T95" fmla="*/ 692 h 696"/>
                  <a:gd name="T96" fmla="*/ 354 w 387"/>
                  <a:gd name="T97" fmla="*/ 695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87" h="696">
                    <a:moveTo>
                      <a:pt x="348" y="696"/>
                    </a:moveTo>
                    <a:lnTo>
                      <a:pt x="344" y="696"/>
                    </a:lnTo>
                    <a:lnTo>
                      <a:pt x="338" y="695"/>
                    </a:lnTo>
                    <a:lnTo>
                      <a:pt x="333" y="693"/>
                    </a:lnTo>
                    <a:lnTo>
                      <a:pt x="320" y="689"/>
                    </a:lnTo>
                    <a:lnTo>
                      <a:pt x="302" y="681"/>
                    </a:lnTo>
                    <a:lnTo>
                      <a:pt x="280" y="671"/>
                    </a:lnTo>
                    <a:lnTo>
                      <a:pt x="267" y="663"/>
                    </a:lnTo>
                    <a:lnTo>
                      <a:pt x="254" y="655"/>
                    </a:lnTo>
                    <a:lnTo>
                      <a:pt x="240" y="645"/>
                    </a:lnTo>
                    <a:lnTo>
                      <a:pt x="226" y="635"/>
                    </a:lnTo>
                    <a:lnTo>
                      <a:pt x="211" y="623"/>
                    </a:lnTo>
                    <a:lnTo>
                      <a:pt x="195" y="609"/>
                    </a:lnTo>
                    <a:lnTo>
                      <a:pt x="180" y="594"/>
                    </a:lnTo>
                    <a:lnTo>
                      <a:pt x="164" y="577"/>
                    </a:lnTo>
                    <a:lnTo>
                      <a:pt x="149" y="559"/>
                    </a:lnTo>
                    <a:lnTo>
                      <a:pt x="133" y="539"/>
                    </a:lnTo>
                    <a:lnTo>
                      <a:pt x="118" y="518"/>
                    </a:lnTo>
                    <a:lnTo>
                      <a:pt x="103" y="494"/>
                    </a:lnTo>
                    <a:lnTo>
                      <a:pt x="90" y="469"/>
                    </a:lnTo>
                    <a:lnTo>
                      <a:pt x="76" y="441"/>
                    </a:lnTo>
                    <a:lnTo>
                      <a:pt x="63" y="411"/>
                    </a:lnTo>
                    <a:lnTo>
                      <a:pt x="51" y="380"/>
                    </a:lnTo>
                    <a:lnTo>
                      <a:pt x="40" y="346"/>
                    </a:lnTo>
                    <a:lnTo>
                      <a:pt x="30" y="309"/>
                    </a:lnTo>
                    <a:lnTo>
                      <a:pt x="22" y="270"/>
                    </a:lnTo>
                    <a:lnTo>
                      <a:pt x="14" y="230"/>
                    </a:lnTo>
                    <a:lnTo>
                      <a:pt x="8" y="186"/>
                    </a:lnTo>
                    <a:lnTo>
                      <a:pt x="3" y="139"/>
                    </a:lnTo>
                    <a:lnTo>
                      <a:pt x="1" y="90"/>
                    </a:lnTo>
                    <a:lnTo>
                      <a:pt x="0" y="39"/>
                    </a:lnTo>
                    <a:lnTo>
                      <a:pt x="1" y="31"/>
                    </a:lnTo>
                    <a:lnTo>
                      <a:pt x="3" y="25"/>
                    </a:lnTo>
                    <a:lnTo>
                      <a:pt x="7" y="17"/>
                    </a:lnTo>
                    <a:lnTo>
                      <a:pt x="12" y="12"/>
                    </a:lnTo>
                    <a:lnTo>
                      <a:pt x="17" y="8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lnTo>
                      <a:pt x="348" y="0"/>
                    </a:lnTo>
                    <a:lnTo>
                      <a:pt x="356" y="1"/>
                    </a:lnTo>
                    <a:lnTo>
                      <a:pt x="363" y="3"/>
                    </a:lnTo>
                    <a:lnTo>
                      <a:pt x="370" y="8"/>
                    </a:lnTo>
                    <a:lnTo>
                      <a:pt x="375" y="12"/>
                    </a:lnTo>
                    <a:lnTo>
                      <a:pt x="380" y="17"/>
                    </a:lnTo>
                    <a:lnTo>
                      <a:pt x="384" y="25"/>
                    </a:lnTo>
                    <a:lnTo>
                      <a:pt x="386" y="31"/>
                    </a:lnTo>
                    <a:lnTo>
                      <a:pt x="387" y="39"/>
                    </a:lnTo>
                    <a:lnTo>
                      <a:pt x="386" y="47"/>
                    </a:lnTo>
                    <a:lnTo>
                      <a:pt x="384" y="54"/>
                    </a:lnTo>
                    <a:lnTo>
                      <a:pt x="380" y="61"/>
                    </a:lnTo>
                    <a:lnTo>
                      <a:pt x="375" y="67"/>
                    </a:lnTo>
                    <a:lnTo>
                      <a:pt x="370" y="71"/>
                    </a:lnTo>
                    <a:lnTo>
                      <a:pt x="363" y="75"/>
                    </a:lnTo>
                    <a:lnTo>
                      <a:pt x="356" y="77"/>
                    </a:lnTo>
                    <a:lnTo>
                      <a:pt x="348" y="78"/>
                    </a:lnTo>
                    <a:lnTo>
                      <a:pt x="78" y="78"/>
                    </a:lnTo>
                    <a:lnTo>
                      <a:pt x="80" y="121"/>
                    </a:lnTo>
                    <a:lnTo>
                      <a:pt x="83" y="162"/>
                    </a:lnTo>
                    <a:lnTo>
                      <a:pt x="88" y="200"/>
                    </a:lnTo>
                    <a:lnTo>
                      <a:pt x="94" y="236"/>
                    </a:lnTo>
                    <a:lnTo>
                      <a:pt x="101" y="270"/>
                    </a:lnTo>
                    <a:lnTo>
                      <a:pt x="109" y="303"/>
                    </a:lnTo>
                    <a:lnTo>
                      <a:pt x="117" y="333"/>
                    </a:lnTo>
                    <a:lnTo>
                      <a:pt x="127" y="360"/>
                    </a:lnTo>
                    <a:lnTo>
                      <a:pt x="137" y="387"/>
                    </a:lnTo>
                    <a:lnTo>
                      <a:pt x="148" y="411"/>
                    </a:lnTo>
                    <a:lnTo>
                      <a:pt x="160" y="435"/>
                    </a:lnTo>
                    <a:lnTo>
                      <a:pt x="171" y="456"/>
                    </a:lnTo>
                    <a:lnTo>
                      <a:pt x="184" y="475"/>
                    </a:lnTo>
                    <a:lnTo>
                      <a:pt x="197" y="493"/>
                    </a:lnTo>
                    <a:lnTo>
                      <a:pt x="209" y="510"/>
                    </a:lnTo>
                    <a:lnTo>
                      <a:pt x="221" y="525"/>
                    </a:lnTo>
                    <a:lnTo>
                      <a:pt x="234" y="539"/>
                    </a:lnTo>
                    <a:lnTo>
                      <a:pt x="247" y="552"/>
                    </a:lnTo>
                    <a:lnTo>
                      <a:pt x="260" y="562"/>
                    </a:lnTo>
                    <a:lnTo>
                      <a:pt x="271" y="572"/>
                    </a:lnTo>
                    <a:lnTo>
                      <a:pt x="294" y="589"/>
                    </a:lnTo>
                    <a:lnTo>
                      <a:pt x="315" y="602"/>
                    </a:lnTo>
                    <a:lnTo>
                      <a:pt x="332" y="610"/>
                    </a:lnTo>
                    <a:lnTo>
                      <a:pt x="345" y="615"/>
                    </a:lnTo>
                    <a:lnTo>
                      <a:pt x="354" y="619"/>
                    </a:lnTo>
                    <a:lnTo>
                      <a:pt x="357" y="620"/>
                    </a:lnTo>
                    <a:lnTo>
                      <a:pt x="365" y="623"/>
                    </a:lnTo>
                    <a:lnTo>
                      <a:pt x="371" y="627"/>
                    </a:lnTo>
                    <a:lnTo>
                      <a:pt x="376" y="631"/>
                    </a:lnTo>
                    <a:lnTo>
                      <a:pt x="381" y="638"/>
                    </a:lnTo>
                    <a:lnTo>
                      <a:pt x="384" y="644"/>
                    </a:lnTo>
                    <a:lnTo>
                      <a:pt x="386" y="652"/>
                    </a:lnTo>
                    <a:lnTo>
                      <a:pt x="387" y="659"/>
                    </a:lnTo>
                    <a:lnTo>
                      <a:pt x="385" y="666"/>
                    </a:lnTo>
                    <a:lnTo>
                      <a:pt x="383" y="673"/>
                    </a:lnTo>
                    <a:lnTo>
                      <a:pt x="380" y="679"/>
                    </a:lnTo>
                    <a:lnTo>
                      <a:pt x="376" y="683"/>
                    </a:lnTo>
                    <a:lnTo>
                      <a:pt x="371" y="688"/>
                    </a:lnTo>
                    <a:lnTo>
                      <a:pt x="366" y="692"/>
                    </a:lnTo>
                    <a:lnTo>
                      <a:pt x="361" y="694"/>
                    </a:lnTo>
                    <a:lnTo>
                      <a:pt x="354" y="695"/>
                    </a:lnTo>
                    <a:lnTo>
                      <a:pt x="348" y="6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1"/>
              <p:cNvSpPr>
                <a:spLocks/>
              </p:cNvSpPr>
              <p:nvPr/>
            </p:nvSpPr>
            <p:spPr bwMode="auto">
              <a:xfrm>
                <a:off x="4746625" y="1763713"/>
                <a:ext cx="204788" cy="368300"/>
              </a:xfrm>
              <a:custGeom>
                <a:avLst/>
                <a:gdLst>
                  <a:gd name="T0" fmla="*/ 32 w 387"/>
                  <a:gd name="T1" fmla="*/ 695 h 696"/>
                  <a:gd name="T2" fmla="*/ 21 w 387"/>
                  <a:gd name="T3" fmla="*/ 692 h 696"/>
                  <a:gd name="T4" fmla="*/ 11 w 387"/>
                  <a:gd name="T5" fmla="*/ 683 h 696"/>
                  <a:gd name="T6" fmla="*/ 4 w 387"/>
                  <a:gd name="T7" fmla="*/ 673 h 696"/>
                  <a:gd name="T8" fmla="*/ 0 w 387"/>
                  <a:gd name="T9" fmla="*/ 659 h 696"/>
                  <a:gd name="T10" fmla="*/ 3 w 387"/>
                  <a:gd name="T11" fmla="*/ 644 h 696"/>
                  <a:gd name="T12" fmla="*/ 10 w 387"/>
                  <a:gd name="T13" fmla="*/ 631 h 696"/>
                  <a:gd name="T14" fmla="*/ 22 w 387"/>
                  <a:gd name="T15" fmla="*/ 623 h 696"/>
                  <a:gd name="T16" fmla="*/ 34 w 387"/>
                  <a:gd name="T17" fmla="*/ 619 h 696"/>
                  <a:gd name="T18" fmla="*/ 58 w 387"/>
                  <a:gd name="T19" fmla="*/ 609 h 696"/>
                  <a:gd name="T20" fmla="*/ 97 w 387"/>
                  <a:gd name="T21" fmla="*/ 587 h 696"/>
                  <a:gd name="T22" fmla="*/ 131 w 387"/>
                  <a:gd name="T23" fmla="*/ 560 h 696"/>
                  <a:gd name="T24" fmla="*/ 156 w 387"/>
                  <a:gd name="T25" fmla="*/ 537 h 696"/>
                  <a:gd name="T26" fmla="*/ 181 w 387"/>
                  <a:gd name="T27" fmla="*/ 507 h 696"/>
                  <a:gd name="T28" fmla="*/ 206 w 387"/>
                  <a:gd name="T29" fmla="*/ 473 h 696"/>
                  <a:gd name="T30" fmla="*/ 229 w 387"/>
                  <a:gd name="T31" fmla="*/ 433 h 696"/>
                  <a:gd name="T32" fmla="*/ 251 w 387"/>
                  <a:gd name="T33" fmla="*/ 385 h 696"/>
                  <a:gd name="T34" fmla="*/ 270 w 387"/>
                  <a:gd name="T35" fmla="*/ 331 h 696"/>
                  <a:gd name="T36" fmla="*/ 287 w 387"/>
                  <a:gd name="T37" fmla="*/ 269 h 696"/>
                  <a:gd name="T38" fmla="*/ 299 w 387"/>
                  <a:gd name="T39" fmla="*/ 199 h 696"/>
                  <a:gd name="T40" fmla="*/ 308 w 387"/>
                  <a:gd name="T41" fmla="*/ 120 h 696"/>
                  <a:gd name="T42" fmla="*/ 39 w 387"/>
                  <a:gd name="T43" fmla="*/ 78 h 696"/>
                  <a:gd name="T44" fmla="*/ 24 w 387"/>
                  <a:gd name="T45" fmla="*/ 75 h 696"/>
                  <a:gd name="T46" fmla="*/ 12 w 387"/>
                  <a:gd name="T47" fmla="*/ 67 h 696"/>
                  <a:gd name="T48" fmla="*/ 4 w 387"/>
                  <a:gd name="T49" fmla="*/ 54 h 696"/>
                  <a:gd name="T50" fmla="*/ 0 w 387"/>
                  <a:gd name="T51" fmla="*/ 39 h 696"/>
                  <a:gd name="T52" fmla="*/ 4 w 387"/>
                  <a:gd name="T53" fmla="*/ 25 h 696"/>
                  <a:gd name="T54" fmla="*/ 12 w 387"/>
                  <a:gd name="T55" fmla="*/ 12 h 696"/>
                  <a:gd name="T56" fmla="*/ 24 w 387"/>
                  <a:gd name="T57" fmla="*/ 3 h 696"/>
                  <a:gd name="T58" fmla="*/ 39 w 387"/>
                  <a:gd name="T59" fmla="*/ 0 h 696"/>
                  <a:gd name="T60" fmla="*/ 356 w 387"/>
                  <a:gd name="T61" fmla="*/ 1 h 696"/>
                  <a:gd name="T62" fmla="*/ 370 w 387"/>
                  <a:gd name="T63" fmla="*/ 8 h 696"/>
                  <a:gd name="T64" fmla="*/ 380 w 387"/>
                  <a:gd name="T65" fmla="*/ 17 h 696"/>
                  <a:gd name="T66" fmla="*/ 386 w 387"/>
                  <a:gd name="T67" fmla="*/ 31 h 696"/>
                  <a:gd name="T68" fmla="*/ 386 w 387"/>
                  <a:gd name="T69" fmla="*/ 90 h 696"/>
                  <a:gd name="T70" fmla="*/ 379 w 387"/>
                  <a:gd name="T71" fmla="*/ 186 h 696"/>
                  <a:gd name="T72" fmla="*/ 366 w 387"/>
                  <a:gd name="T73" fmla="*/ 270 h 696"/>
                  <a:gd name="T74" fmla="*/ 347 w 387"/>
                  <a:gd name="T75" fmla="*/ 346 h 696"/>
                  <a:gd name="T76" fmla="*/ 323 w 387"/>
                  <a:gd name="T77" fmla="*/ 411 h 696"/>
                  <a:gd name="T78" fmla="*/ 298 w 387"/>
                  <a:gd name="T79" fmla="*/ 469 h 696"/>
                  <a:gd name="T80" fmla="*/ 268 w 387"/>
                  <a:gd name="T81" fmla="*/ 518 h 696"/>
                  <a:gd name="T82" fmla="*/ 238 w 387"/>
                  <a:gd name="T83" fmla="*/ 559 h 696"/>
                  <a:gd name="T84" fmla="*/ 208 w 387"/>
                  <a:gd name="T85" fmla="*/ 594 h 696"/>
                  <a:gd name="T86" fmla="*/ 177 w 387"/>
                  <a:gd name="T87" fmla="*/ 623 h 696"/>
                  <a:gd name="T88" fmla="*/ 147 w 387"/>
                  <a:gd name="T89" fmla="*/ 645 h 696"/>
                  <a:gd name="T90" fmla="*/ 119 w 387"/>
                  <a:gd name="T91" fmla="*/ 663 h 696"/>
                  <a:gd name="T92" fmla="*/ 84 w 387"/>
                  <a:gd name="T93" fmla="*/ 681 h 696"/>
                  <a:gd name="T94" fmla="*/ 55 w 387"/>
                  <a:gd name="T95" fmla="*/ 693 h 696"/>
                  <a:gd name="T96" fmla="*/ 44 w 387"/>
                  <a:gd name="T97" fmla="*/ 69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87" h="696">
                    <a:moveTo>
                      <a:pt x="39" y="696"/>
                    </a:moveTo>
                    <a:lnTo>
                      <a:pt x="32" y="695"/>
                    </a:lnTo>
                    <a:lnTo>
                      <a:pt x="27" y="694"/>
                    </a:lnTo>
                    <a:lnTo>
                      <a:pt x="21" y="692"/>
                    </a:lnTo>
                    <a:lnTo>
                      <a:pt x="15" y="688"/>
                    </a:lnTo>
                    <a:lnTo>
                      <a:pt x="11" y="683"/>
                    </a:lnTo>
                    <a:lnTo>
                      <a:pt x="7" y="679"/>
                    </a:lnTo>
                    <a:lnTo>
                      <a:pt x="4" y="673"/>
                    </a:lnTo>
                    <a:lnTo>
                      <a:pt x="1" y="666"/>
                    </a:lnTo>
                    <a:lnTo>
                      <a:pt x="0" y="659"/>
                    </a:lnTo>
                    <a:lnTo>
                      <a:pt x="0" y="652"/>
                    </a:lnTo>
                    <a:lnTo>
                      <a:pt x="3" y="644"/>
                    </a:lnTo>
                    <a:lnTo>
                      <a:pt x="6" y="638"/>
                    </a:lnTo>
                    <a:lnTo>
                      <a:pt x="10" y="631"/>
                    </a:lnTo>
                    <a:lnTo>
                      <a:pt x="15" y="627"/>
                    </a:lnTo>
                    <a:lnTo>
                      <a:pt x="22" y="623"/>
                    </a:lnTo>
                    <a:lnTo>
                      <a:pt x="29" y="620"/>
                    </a:lnTo>
                    <a:lnTo>
                      <a:pt x="34" y="619"/>
                    </a:lnTo>
                    <a:lnTo>
                      <a:pt x="44" y="615"/>
                    </a:lnTo>
                    <a:lnTo>
                      <a:pt x="58" y="609"/>
                    </a:lnTo>
                    <a:lnTo>
                      <a:pt x="76" y="600"/>
                    </a:lnTo>
                    <a:lnTo>
                      <a:pt x="97" y="587"/>
                    </a:lnTo>
                    <a:lnTo>
                      <a:pt x="119" y="570"/>
                    </a:lnTo>
                    <a:lnTo>
                      <a:pt x="131" y="560"/>
                    </a:lnTo>
                    <a:lnTo>
                      <a:pt x="144" y="549"/>
                    </a:lnTo>
                    <a:lnTo>
                      <a:pt x="156" y="537"/>
                    </a:lnTo>
                    <a:lnTo>
                      <a:pt x="168" y="523"/>
                    </a:lnTo>
                    <a:lnTo>
                      <a:pt x="181" y="507"/>
                    </a:lnTo>
                    <a:lnTo>
                      <a:pt x="194" y="491"/>
                    </a:lnTo>
                    <a:lnTo>
                      <a:pt x="206" y="473"/>
                    </a:lnTo>
                    <a:lnTo>
                      <a:pt x="217" y="454"/>
                    </a:lnTo>
                    <a:lnTo>
                      <a:pt x="229" y="433"/>
                    </a:lnTo>
                    <a:lnTo>
                      <a:pt x="241" y="409"/>
                    </a:lnTo>
                    <a:lnTo>
                      <a:pt x="251" y="385"/>
                    </a:lnTo>
                    <a:lnTo>
                      <a:pt x="261" y="358"/>
                    </a:lnTo>
                    <a:lnTo>
                      <a:pt x="270" y="331"/>
                    </a:lnTo>
                    <a:lnTo>
                      <a:pt x="279" y="301"/>
                    </a:lnTo>
                    <a:lnTo>
                      <a:pt x="287" y="269"/>
                    </a:lnTo>
                    <a:lnTo>
                      <a:pt x="294" y="235"/>
                    </a:lnTo>
                    <a:lnTo>
                      <a:pt x="299" y="199"/>
                    </a:lnTo>
                    <a:lnTo>
                      <a:pt x="303" y="161"/>
                    </a:lnTo>
                    <a:lnTo>
                      <a:pt x="308" y="120"/>
                    </a:lnTo>
                    <a:lnTo>
                      <a:pt x="309" y="78"/>
                    </a:lnTo>
                    <a:lnTo>
                      <a:pt x="39" y="78"/>
                    </a:lnTo>
                    <a:lnTo>
                      <a:pt x="31" y="77"/>
                    </a:lnTo>
                    <a:lnTo>
                      <a:pt x="24" y="75"/>
                    </a:lnTo>
                    <a:lnTo>
                      <a:pt x="17" y="71"/>
                    </a:lnTo>
                    <a:lnTo>
                      <a:pt x="12" y="67"/>
                    </a:lnTo>
                    <a:lnTo>
                      <a:pt x="7" y="61"/>
                    </a:lnTo>
                    <a:lnTo>
                      <a:pt x="4" y="54"/>
                    </a:lnTo>
                    <a:lnTo>
                      <a:pt x="1" y="47"/>
                    </a:lnTo>
                    <a:lnTo>
                      <a:pt x="0" y="39"/>
                    </a:lnTo>
                    <a:lnTo>
                      <a:pt x="1" y="31"/>
                    </a:lnTo>
                    <a:lnTo>
                      <a:pt x="4" y="25"/>
                    </a:lnTo>
                    <a:lnTo>
                      <a:pt x="7" y="17"/>
                    </a:lnTo>
                    <a:lnTo>
                      <a:pt x="12" y="12"/>
                    </a:lnTo>
                    <a:lnTo>
                      <a:pt x="17" y="8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lnTo>
                      <a:pt x="348" y="0"/>
                    </a:lnTo>
                    <a:lnTo>
                      <a:pt x="356" y="1"/>
                    </a:lnTo>
                    <a:lnTo>
                      <a:pt x="363" y="3"/>
                    </a:lnTo>
                    <a:lnTo>
                      <a:pt x="370" y="8"/>
                    </a:lnTo>
                    <a:lnTo>
                      <a:pt x="376" y="12"/>
                    </a:lnTo>
                    <a:lnTo>
                      <a:pt x="380" y="17"/>
                    </a:lnTo>
                    <a:lnTo>
                      <a:pt x="384" y="25"/>
                    </a:lnTo>
                    <a:lnTo>
                      <a:pt x="386" y="31"/>
                    </a:lnTo>
                    <a:lnTo>
                      <a:pt x="387" y="39"/>
                    </a:lnTo>
                    <a:lnTo>
                      <a:pt x="386" y="90"/>
                    </a:lnTo>
                    <a:lnTo>
                      <a:pt x="383" y="139"/>
                    </a:lnTo>
                    <a:lnTo>
                      <a:pt x="379" y="186"/>
                    </a:lnTo>
                    <a:lnTo>
                      <a:pt x="372" y="230"/>
                    </a:lnTo>
                    <a:lnTo>
                      <a:pt x="366" y="270"/>
                    </a:lnTo>
                    <a:lnTo>
                      <a:pt x="356" y="309"/>
                    </a:lnTo>
                    <a:lnTo>
                      <a:pt x="347" y="346"/>
                    </a:lnTo>
                    <a:lnTo>
                      <a:pt x="336" y="380"/>
                    </a:lnTo>
                    <a:lnTo>
                      <a:pt x="323" y="411"/>
                    </a:lnTo>
                    <a:lnTo>
                      <a:pt x="311" y="441"/>
                    </a:lnTo>
                    <a:lnTo>
                      <a:pt x="298" y="469"/>
                    </a:lnTo>
                    <a:lnTo>
                      <a:pt x="283" y="494"/>
                    </a:lnTo>
                    <a:lnTo>
                      <a:pt x="268" y="518"/>
                    </a:lnTo>
                    <a:lnTo>
                      <a:pt x="253" y="539"/>
                    </a:lnTo>
                    <a:lnTo>
                      <a:pt x="238" y="559"/>
                    </a:lnTo>
                    <a:lnTo>
                      <a:pt x="223" y="577"/>
                    </a:lnTo>
                    <a:lnTo>
                      <a:pt x="208" y="594"/>
                    </a:lnTo>
                    <a:lnTo>
                      <a:pt x="192" y="609"/>
                    </a:lnTo>
                    <a:lnTo>
                      <a:pt x="177" y="623"/>
                    </a:lnTo>
                    <a:lnTo>
                      <a:pt x="162" y="635"/>
                    </a:lnTo>
                    <a:lnTo>
                      <a:pt x="147" y="645"/>
                    </a:lnTo>
                    <a:lnTo>
                      <a:pt x="133" y="655"/>
                    </a:lnTo>
                    <a:lnTo>
                      <a:pt x="119" y="663"/>
                    </a:lnTo>
                    <a:lnTo>
                      <a:pt x="107" y="671"/>
                    </a:lnTo>
                    <a:lnTo>
                      <a:pt x="84" y="681"/>
                    </a:lnTo>
                    <a:lnTo>
                      <a:pt x="67" y="689"/>
                    </a:lnTo>
                    <a:lnTo>
                      <a:pt x="55" y="693"/>
                    </a:lnTo>
                    <a:lnTo>
                      <a:pt x="48" y="695"/>
                    </a:lnTo>
                    <a:lnTo>
                      <a:pt x="44" y="696"/>
                    </a:lnTo>
                    <a:lnTo>
                      <a:pt x="39" y="6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2"/>
              <p:cNvSpPr>
                <a:spLocks noEditPoints="1"/>
              </p:cNvSpPr>
              <p:nvPr/>
            </p:nvSpPr>
            <p:spPr bwMode="auto">
              <a:xfrm>
                <a:off x="4256088" y="2624138"/>
                <a:ext cx="449263" cy="122238"/>
              </a:xfrm>
              <a:custGeom>
                <a:avLst/>
                <a:gdLst>
                  <a:gd name="T0" fmla="*/ 77 w 850"/>
                  <a:gd name="T1" fmla="*/ 154 h 232"/>
                  <a:gd name="T2" fmla="*/ 773 w 850"/>
                  <a:gd name="T3" fmla="*/ 154 h 232"/>
                  <a:gd name="T4" fmla="*/ 773 w 850"/>
                  <a:gd name="T5" fmla="*/ 77 h 232"/>
                  <a:gd name="T6" fmla="*/ 77 w 850"/>
                  <a:gd name="T7" fmla="*/ 77 h 232"/>
                  <a:gd name="T8" fmla="*/ 77 w 850"/>
                  <a:gd name="T9" fmla="*/ 154 h 232"/>
                  <a:gd name="T10" fmla="*/ 812 w 850"/>
                  <a:gd name="T11" fmla="*/ 232 h 232"/>
                  <a:gd name="T12" fmla="*/ 39 w 850"/>
                  <a:gd name="T13" fmla="*/ 232 h 232"/>
                  <a:gd name="T14" fmla="*/ 30 w 850"/>
                  <a:gd name="T15" fmla="*/ 231 h 232"/>
                  <a:gd name="T16" fmla="*/ 23 w 850"/>
                  <a:gd name="T17" fmla="*/ 229 h 232"/>
                  <a:gd name="T18" fmla="*/ 17 w 850"/>
                  <a:gd name="T19" fmla="*/ 225 h 232"/>
                  <a:gd name="T20" fmla="*/ 11 w 850"/>
                  <a:gd name="T21" fmla="*/ 220 h 232"/>
                  <a:gd name="T22" fmla="*/ 6 w 850"/>
                  <a:gd name="T23" fmla="*/ 215 h 232"/>
                  <a:gd name="T24" fmla="*/ 3 w 850"/>
                  <a:gd name="T25" fmla="*/ 208 h 232"/>
                  <a:gd name="T26" fmla="*/ 1 w 850"/>
                  <a:gd name="T27" fmla="*/ 201 h 232"/>
                  <a:gd name="T28" fmla="*/ 0 w 850"/>
                  <a:gd name="T29" fmla="*/ 193 h 232"/>
                  <a:gd name="T30" fmla="*/ 0 w 850"/>
                  <a:gd name="T31" fmla="*/ 38 h 232"/>
                  <a:gd name="T32" fmla="*/ 1 w 850"/>
                  <a:gd name="T33" fmla="*/ 31 h 232"/>
                  <a:gd name="T34" fmla="*/ 3 w 850"/>
                  <a:gd name="T35" fmla="*/ 23 h 232"/>
                  <a:gd name="T36" fmla="*/ 6 w 850"/>
                  <a:gd name="T37" fmla="*/ 17 h 232"/>
                  <a:gd name="T38" fmla="*/ 11 w 850"/>
                  <a:gd name="T39" fmla="*/ 11 h 232"/>
                  <a:gd name="T40" fmla="*/ 17 w 850"/>
                  <a:gd name="T41" fmla="*/ 6 h 232"/>
                  <a:gd name="T42" fmla="*/ 23 w 850"/>
                  <a:gd name="T43" fmla="*/ 3 h 232"/>
                  <a:gd name="T44" fmla="*/ 30 w 850"/>
                  <a:gd name="T45" fmla="*/ 0 h 232"/>
                  <a:gd name="T46" fmla="*/ 39 w 850"/>
                  <a:gd name="T47" fmla="*/ 0 h 232"/>
                  <a:gd name="T48" fmla="*/ 812 w 850"/>
                  <a:gd name="T49" fmla="*/ 0 h 232"/>
                  <a:gd name="T50" fmla="*/ 819 w 850"/>
                  <a:gd name="T51" fmla="*/ 0 h 232"/>
                  <a:gd name="T52" fmla="*/ 826 w 850"/>
                  <a:gd name="T53" fmla="*/ 3 h 232"/>
                  <a:gd name="T54" fmla="*/ 833 w 850"/>
                  <a:gd name="T55" fmla="*/ 6 h 232"/>
                  <a:gd name="T56" fmla="*/ 839 w 850"/>
                  <a:gd name="T57" fmla="*/ 11 h 232"/>
                  <a:gd name="T58" fmla="*/ 843 w 850"/>
                  <a:gd name="T59" fmla="*/ 17 h 232"/>
                  <a:gd name="T60" fmla="*/ 847 w 850"/>
                  <a:gd name="T61" fmla="*/ 23 h 232"/>
                  <a:gd name="T62" fmla="*/ 850 w 850"/>
                  <a:gd name="T63" fmla="*/ 31 h 232"/>
                  <a:gd name="T64" fmla="*/ 850 w 850"/>
                  <a:gd name="T65" fmla="*/ 38 h 232"/>
                  <a:gd name="T66" fmla="*/ 850 w 850"/>
                  <a:gd name="T67" fmla="*/ 193 h 232"/>
                  <a:gd name="T68" fmla="*/ 850 w 850"/>
                  <a:gd name="T69" fmla="*/ 201 h 232"/>
                  <a:gd name="T70" fmla="*/ 847 w 850"/>
                  <a:gd name="T71" fmla="*/ 208 h 232"/>
                  <a:gd name="T72" fmla="*/ 843 w 850"/>
                  <a:gd name="T73" fmla="*/ 215 h 232"/>
                  <a:gd name="T74" fmla="*/ 839 w 850"/>
                  <a:gd name="T75" fmla="*/ 220 h 232"/>
                  <a:gd name="T76" fmla="*/ 833 w 850"/>
                  <a:gd name="T77" fmla="*/ 225 h 232"/>
                  <a:gd name="T78" fmla="*/ 826 w 850"/>
                  <a:gd name="T79" fmla="*/ 229 h 232"/>
                  <a:gd name="T80" fmla="*/ 819 w 850"/>
                  <a:gd name="T81" fmla="*/ 231 h 232"/>
                  <a:gd name="T82" fmla="*/ 812 w 850"/>
                  <a:gd name="T83" fmla="*/ 23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50" h="232">
                    <a:moveTo>
                      <a:pt x="77" y="154"/>
                    </a:moveTo>
                    <a:lnTo>
                      <a:pt x="773" y="154"/>
                    </a:lnTo>
                    <a:lnTo>
                      <a:pt x="773" y="77"/>
                    </a:lnTo>
                    <a:lnTo>
                      <a:pt x="77" y="77"/>
                    </a:lnTo>
                    <a:lnTo>
                      <a:pt x="77" y="154"/>
                    </a:lnTo>
                    <a:close/>
                    <a:moveTo>
                      <a:pt x="812" y="232"/>
                    </a:moveTo>
                    <a:lnTo>
                      <a:pt x="39" y="232"/>
                    </a:lnTo>
                    <a:lnTo>
                      <a:pt x="30" y="231"/>
                    </a:lnTo>
                    <a:lnTo>
                      <a:pt x="23" y="229"/>
                    </a:lnTo>
                    <a:lnTo>
                      <a:pt x="17" y="225"/>
                    </a:lnTo>
                    <a:lnTo>
                      <a:pt x="11" y="220"/>
                    </a:lnTo>
                    <a:lnTo>
                      <a:pt x="6" y="215"/>
                    </a:lnTo>
                    <a:lnTo>
                      <a:pt x="3" y="208"/>
                    </a:lnTo>
                    <a:lnTo>
                      <a:pt x="1" y="201"/>
                    </a:lnTo>
                    <a:lnTo>
                      <a:pt x="0" y="19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3"/>
                    </a:lnTo>
                    <a:lnTo>
                      <a:pt x="6" y="17"/>
                    </a:lnTo>
                    <a:lnTo>
                      <a:pt x="11" y="11"/>
                    </a:lnTo>
                    <a:lnTo>
                      <a:pt x="17" y="6"/>
                    </a:lnTo>
                    <a:lnTo>
                      <a:pt x="23" y="3"/>
                    </a:lnTo>
                    <a:lnTo>
                      <a:pt x="30" y="0"/>
                    </a:lnTo>
                    <a:lnTo>
                      <a:pt x="39" y="0"/>
                    </a:lnTo>
                    <a:lnTo>
                      <a:pt x="812" y="0"/>
                    </a:lnTo>
                    <a:lnTo>
                      <a:pt x="819" y="0"/>
                    </a:lnTo>
                    <a:lnTo>
                      <a:pt x="826" y="3"/>
                    </a:lnTo>
                    <a:lnTo>
                      <a:pt x="833" y="6"/>
                    </a:lnTo>
                    <a:lnTo>
                      <a:pt x="839" y="11"/>
                    </a:lnTo>
                    <a:lnTo>
                      <a:pt x="843" y="17"/>
                    </a:lnTo>
                    <a:lnTo>
                      <a:pt x="847" y="23"/>
                    </a:lnTo>
                    <a:lnTo>
                      <a:pt x="850" y="31"/>
                    </a:lnTo>
                    <a:lnTo>
                      <a:pt x="850" y="38"/>
                    </a:lnTo>
                    <a:lnTo>
                      <a:pt x="850" y="193"/>
                    </a:lnTo>
                    <a:lnTo>
                      <a:pt x="850" y="201"/>
                    </a:lnTo>
                    <a:lnTo>
                      <a:pt x="847" y="208"/>
                    </a:lnTo>
                    <a:lnTo>
                      <a:pt x="843" y="215"/>
                    </a:lnTo>
                    <a:lnTo>
                      <a:pt x="839" y="220"/>
                    </a:lnTo>
                    <a:lnTo>
                      <a:pt x="833" y="225"/>
                    </a:lnTo>
                    <a:lnTo>
                      <a:pt x="826" y="229"/>
                    </a:lnTo>
                    <a:lnTo>
                      <a:pt x="819" y="231"/>
                    </a:lnTo>
                    <a:lnTo>
                      <a:pt x="812" y="2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3"/>
              <p:cNvSpPr>
                <a:spLocks/>
              </p:cNvSpPr>
              <p:nvPr/>
            </p:nvSpPr>
            <p:spPr bwMode="auto">
              <a:xfrm>
                <a:off x="4459288" y="2419350"/>
                <a:ext cx="41275" cy="244475"/>
              </a:xfrm>
              <a:custGeom>
                <a:avLst/>
                <a:gdLst>
                  <a:gd name="T0" fmla="*/ 39 w 78"/>
                  <a:gd name="T1" fmla="*/ 464 h 464"/>
                  <a:gd name="T2" fmla="*/ 31 w 78"/>
                  <a:gd name="T3" fmla="*/ 464 h 464"/>
                  <a:gd name="T4" fmla="*/ 24 w 78"/>
                  <a:gd name="T5" fmla="*/ 461 h 464"/>
                  <a:gd name="T6" fmla="*/ 17 w 78"/>
                  <a:gd name="T7" fmla="*/ 457 h 464"/>
                  <a:gd name="T8" fmla="*/ 12 w 78"/>
                  <a:gd name="T9" fmla="*/ 453 h 464"/>
                  <a:gd name="T10" fmla="*/ 7 w 78"/>
                  <a:gd name="T11" fmla="*/ 447 h 464"/>
                  <a:gd name="T12" fmla="*/ 4 w 78"/>
                  <a:gd name="T13" fmla="*/ 440 h 464"/>
                  <a:gd name="T14" fmla="*/ 2 w 78"/>
                  <a:gd name="T15" fmla="*/ 433 h 464"/>
                  <a:gd name="T16" fmla="*/ 0 w 78"/>
                  <a:gd name="T17" fmla="*/ 425 h 464"/>
                  <a:gd name="T18" fmla="*/ 0 w 78"/>
                  <a:gd name="T19" fmla="*/ 38 h 464"/>
                  <a:gd name="T20" fmla="*/ 2 w 78"/>
                  <a:gd name="T21" fmla="*/ 31 h 464"/>
                  <a:gd name="T22" fmla="*/ 4 w 78"/>
                  <a:gd name="T23" fmla="*/ 24 h 464"/>
                  <a:gd name="T24" fmla="*/ 7 w 78"/>
                  <a:gd name="T25" fmla="*/ 17 h 464"/>
                  <a:gd name="T26" fmla="*/ 12 w 78"/>
                  <a:gd name="T27" fmla="*/ 12 h 464"/>
                  <a:gd name="T28" fmla="*/ 17 w 78"/>
                  <a:gd name="T29" fmla="*/ 7 h 464"/>
                  <a:gd name="T30" fmla="*/ 24 w 78"/>
                  <a:gd name="T31" fmla="*/ 3 h 464"/>
                  <a:gd name="T32" fmla="*/ 31 w 78"/>
                  <a:gd name="T33" fmla="*/ 1 h 464"/>
                  <a:gd name="T34" fmla="*/ 39 w 78"/>
                  <a:gd name="T35" fmla="*/ 0 h 464"/>
                  <a:gd name="T36" fmla="*/ 47 w 78"/>
                  <a:gd name="T37" fmla="*/ 1 h 464"/>
                  <a:gd name="T38" fmla="*/ 54 w 78"/>
                  <a:gd name="T39" fmla="*/ 3 h 464"/>
                  <a:gd name="T40" fmla="*/ 61 w 78"/>
                  <a:gd name="T41" fmla="*/ 7 h 464"/>
                  <a:gd name="T42" fmla="*/ 66 w 78"/>
                  <a:gd name="T43" fmla="*/ 12 h 464"/>
                  <a:gd name="T44" fmla="*/ 71 w 78"/>
                  <a:gd name="T45" fmla="*/ 17 h 464"/>
                  <a:gd name="T46" fmla="*/ 75 w 78"/>
                  <a:gd name="T47" fmla="*/ 24 h 464"/>
                  <a:gd name="T48" fmla="*/ 77 w 78"/>
                  <a:gd name="T49" fmla="*/ 31 h 464"/>
                  <a:gd name="T50" fmla="*/ 78 w 78"/>
                  <a:gd name="T51" fmla="*/ 38 h 464"/>
                  <a:gd name="T52" fmla="*/ 78 w 78"/>
                  <a:gd name="T53" fmla="*/ 425 h 464"/>
                  <a:gd name="T54" fmla="*/ 77 w 78"/>
                  <a:gd name="T55" fmla="*/ 433 h 464"/>
                  <a:gd name="T56" fmla="*/ 75 w 78"/>
                  <a:gd name="T57" fmla="*/ 440 h 464"/>
                  <a:gd name="T58" fmla="*/ 71 w 78"/>
                  <a:gd name="T59" fmla="*/ 447 h 464"/>
                  <a:gd name="T60" fmla="*/ 66 w 78"/>
                  <a:gd name="T61" fmla="*/ 453 h 464"/>
                  <a:gd name="T62" fmla="*/ 61 w 78"/>
                  <a:gd name="T63" fmla="*/ 457 h 464"/>
                  <a:gd name="T64" fmla="*/ 54 w 78"/>
                  <a:gd name="T65" fmla="*/ 461 h 464"/>
                  <a:gd name="T66" fmla="*/ 47 w 78"/>
                  <a:gd name="T67" fmla="*/ 464 h 464"/>
                  <a:gd name="T68" fmla="*/ 39 w 78"/>
                  <a:gd name="T69" fmla="*/ 464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8" h="464">
                    <a:moveTo>
                      <a:pt x="39" y="464"/>
                    </a:moveTo>
                    <a:lnTo>
                      <a:pt x="31" y="464"/>
                    </a:lnTo>
                    <a:lnTo>
                      <a:pt x="24" y="461"/>
                    </a:lnTo>
                    <a:lnTo>
                      <a:pt x="17" y="457"/>
                    </a:lnTo>
                    <a:lnTo>
                      <a:pt x="12" y="453"/>
                    </a:lnTo>
                    <a:lnTo>
                      <a:pt x="7" y="447"/>
                    </a:lnTo>
                    <a:lnTo>
                      <a:pt x="4" y="440"/>
                    </a:lnTo>
                    <a:lnTo>
                      <a:pt x="2" y="433"/>
                    </a:lnTo>
                    <a:lnTo>
                      <a:pt x="0" y="425"/>
                    </a:lnTo>
                    <a:lnTo>
                      <a:pt x="0" y="38"/>
                    </a:lnTo>
                    <a:lnTo>
                      <a:pt x="2" y="31"/>
                    </a:lnTo>
                    <a:lnTo>
                      <a:pt x="4" y="24"/>
                    </a:lnTo>
                    <a:lnTo>
                      <a:pt x="7" y="17"/>
                    </a:lnTo>
                    <a:lnTo>
                      <a:pt x="12" y="12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1" y="1"/>
                    </a:lnTo>
                    <a:lnTo>
                      <a:pt x="39" y="0"/>
                    </a:lnTo>
                    <a:lnTo>
                      <a:pt x="47" y="1"/>
                    </a:lnTo>
                    <a:lnTo>
                      <a:pt x="54" y="3"/>
                    </a:lnTo>
                    <a:lnTo>
                      <a:pt x="61" y="7"/>
                    </a:lnTo>
                    <a:lnTo>
                      <a:pt x="66" y="12"/>
                    </a:lnTo>
                    <a:lnTo>
                      <a:pt x="71" y="17"/>
                    </a:lnTo>
                    <a:lnTo>
                      <a:pt x="75" y="24"/>
                    </a:lnTo>
                    <a:lnTo>
                      <a:pt x="77" y="31"/>
                    </a:lnTo>
                    <a:lnTo>
                      <a:pt x="78" y="38"/>
                    </a:lnTo>
                    <a:lnTo>
                      <a:pt x="78" y="425"/>
                    </a:lnTo>
                    <a:lnTo>
                      <a:pt x="77" y="433"/>
                    </a:lnTo>
                    <a:lnTo>
                      <a:pt x="75" y="440"/>
                    </a:lnTo>
                    <a:lnTo>
                      <a:pt x="71" y="447"/>
                    </a:lnTo>
                    <a:lnTo>
                      <a:pt x="66" y="453"/>
                    </a:lnTo>
                    <a:lnTo>
                      <a:pt x="61" y="457"/>
                    </a:lnTo>
                    <a:lnTo>
                      <a:pt x="54" y="461"/>
                    </a:lnTo>
                    <a:lnTo>
                      <a:pt x="47" y="464"/>
                    </a:lnTo>
                    <a:lnTo>
                      <a:pt x="39" y="4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8" name="Group 77"/>
            <p:cNvGrpSpPr/>
            <p:nvPr/>
          </p:nvGrpSpPr>
          <p:grpSpPr>
            <a:xfrm>
              <a:off x="5326238" y="3183869"/>
              <a:ext cx="379798" cy="393513"/>
              <a:chOff x="3009369" y="2439528"/>
              <a:chExt cx="664188" cy="688174"/>
            </a:xfrm>
            <a:solidFill>
              <a:schemeClr val="bg1"/>
            </a:solidFill>
          </p:grpSpPr>
          <p:sp>
            <p:nvSpPr>
              <p:cNvPr id="79" name="Freeform 77"/>
              <p:cNvSpPr>
                <a:spLocks noEditPoints="1"/>
              </p:cNvSpPr>
              <p:nvPr/>
            </p:nvSpPr>
            <p:spPr bwMode="auto">
              <a:xfrm>
                <a:off x="3132981" y="2563141"/>
                <a:ext cx="418808" cy="416963"/>
              </a:xfrm>
              <a:custGeom>
                <a:avLst/>
                <a:gdLst>
                  <a:gd name="T0" fmla="*/ 280 w 680"/>
                  <a:gd name="T1" fmla="*/ 46 h 680"/>
                  <a:gd name="T2" fmla="*/ 210 w 680"/>
                  <a:gd name="T3" fmla="*/ 70 h 680"/>
                  <a:gd name="T4" fmla="*/ 149 w 680"/>
                  <a:gd name="T5" fmla="*/ 108 h 680"/>
                  <a:gd name="T6" fmla="*/ 100 w 680"/>
                  <a:gd name="T7" fmla="*/ 160 h 680"/>
                  <a:gd name="T8" fmla="*/ 64 w 680"/>
                  <a:gd name="T9" fmla="*/ 223 h 680"/>
                  <a:gd name="T10" fmla="*/ 44 w 680"/>
                  <a:gd name="T11" fmla="*/ 295 h 680"/>
                  <a:gd name="T12" fmla="*/ 41 w 680"/>
                  <a:gd name="T13" fmla="*/ 370 h 680"/>
                  <a:gd name="T14" fmla="*/ 59 w 680"/>
                  <a:gd name="T15" fmla="*/ 442 h 680"/>
                  <a:gd name="T16" fmla="*/ 91 w 680"/>
                  <a:gd name="T17" fmla="*/ 507 h 680"/>
                  <a:gd name="T18" fmla="*/ 138 w 680"/>
                  <a:gd name="T19" fmla="*/ 562 h 680"/>
                  <a:gd name="T20" fmla="*/ 197 w 680"/>
                  <a:gd name="T21" fmla="*/ 604 h 680"/>
                  <a:gd name="T22" fmla="*/ 265 w 680"/>
                  <a:gd name="T23" fmla="*/ 630 h 680"/>
                  <a:gd name="T24" fmla="*/ 339 w 680"/>
                  <a:gd name="T25" fmla="*/ 640 h 680"/>
                  <a:gd name="T26" fmla="*/ 415 w 680"/>
                  <a:gd name="T27" fmla="*/ 630 h 680"/>
                  <a:gd name="T28" fmla="*/ 482 w 680"/>
                  <a:gd name="T29" fmla="*/ 604 h 680"/>
                  <a:gd name="T30" fmla="*/ 542 w 680"/>
                  <a:gd name="T31" fmla="*/ 562 h 680"/>
                  <a:gd name="T32" fmla="*/ 589 w 680"/>
                  <a:gd name="T33" fmla="*/ 507 h 680"/>
                  <a:gd name="T34" fmla="*/ 621 w 680"/>
                  <a:gd name="T35" fmla="*/ 442 h 680"/>
                  <a:gd name="T36" fmla="*/ 639 w 680"/>
                  <a:gd name="T37" fmla="*/ 370 h 680"/>
                  <a:gd name="T38" fmla="*/ 636 w 680"/>
                  <a:gd name="T39" fmla="*/ 295 h 680"/>
                  <a:gd name="T40" fmla="*/ 616 w 680"/>
                  <a:gd name="T41" fmla="*/ 223 h 680"/>
                  <a:gd name="T42" fmla="*/ 580 w 680"/>
                  <a:gd name="T43" fmla="*/ 160 h 680"/>
                  <a:gd name="T44" fmla="*/ 531 w 680"/>
                  <a:gd name="T45" fmla="*/ 108 h 680"/>
                  <a:gd name="T46" fmla="*/ 470 w 680"/>
                  <a:gd name="T47" fmla="*/ 70 h 680"/>
                  <a:gd name="T48" fmla="*/ 400 w 680"/>
                  <a:gd name="T49" fmla="*/ 46 h 680"/>
                  <a:gd name="T50" fmla="*/ 339 w 680"/>
                  <a:gd name="T51" fmla="*/ 680 h 680"/>
                  <a:gd name="T52" fmla="*/ 255 w 680"/>
                  <a:gd name="T53" fmla="*/ 669 h 680"/>
                  <a:gd name="T54" fmla="*/ 178 w 680"/>
                  <a:gd name="T55" fmla="*/ 639 h 680"/>
                  <a:gd name="T56" fmla="*/ 111 w 680"/>
                  <a:gd name="T57" fmla="*/ 592 h 680"/>
                  <a:gd name="T58" fmla="*/ 59 w 680"/>
                  <a:gd name="T59" fmla="*/ 529 h 680"/>
                  <a:gd name="T60" fmla="*/ 20 w 680"/>
                  <a:gd name="T61" fmla="*/ 456 h 680"/>
                  <a:gd name="T62" fmla="*/ 2 w 680"/>
                  <a:gd name="T63" fmla="*/ 374 h 680"/>
                  <a:gd name="T64" fmla="*/ 4 w 680"/>
                  <a:gd name="T65" fmla="*/ 288 h 680"/>
                  <a:gd name="T66" fmla="*/ 26 w 680"/>
                  <a:gd name="T67" fmla="*/ 208 h 680"/>
                  <a:gd name="T68" fmla="*/ 67 w 680"/>
                  <a:gd name="T69" fmla="*/ 137 h 680"/>
                  <a:gd name="T70" fmla="*/ 123 w 680"/>
                  <a:gd name="T71" fmla="*/ 77 h 680"/>
                  <a:gd name="T72" fmla="*/ 193 w 680"/>
                  <a:gd name="T73" fmla="*/ 34 h 680"/>
                  <a:gd name="T74" fmla="*/ 271 w 680"/>
                  <a:gd name="T75" fmla="*/ 6 h 680"/>
                  <a:gd name="T76" fmla="*/ 357 w 680"/>
                  <a:gd name="T77" fmla="*/ 0 h 680"/>
                  <a:gd name="T78" fmla="*/ 441 w 680"/>
                  <a:gd name="T79" fmla="*/ 15 h 680"/>
                  <a:gd name="T80" fmla="*/ 516 w 680"/>
                  <a:gd name="T81" fmla="*/ 49 h 680"/>
                  <a:gd name="T82" fmla="*/ 580 w 680"/>
                  <a:gd name="T83" fmla="*/ 100 h 680"/>
                  <a:gd name="T84" fmla="*/ 630 w 680"/>
                  <a:gd name="T85" fmla="*/ 164 h 680"/>
                  <a:gd name="T86" fmla="*/ 665 w 680"/>
                  <a:gd name="T87" fmla="*/ 239 h 680"/>
                  <a:gd name="T88" fmla="*/ 680 w 680"/>
                  <a:gd name="T89" fmla="*/ 322 h 680"/>
                  <a:gd name="T90" fmla="*/ 672 w 680"/>
                  <a:gd name="T91" fmla="*/ 408 h 680"/>
                  <a:gd name="T92" fmla="*/ 646 w 680"/>
                  <a:gd name="T93" fmla="*/ 487 h 680"/>
                  <a:gd name="T94" fmla="*/ 601 w 680"/>
                  <a:gd name="T95" fmla="*/ 555 h 680"/>
                  <a:gd name="T96" fmla="*/ 543 w 680"/>
                  <a:gd name="T97" fmla="*/ 613 h 680"/>
                  <a:gd name="T98" fmla="*/ 472 w 680"/>
                  <a:gd name="T99" fmla="*/ 652 h 680"/>
                  <a:gd name="T100" fmla="*/ 392 w 680"/>
                  <a:gd name="T101" fmla="*/ 676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0" h="680">
                    <a:moveTo>
                      <a:pt x="339" y="40"/>
                    </a:moveTo>
                    <a:lnTo>
                      <a:pt x="324" y="40"/>
                    </a:lnTo>
                    <a:lnTo>
                      <a:pt x="310" y="41"/>
                    </a:lnTo>
                    <a:lnTo>
                      <a:pt x="295" y="44"/>
                    </a:lnTo>
                    <a:lnTo>
                      <a:pt x="280" y="46"/>
                    </a:lnTo>
                    <a:lnTo>
                      <a:pt x="265" y="50"/>
                    </a:lnTo>
                    <a:lnTo>
                      <a:pt x="251" y="54"/>
                    </a:lnTo>
                    <a:lnTo>
                      <a:pt x="236" y="59"/>
                    </a:lnTo>
                    <a:lnTo>
                      <a:pt x="223" y="63"/>
                    </a:lnTo>
                    <a:lnTo>
                      <a:pt x="210" y="70"/>
                    </a:lnTo>
                    <a:lnTo>
                      <a:pt x="197" y="76"/>
                    </a:lnTo>
                    <a:lnTo>
                      <a:pt x="184" y="83"/>
                    </a:lnTo>
                    <a:lnTo>
                      <a:pt x="172" y="91"/>
                    </a:lnTo>
                    <a:lnTo>
                      <a:pt x="161" y="100"/>
                    </a:lnTo>
                    <a:lnTo>
                      <a:pt x="149" y="108"/>
                    </a:lnTo>
                    <a:lnTo>
                      <a:pt x="138" y="118"/>
                    </a:lnTo>
                    <a:lnTo>
                      <a:pt x="128" y="128"/>
                    </a:lnTo>
                    <a:lnTo>
                      <a:pt x="118" y="138"/>
                    </a:lnTo>
                    <a:lnTo>
                      <a:pt x="108" y="149"/>
                    </a:lnTo>
                    <a:lnTo>
                      <a:pt x="100" y="160"/>
                    </a:lnTo>
                    <a:lnTo>
                      <a:pt x="91" y="172"/>
                    </a:lnTo>
                    <a:lnTo>
                      <a:pt x="83" y="184"/>
                    </a:lnTo>
                    <a:lnTo>
                      <a:pt x="76" y="196"/>
                    </a:lnTo>
                    <a:lnTo>
                      <a:pt x="70" y="210"/>
                    </a:lnTo>
                    <a:lnTo>
                      <a:pt x="64" y="223"/>
                    </a:lnTo>
                    <a:lnTo>
                      <a:pt x="59" y="236"/>
                    </a:lnTo>
                    <a:lnTo>
                      <a:pt x="54" y="251"/>
                    </a:lnTo>
                    <a:lnTo>
                      <a:pt x="50" y="265"/>
                    </a:lnTo>
                    <a:lnTo>
                      <a:pt x="46" y="280"/>
                    </a:lnTo>
                    <a:lnTo>
                      <a:pt x="44" y="295"/>
                    </a:lnTo>
                    <a:lnTo>
                      <a:pt x="41" y="309"/>
                    </a:lnTo>
                    <a:lnTo>
                      <a:pt x="40" y="324"/>
                    </a:lnTo>
                    <a:lnTo>
                      <a:pt x="40" y="339"/>
                    </a:lnTo>
                    <a:lnTo>
                      <a:pt x="40" y="355"/>
                    </a:lnTo>
                    <a:lnTo>
                      <a:pt x="41" y="370"/>
                    </a:lnTo>
                    <a:lnTo>
                      <a:pt x="44" y="385"/>
                    </a:lnTo>
                    <a:lnTo>
                      <a:pt x="46" y="400"/>
                    </a:lnTo>
                    <a:lnTo>
                      <a:pt x="50" y="415"/>
                    </a:lnTo>
                    <a:lnTo>
                      <a:pt x="54" y="429"/>
                    </a:lnTo>
                    <a:lnTo>
                      <a:pt x="59" y="442"/>
                    </a:lnTo>
                    <a:lnTo>
                      <a:pt x="64" y="456"/>
                    </a:lnTo>
                    <a:lnTo>
                      <a:pt x="70" y="470"/>
                    </a:lnTo>
                    <a:lnTo>
                      <a:pt x="76" y="482"/>
                    </a:lnTo>
                    <a:lnTo>
                      <a:pt x="83" y="495"/>
                    </a:lnTo>
                    <a:lnTo>
                      <a:pt x="91" y="507"/>
                    </a:lnTo>
                    <a:lnTo>
                      <a:pt x="100" y="519"/>
                    </a:lnTo>
                    <a:lnTo>
                      <a:pt x="108" y="531"/>
                    </a:lnTo>
                    <a:lnTo>
                      <a:pt x="118" y="542"/>
                    </a:lnTo>
                    <a:lnTo>
                      <a:pt x="128" y="552"/>
                    </a:lnTo>
                    <a:lnTo>
                      <a:pt x="138" y="562"/>
                    </a:lnTo>
                    <a:lnTo>
                      <a:pt x="149" y="572"/>
                    </a:lnTo>
                    <a:lnTo>
                      <a:pt x="161" y="580"/>
                    </a:lnTo>
                    <a:lnTo>
                      <a:pt x="172" y="589"/>
                    </a:lnTo>
                    <a:lnTo>
                      <a:pt x="184" y="596"/>
                    </a:lnTo>
                    <a:lnTo>
                      <a:pt x="197" y="604"/>
                    </a:lnTo>
                    <a:lnTo>
                      <a:pt x="210" y="610"/>
                    </a:lnTo>
                    <a:lnTo>
                      <a:pt x="223" y="616"/>
                    </a:lnTo>
                    <a:lnTo>
                      <a:pt x="236" y="621"/>
                    </a:lnTo>
                    <a:lnTo>
                      <a:pt x="251" y="626"/>
                    </a:lnTo>
                    <a:lnTo>
                      <a:pt x="265" y="630"/>
                    </a:lnTo>
                    <a:lnTo>
                      <a:pt x="280" y="634"/>
                    </a:lnTo>
                    <a:lnTo>
                      <a:pt x="295" y="636"/>
                    </a:lnTo>
                    <a:lnTo>
                      <a:pt x="310" y="639"/>
                    </a:lnTo>
                    <a:lnTo>
                      <a:pt x="324" y="640"/>
                    </a:lnTo>
                    <a:lnTo>
                      <a:pt x="339" y="640"/>
                    </a:lnTo>
                    <a:lnTo>
                      <a:pt x="355" y="640"/>
                    </a:lnTo>
                    <a:lnTo>
                      <a:pt x="370" y="639"/>
                    </a:lnTo>
                    <a:lnTo>
                      <a:pt x="385" y="636"/>
                    </a:lnTo>
                    <a:lnTo>
                      <a:pt x="400" y="634"/>
                    </a:lnTo>
                    <a:lnTo>
                      <a:pt x="415" y="630"/>
                    </a:lnTo>
                    <a:lnTo>
                      <a:pt x="429" y="626"/>
                    </a:lnTo>
                    <a:lnTo>
                      <a:pt x="442" y="621"/>
                    </a:lnTo>
                    <a:lnTo>
                      <a:pt x="456" y="616"/>
                    </a:lnTo>
                    <a:lnTo>
                      <a:pt x="470" y="610"/>
                    </a:lnTo>
                    <a:lnTo>
                      <a:pt x="482" y="604"/>
                    </a:lnTo>
                    <a:lnTo>
                      <a:pt x="495" y="596"/>
                    </a:lnTo>
                    <a:lnTo>
                      <a:pt x="507" y="589"/>
                    </a:lnTo>
                    <a:lnTo>
                      <a:pt x="519" y="580"/>
                    </a:lnTo>
                    <a:lnTo>
                      <a:pt x="531" y="572"/>
                    </a:lnTo>
                    <a:lnTo>
                      <a:pt x="542" y="562"/>
                    </a:lnTo>
                    <a:lnTo>
                      <a:pt x="552" y="552"/>
                    </a:lnTo>
                    <a:lnTo>
                      <a:pt x="562" y="542"/>
                    </a:lnTo>
                    <a:lnTo>
                      <a:pt x="572" y="531"/>
                    </a:lnTo>
                    <a:lnTo>
                      <a:pt x="580" y="519"/>
                    </a:lnTo>
                    <a:lnTo>
                      <a:pt x="589" y="507"/>
                    </a:lnTo>
                    <a:lnTo>
                      <a:pt x="596" y="495"/>
                    </a:lnTo>
                    <a:lnTo>
                      <a:pt x="604" y="482"/>
                    </a:lnTo>
                    <a:lnTo>
                      <a:pt x="610" y="470"/>
                    </a:lnTo>
                    <a:lnTo>
                      <a:pt x="616" y="456"/>
                    </a:lnTo>
                    <a:lnTo>
                      <a:pt x="621" y="442"/>
                    </a:lnTo>
                    <a:lnTo>
                      <a:pt x="626" y="429"/>
                    </a:lnTo>
                    <a:lnTo>
                      <a:pt x="630" y="415"/>
                    </a:lnTo>
                    <a:lnTo>
                      <a:pt x="634" y="400"/>
                    </a:lnTo>
                    <a:lnTo>
                      <a:pt x="636" y="385"/>
                    </a:lnTo>
                    <a:lnTo>
                      <a:pt x="639" y="370"/>
                    </a:lnTo>
                    <a:lnTo>
                      <a:pt x="640" y="355"/>
                    </a:lnTo>
                    <a:lnTo>
                      <a:pt x="640" y="339"/>
                    </a:lnTo>
                    <a:lnTo>
                      <a:pt x="640" y="324"/>
                    </a:lnTo>
                    <a:lnTo>
                      <a:pt x="639" y="309"/>
                    </a:lnTo>
                    <a:lnTo>
                      <a:pt x="636" y="295"/>
                    </a:lnTo>
                    <a:lnTo>
                      <a:pt x="634" y="280"/>
                    </a:lnTo>
                    <a:lnTo>
                      <a:pt x="630" y="265"/>
                    </a:lnTo>
                    <a:lnTo>
                      <a:pt x="626" y="251"/>
                    </a:lnTo>
                    <a:lnTo>
                      <a:pt x="621" y="236"/>
                    </a:lnTo>
                    <a:lnTo>
                      <a:pt x="616" y="223"/>
                    </a:lnTo>
                    <a:lnTo>
                      <a:pt x="610" y="210"/>
                    </a:lnTo>
                    <a:lnTo>
                      <a:pt x="604" y="196"/>
                    </a:lnTo>
                    <a:lnTo>
                      <a:pt x="596" y="184"/>
                    </a:lnTo>
                    <a:lnTo>
                      <a:pt x="589" y="172"/>
                    </a:lnTo>
                    <a:lnTo>
                      <a:pt x="580" y="160"/>
                    </a:lnTo>
                    <a:lnTo>
                      <a:pt x="572" y="149"/>
                    </a:lnTo>
                    <a:lnTo>
                      <a:pt x="562" y="138"/>
                    </a:lnTo>
                    <a:lnTo>
                      <a:pt x="552" y="128"/>
                    </a:lnTo>
                    <a:lnTo>
                      <a:pt x="542" y="118"/>
                    </a:lnTo>
                    <a:lnTo>
                      <a:pt x="531" y="108"/>
                    </a:lnTo>
                    <a:lnTo>
                      <a:pt x="519" y="100"/>
                    </a:lnTo>
                    <a:lnTo>
                      <a:pt x="507" y="91"/>
                    </a:lnTo>
                    <a:lnTo>
                      <a:pt x="495" y="83"/>
                    </a:lnTo>
                    <a:lnTo>
                      <a:pt x="482" y="76"/>
                    </a:lnTo>
                    <a:lnTo>
                      <a:pt x="470" y="70"/>
                    </a:lnTo>
                    <a:lnTo>
                      <a:pt x="456" y="63"/>
                    </a:lnTo>
                    <a:lnTo>
                      <a:pt x="442" y="59"/>
                    </a:lnTo>
                    <a:lnTo>
                      <a:pt x="429" y="54"/>
                    </a:lnTo>
                    <a:lnTo>
                      <a:pt x="415" y="50"/>
                    </a:lnTo>
                    <a:lnTo>
                      <a:pt x="400" y="46"/>
                    </a:lnTo>
                    <a:lnTo>
                      <a:pt x="385" y="44"/>
                    </a:lnTo>
                    <a:lnTo>
                      <a:pt x="370" y="41"/>
                    </a:lnTo>
                    <a:lnTo>
                      <a:pt x="355" y="40"/>
                    </a:lnTo>
                    <a:lnTo>
                      <a:pt x="339" y="40"/>
                    </a:lnTo>
                    <a:close/>
                    <a:moveTo>
                      <a:pt x="339" y="680"/>
                    </a:moveTo>
                    <a:lnTo>
                      <a:pt x="322" y="680"/>
                    </a:lnTo>
                    <a:lnTo>
                      <a:pt x="305" y="678"/>
                    </a:lnTo>
                    <a:lnTo>
                      <a:pt x="288" y="676"/>
                    </a:lnTo>
                    <a:lnTo>
                      <a:pt x="271" y="672"/>
                    </a:lnTo>
                    <a:lnTo>
                      <a:pt x="255" y="669"/>
                    </a:lnTo>
                    <a:lnTo>
                      <a:pt x="239" y="665"/>
                    </a:lnTo>
                    <a:lnTo>
                      <a:pt x="223" y="659"/>
                    </a:lnTo>
                    <a:lnTo>
                      <a:pt x="208" y="652"/>
                    </a:lnTo>
                    <a:lnTo>
                      <a:pt x="193" y="646"/>
                    </a:lnTo>
                    <a:lnTo>
                      <a:pt x="178" y="639"/>
                    </a:lnTo>
                    <a:lnTo>
                      <a:pt x="164" y="630"/>
                    </a:lnTo>
                    <a:lnTo>
                      <a:pt x="149" y="621"/>
                    </a:lnTo>
                    <a:lnTo>
                      <a:pt x="137" y="613"/>
                    </a:lnTo>
                    <a:lnTo>
                      <a:pt x="123" y="601"/>
                    </a:lnTo>
                    <a:lnTo>
                      <a:pt x="111" y="592"/>
                    </a:lnTo>
                    <a:lnTo>
                      <a:pt x="100" y="580"/>
                    </a:lnTo>
                    <a:lnTo>
                      <a:pt x="88" y="568"/>
                    </a:lnTo>
                    <a:lnTo>
                      <a:pt x="77" y="555"/>
                    </a:lnTo>
                    <a:lnTo>
                      <a:pt x="67" y="543"/>
                    </a:lnTo>
                    <a:lnTo>
                      <a:pt x="59" y="529"/>
                    </a:lnTo>
                    <a:lnTo>
                      <a:pt x="49" y="516"/>
                    </a:lnTo>
                    <a:lnTo>
                      <a:pt x="41" y="502"/>
                    </a:lnTo>
                    <a:lnTo>
                      <a:pt x="34" y="487"/>
                    </a:lnTo>
                    <a:lnTo>
                      <a:pt x="26" y="472"/>
                    </a:lnTo>
                    <a:lnTo>
                      <a:pt x="20" y="456"/>
                    </a:lnTo>
                    <a:lnTo>
                      <a:pt x="15" y="441"/>
                    </a:lnTo>
                    <a:lnTo>
                      <a:pt x="10" y="425"/>
                    </a:lnTo>
                    <a:lnTo>
                      <a:pt x="6" y="408"/>
                    </a:lnTo>
                    <a:lnTo>
                      <a:pt x="4" y="391"/>
                    </a:lnTo>
                    <a:lnTo>
                      <a:pt x="2" y="374"/>
                    </a:lnTo>
                    <a:lnTo>
                      <a:pt x="0" y="357"/>
                    </a:lnTo>
                    <a:lnTo>
                      <a:pt x="0" y="339"/>
                    </a:lnTo>
                    <a:lnTo>
                      <a:pt x="0" y="322"/>
                    </a:lnTo>
                    <a:lnTo>
                      <a:pt x="2" y="305"/>
                    </a:lnTo>
                    <a:lnTo>
                      <a:pt x="4" y="288"/>
                    </a:lnTo>
                    <a:lnTo>
                      <a:pt x="6" y="271"/>
                    </a:lnTo>
                    <a:lnTo>
                      <a:pt x="10" y="255"/>
                    </a:lnTo>
                    <a:lnTo>
                      <a:pt x="15" y="239"/>
                    </a:lnTo>
                    <a:lnTo>
                      <a:pt x="20" y="223"/>
                    </a:lnTo>
                    <a:lnTo>
                      <a:pt x="26" y="208"/>
                    </a:lnTo>
                    <a:lnTo>
                      <a:pt x="34" y="193"/>
                    </a:lnTo>
                    <a:lnTo>
                      <a:pt x="41" y="178"/>
                    </a:lnTo>
                    <a:lnTo>
                      <a:pt x="49" y="164"/>
                    </a:lnTo>
                    <a:lnTo>
                      <a:pt x="59" y="149"/>
                    </a:lnTo>
                    <a:lnTo>
                      <a:pt x="67" y="137"/>
                    </a:lnTo>
                    <a:lnTo>
                      <a:pt x="77" y="123"/>
                    </a:lnTo>
                    <a:lnTo>
                      <a:pt x="88" y="111"/>
                    </a:lnTo>
                    <a:lnTo>
                      <a:pt x="100" y="100"/>
                    </a:lnTo>
                    <a:lnTo>
                      <a:pt x="111" y="88"/>
                    </a:lnTo>
                    <a:lnTo>
                      <a:pt x="123" y="77"/>
                    </a:lnTo>
                    <a:lnTo>
                      <a:pt x="137" y="67"/>
                    </a:lnTo>
                    <a:lnTo>
                      <a:pt x="149" y="59"/>
                    </a:lnTo>
                    <a:lnTo>
                      <a:pt x="164" y="49"/>
                    </a:lnTo>
                    <a:lnTo>
                      <a:pt x="178" y="41"/>
                    </a:lnTo>
                    <a:lnTo>
                      <a:pt x="193" y="34"/>
                    </a:lnTo>
                    <a:lnTo>
                      <a:pt x="208" y="26"/>
                    </a:lnTo>
                    <a:lnTo>
                      <a:pt x="223" y="20"/>
                    </a:lnTo>
                    <a:lnTo>
                      <a:pt x="239" y="15"/>
                    </a:lnTo>
                    <a:lnTo>
                      <a:pt x="255" y="10"/>
                    </a:lnTo>
                    <a:lnTo>
                      <a:pt x="271" y="6"/>
                    </a:lnTo>
                    <a:lnTo>
                      <a:pt x="288" y="4"/>
                    </a:lnTo>
                    <a:lnTo>
                      <a:pt x="305" y="1"/>
                    </a:lnTo>
                    <a:lnTo>
                      <a:pt x="322" y="0"/>
                    </a:lnTo>
                    <a:lnTo>
                      <a:pt x="339" y="0"/>
                    </a:lnTo>
                    <a:lnTo>
                      <a:pt x="357" y="0"/>
                    </a:lnTo>
                    <a:lnTo>
                      <a:pt x="374" y="1"/>
                    </a:lnTo>
                    <a:lnTo>
                      <a:pt x="392" y="4"/>
                    </a:lnTo>
                    <a:lnTo>
                      <a:pt x="408" y="6"/>
                    </a:lnTo>
                    <a:lnTo>
                      <a:pt x="425" y="10"/>
                    </a:lnTo>
                    <a:lnTo>
                      <a:pt x="441" y="15"/>
                    </a:lnTo>
                    <a:lnTo>
                      <a:pt x="456" y="20"/>
                    </a:lnTo>
                    <a:lnTo>
                      <a:pt x="472" y="26"/>
                    </a:lnTo>
                    <a:lnTo>
                      <a:pt x="487" y="34"/>
                    </a:lnTo>
                    <a:lnTo>
                      <a:pt x="502" y="41"/>
                    </a:lnTo>
                    <a:lnTo>
                      <a:pt x="516" y="49"/>
                    </a:lnTo>
                    <a:lnTo>
                      <a:pt x="529" y="59"/>
                    </a:lnTo>
                    <a:lnTo>
                      <a:pt x="543" y="67"/>
                    </a:lnTo>
                    <a:lnTo>
                      <a:pt x="555" y="77"/>
                    </a:lnTo>
                    <a:lnTo>
                      <a:pt x="568" y="88"/>
                    </a:lnTo>
                    <a:lnTo>
                      <a:pt x="580" y="100"/>
                    </a:lnTo>
                    <a:lnTo>
                      <a:pt x="591" y="111"/>
                    </a:lnTo>
                    <a:lnTo>
                      <a:pt x="601" y="123"/>
                    </a:lnTo>
                    <a:lnTo>
                      <a:pt x="613" y="137"/>
                    </a:lnTo>
                    <a:lnTo>
                      <a:pt x="621" y="149"/>
                    </a:lnTo>
                    <a:lnTo>
                      <a:pt x="630" y="164"/>
                    </a:lnTo>
                    <a:lnTo>
                      <a:pt x="639" y="178"/>
                    </a:lnTo>
                    <a:lnTo>
                      <a:pt x="646" y="193"/>
                    </a:lnTo>
                    <a:lnTo>
                      <a:pt x="652" y="208"/>
                    </a:lnTo>
                    <a:lnTo>
                      <a:pt x="659" y="223"/>
                    </a:lnTo>
                    <a:lnTo>
                      <a:pt x="665" y="239"/>
                    </a:lnTo>
                    <a:lnTo>
                      <a:pt x="668" y="255"/>
                    </a:lnTo>
                    <a:lnTo>
                      <a:pt x="672" y="271"/>
                    </a:lnTo>
                    <a:lnTo>
                      <a:pt x="676" y="288"/>
                    </a:lnTo>
                    <a:lnTo>
                      <a:pt x="678" y="305"/>
                    </a:lnTo>
                    <a:lnTo>
                      <a:pt x="680" y="322"/>
                    </a:lnTo>
                    <a:lnTo>
                      <a:pt x="680" y="339"/>
                    </a:lnTo>
                    <a:lnTo>
                      <a:pt x="680" y="357"/>
                    </a:lnTo>
                    <a:lnTo>
                      <a:pt x="678" y="374"/>
                    </a:lnTo>
                    <a:lnTo>
                      <a:pt x="676" y="391"/>
                    </a:lnTo>
                    <a:lnTo>
                      <a:pt x="672" y="408"/>
                    </a:lnTo>
                    <a:lnTo>
                      <a:pt x="668" y="425"/>
                    </a:lnTo>
                    <a:lnTo>
                      <a:pt x="665" y="441"/>
                    </a:lnTo>
                    <a:lnTo>
                      <a:pt x="659" y="456"/>
                    </a:lnTo>
                    <a:lnTo>
                      <a:pt x="652" y="472"/>
                    </a:lnTo>
                    <a:lnTo>
                      <a:pt x="646" y="487"/>
                    </a:lnTo>
                    <a:lnTo>
                      <a:pt x="639" y="502"/>
                    </a:lnTo>
                    <a:lnTo>
                      <a:pt x="630" y="516"/>
                    </a:lnTo>
                    <a:lnTo>
                      <a:pt x="621" y="529"/>
                    </a:lnTo>
                    <a:lnTo>
                      <a:pt x="613" y="543"/>
                    </a:lnTo>
                    <a:lnTo>
                      <a:pt x="601" y="555"/>
                    </a:lnTo>
                    <a:lnTo>
                      <a:pt x="591" y="568"/>
                    </a:lnTo>
                    <a:lnTo>
                      <a:pt x="580" y="580"/>
                    </a:lnTo>
                    <a:lnTo>
                      <a:pt x="568" y="592"/>
                    </a:lnTo>
                    <a:lnTo>
                      <a:pt x="555" y="601"/>
                    </a:lnTo>
                    <a:lnTo>
                      <a:pt x="543" y="613"/>
                    </a:lnTo>
                    <a:lnTo>
                      <a:pt x="529" y="621"/>
                    </a:lnTo>
                    <a:lnTo>
                      <a:pt x="516" y="630"/>
                    </a:lnTo>
                    <a:lnTo>
                      <a:pt x="502" y="639"/>
                    </a:lnTo>
                    <a:lnTo>
                      <a:pt x="487" y="646"/>
                    </a:lnTo>
                    <a:lnTo>
                      <a:pt x="472" y="652"/>
                    </a:lnTo>
                    <a:lnTo>
                      <a:pt x="456" y="659"/>
                    </a:lnTo>
                    <a:lnTo>
                      <a:pt x="441" y="665"/>
                    </a:lnTo>
                    <a:lnTo>
                      <a:pt x="425" y="669"/>
                    </a:lnTo>
                    <a:lnTo>
                      <a:pt x="408" y="672"/>
                    </a:lnTo>
                    <a:lnTo>
                      <a:pt x="392" y="676"/>
                    </a:lnTo>
                    <a:lnTo>
                      <a:pt x="374" y="678"/>
                    </a:lnTo>
                    <a:lnTo>
                      <a:pt x="357" y="680"/>
                    </a:lnTo>
                    <a:lnTo>
                      <a:pt x="339" y="6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8"/>
              <p:cNvSpPr>
                <a:spLocks/>
              </p:cNvSpPr>
              <p:nvPr/>
            </p:nvSpPr>
            <p:spPr bwMode="auto">
              <a:xfrm>
                <a:off x="3232610" y="2932135"/>
                <a:ext cx="219551" cy="195567"/>
              </a:xfrm>
              <a:custGeom>
                <a:avLst/>
                <a:gdLst>
                  <a:gd name="T0" fmla="*/ 339 w 358"/>
                  <a:gd name="T1" fmla="*/ 319 h 319"/>
                  <a:gd name="T2" fmla="*/ 19 w 358"/>
                  <a:gd name="T3" fmla="*/ 319 h 319"/>
                  <a:gd name="T4" fmla="*/ 14 w 358"/>
                  <a:gd name="T5" fmla="*/ 319 h 319"/>
                  <a:gd name="T6" fmla="*/ 11 w 358"/>
                  <a:gd name="T7" fmla="*/ 318 h 319"/>
                  <a:gd name="T8" fmla="*/ 8 w 358"/>
                  <a:gd name="T9" fmla="*/ 316 h 319"/>
                  <a:gd name="T10" fmla="*/ 4 w 358"/>
                  <a:gd name="T11" fmla="*/ 313 h 319"/>
                  <a:gd name="T12" fmla="*/ 2 w 358"/>
                  <a:gd name="T13" fmla="*/ 311 h 319"/>
                  <a:gd name="T14" fmla="*/ 1 w 358"/>
                  <a:gd name="T15" fmla="*/ 307 h 319"/>
                  <a:gd name="T16" fmla="*/ 0 w 358"/>
                  <a:gd name="T17" fmla="*/ 303 h 319"/>
                  <a:gd name="T18" fmla="*/ 0 w 358"/>
                  <a:gd name="T19" fmla="*/ 300 h 319"/>
                  <a:gd name="T20" fmla="*/ 0 w 358"/>
                  <a:gd name="T21" fmla="*/ 20 h 319"/>
                  <a:gd name="T22" fmla="*/ 0 w 358"/>
                  <a:gd name="T23" fmla="*/ 15 h 319"/>
                  <a:gd name="T24" fmla="*/ 1 w 358"/>
                  <a:gd name="T25" fmla="*/ 11 h 319"/>
                  <a:gd name="T26" fmla="*/ 2 w 358"/>
                  <a:gd name="T27" fmla="*/ 9 h 319"/>
                  <a:gd name="T28" fmla="*/ 4 w 358"/>
                  <a:gd name="T29" fmla="*/ 5 h 319"/>
                  <a:gd name="T30" fmla="*/ 8 w 358"/>
                  <a:gd name="T31" fmla="*/ 3 h 319"/>
                  <a:gd name="T32" fmla="*/ 11 w 358"/>
                  <a:gd name="T33" fmla="*/ 1 h 319"/>
                  <a:gd name="T34" fmla="*/ 14 w 358"/>
                  <a:gd name="T35" fmla="*/ 0 h 319"/>
                  <a:gd name="T36" fmla="*/ 19 w 358"/>
                  <a:gd name="T37" fmla="*/ 0 h 319"/>
                  <a:gd name="T38" fmla="*/ 23 w 358"/>
                  <a:gd name="T39" fmla="*/ 0 h 319"/>
                  <a:gd name="T40" fmla="*/ 27 w 358"/>
                  <a:gd name="T41" fmla="*/ 1 h 319"/>
                  <a:gd name="T42" fmla="*/ 31 w 358"/>
                  <a:gd name="T43" fmla="*/ 3 h 319"/>
                  <a:gd name="T44" fmla="*/ 33 w 358"/>
                  <a:gd name="T45" fmla="*/ 5 h 319"/>
                  <a:gd name="T46" fmla="*/ 36 w 358"/>
                  <a:gd name="T47" fmla="*/ 9 h 319"/>
                  <a:gd name="T48" fmla="*/ 37 w 358"/>
                  <a:gd name="T49" fmla="*/ 11 h 319"/>
                  <a:gd name="T50" fmla="*/ 38 w 358"/>
                  <a:gd name="T51" fmla="*/ 15 h 319"/>
                  <a:gd name="T52" fmla="*/ 39 w 358"/>
                  <a:gd name="T53" fmla="*/ 20 h 319"/>
                  <a:gd name="T54" fmla="*/ 39 w 358"/>
                  <a:gd name="T55" fmla="*/ 280 h 319"/>
                  <a:gd name="T56" fmla="*/ 319 w 358"/>
                  <a:gd name="T57" fmla="*/ 280 h 319"/>
                  <a:gd name="T58" fmla="*/ 319 w 358"/>
                  <a:gd name="T59" fmla="*/ 20 h 319"/>
                  <a:gd name="T60" fmla="*/ 319 w 358"/>
                  <a:gd name="T61" fmla="*/ 15 h 319"/>
                  <a:gd name="T62" fmla="*/ 320 w 358"/>
                  <a:gd name="T63" fmla="*/ 11 h 319"/>
                  <a:gd name="T64" fmla="*/ 322 w 358"/>
                  <a:gd name="T65" fmla="*/ 9 h 319"/>
                  <a:gd name="T66" fmla="*/ 325 w 358"/>
                  <a:gd name="T67" fmla="*/ 5 h 319"/>
                  <a:gd name="T68" fmla="*/ 327 w 358"/>
                  <a:gd name="T69" fmla="*/ 3 h 319"/>
                  <a:gd name="T70" fmla="*/ 331 w 358"/>
                  <a:gd name="T71" fmla="*/ 1 h 319"/>
                  <a:gd name="T72" fmla="*/ 335 w 358"/>
                  <a:gd name="T73" fmla="*/ 0 h 319"/>
                  <a:gd name="T74" fmla="*/ 339 w 358"/>
                  <a:gd name="T75" fmla="*/ 0 h 319"/>
                  <a:gd name="T76" fmla="*/ 342 w 358"/>
                  <a:gd name="T77" fmla="*/ 0 h 319"/>
                  <a:gd name="T78" fmla="*/ 346 w 358"/>
                  <a:gd name="T79" fmla="*/ 1 h 319"/>
                  <a:gd name="T80" fmla="*/ 350 w 358"/>
                  <a:gd name="T81" fmla="*/ 3 h 319"/>
                  <a:gd name="T82" fmla="*/ 353 w 358"/>
                  <a:gd name="T83" fmla="*/ 5 h 319"/>
                  <a:gd name="T84" fmla="*/ 356 w 358"/>
                  <a:gd name="T85" fmla="*/ 9 h 319"/>
                  <a:gd name="T86" fmla="*/ 357 w 358"/>
                  <a:gd name="T87" fmla="*/ 11 h 319"/>
                  <a:gd name="T88" fmla="*/ 358 w 358"/>
                  <a:gd name="T89" fmla="*/ 15 h 319"/>
                  <a:gd name="T90" fmla="*/ 358 w 358"/>
                  <a:gd name="T91" fmla="*/ 20 h 319"/>
                  <a:gd name="T92" fmla="*/ 358 w 358"/>
                  <a:gd name="T93" fmla="*/ 300 h 319"/>
                  <a:gd name="T94" fmla="*/ 358 w 358"/>
                  <a:gd name="T95" fmla="*/ 303 h 319"/>
                  <a:gd name="T96" fmla="*/ 357 w 358"/>
                  <a:gd name="T97" fmla="*/ 307 h 319"/>
                  <a:gd name="T98" fmla="*/ 356 w 358"/>
                  <a:gd name="T99" fmla="*/ 311 h 319"/>
                  <a:gd name="T100" fmla="*/ 353 w 358"/>
                  <a:gd name="T101" fmla="*/ 313 h 319"/>
                  <a:gd name="T102" fmla="*/ 350 w 358"/>
                  <a:gd name="T103" fmla="*/ 316 h 319"/>
                  <a:gd name="T104" fmla="*/ 346 w 358"/>
                  <a:gd name="T105" fmla="*/ 318 h 319"/>
                  <a:gd name="T106" fmla="*/ 342 w 358"/>
                  <a:gd name="T107" fmla="*/ 319 h 319"/>
                  <a:gd name="T108" fmla="*/ 339 w 358"/>
                  <a:gd name="T109" fmla="*/ 319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58" h="319">
                    <a:moveTo>
                      <a:pt x="339" y="319"/>
                    </a:moveTo>
                    <a:lnTo>
                      <a:pt x="19" y="319"/>
                    </a:lnTo>
                    <a:lnTo>
                      <a:pt x="14" y="319"/>
                    </a:lnTo>
                    <a:lnTo>
                      <a:pt x="11" y="318"/>
                    </a:lnTo>
                    <a:lnTo>
                      <a:pt x="8" y="316"/>
                    </a:lnTo>
                    <a:lnTo>
                      <a:pt x="4" y="313"/>
                    </a:lnTo>
                    <a:lnTo>
                      <a:pt x="2" y="311"/>
                    </a:lnTo>
                    <a:lnTo>
                      <a:pt x="1" y="307"/>
                    </a:lnTo>
                    <a:lnTo>
                      <a:pt x="0" y="303"/>
                    </a:lnTo>
                    <a:lnTo>
                      <a:pt x="0" y="300"/>
                    </a:lnTo>
                    <a:lnTo>
                      <a:pt x="0" y="20"/>
                    </a:lnTo>
                    <a:lnTo>
                      <a:pt x="0" y="15"/>
                    </a:lnTo>
                    <a:lnTo>
                      <a:pt x="1" y="11"/>
                    </a:lnTo>
                    <a:lnTo>
                      <a:pt x="2" y="9"/>
                    </a:lnTo>
                    <a:lnTo>
                      <a:pt x="4" y="5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3" y="0"/>
                    </a:lnTo>
                    <a:lnTo>
                      <a:pt x="27" y="1"/>
                    </a:lnTo>
                    <a:lnTo>
                      <a:pt x="31" y="3"/>
                    </a:lnTo>
                    <a:lnTo>
                      <a:pt x="33" y="5"/>
                    </a:lnTo>
                    <a:lnTo>
                      <a:pt x="36" y="9"/>
                    </a:lnTo>
                    <a:lnTo>
                      <a:pt x="37" y="11"/>
                    </a:lnTo>
                    <a:lnTo>
                      <a:pt x="38" y="15"/>
                    </a:lnTo>
                    <a:lnTo>
                      <a:pt x="39" y="20"/>
                    </a:lnTo>
                    <a:lnTo>
                      <a:pt x="39" y="280"/>
                    </a:lnTo>
                    <a:lnTo>
                      <a:pt x="319" y="280"/>
                    </a:lnTo>
                    <a:lnTo>
                      <a:pt x="319" y="20"/>
                    </a:lnTo>
                    <a:lnTo>
                      <a:pt x="319" y="15"/>
                    </a:lnTo>
                    <a:lnTo>
                      <a:pt x="320" y="11"/>
                    </a:lnTo>
                    <a:lnTo>
                      <a:pt x="322" y="9"/>
                    </a:lnTo>
                    <a:lnTo>
                      <a:pt x="325" y="5"/>
                    </a:lnTo>
                    <a:lnTo>
                      <a:pt x="327" y="3"/>
                    </a:lnTo>
                    <a:lnTo>
                      <a:pt x="331" y="1"/>
                    </a:lnTo>
                    <a:lnTo>
                      <a:pt x="335" y="0"/>
                    </a:lnTo>
                    <a:lnTo>
                      <a:pt x="339" y="0"/>
                    </a:lnTo>
                    <a:lnTo>
                      <a:pt x="342" y="0"/>
                    </a:lnTo>
                    <a:lnTo>
                      <a:pt x="346" y="1"/>
                    </a:lnTo>
                    <a:lnTo>
                      <a:pt x="350" y="3"/>
                    </a:lnTo>
                    <a:lnTo>
                      <a:pt x="353" y="5"/>
                    </a:lnTo>
                    <a:lnTo>
                      <a:pt x="356" y="9"/>
                    </a:lnTo>
                    <a:lnTo>
                      <a:pt x="357" y="11"/>
                    </a:lnTo>
                    <a:lnTo>
                      <a:pt x="358" y="15"/>
                    </a:lnTo>
                    <a:lnTo>
                      <a:pt x="358" y="20"/>
                    </a:lnTo>
                    <a:lnTo>
                      <a:pt x="358" y="300"/>
                    </a:lnTo>
                    <a:lnTo>
                      <a:pt x="358" y="303"/>
                    </a:lnTo>
                    <a:lnTo>
                      <a:pt x="357" y="307"/>
                    </a:lnTo>
                    <a:lnTo>
                      <a:pt x="356" y="311"/>
                    </a:lnTo>
                    <a:lnTo>
                      <a:pt x="353" y="313"/>
                    </a:lnTo>
                    <a:lnTo>
                      <a:pt x="350" y="316"/>
                    </a:lnTo>
                    <a:lnTo>
                      <a:pt x="346" y="318"/>
                    </a:lnTo>
                    <a:lnTo>
                      <a:pt x="342" y="319"/>
                    </a:lnTo>
                    <a:lnTo>
                      <a:pt x="339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79"/>
              <p:cNvSpPr>
                <a:spLocks/>
              </p:cNvSpPr>
              <p:nvPr/>
            </p:nvSpPr>
            <p:spPr bwMode="auto">
              <a:xfrm>
                <a:off x="3232610" y="3004089"/>
                <a:ext cx="219551" cy="49814"/>
              </a:xfrm>
              <a:custGeom>
                <a:avLst/>
                <a:gdLst>
                  <a:gd name="T0" fmla="*/ 339 w 358"/>
                  <a:gd name="T1" fmla="*/ 81 h 81"/>
                  <a:gd name="T2" fmla="*/ 337 w 358"/>
                  <a:gd name="T3" fmla="*/ 81 h 81"/>
                  <a:gd name="T4" fmla="*/ 336 w 358"/>
                  <a:gd name="T5" fmla="*/ 80 h 81"/>
                  <a:gd name="T6" fmla="*/ 17 w 358"/>
                  <a:gd name="T7" fmla="*/ 40 h 81"/>
                  <a:gd name="T8" fmla="*/ 12 w 358"/>
                  <a:gd name="T9" fmla="*/ 40 h 81"/>
                  <a:gd name="T10" fmla="*/ 9 w 358"/>
                  <a:gd name="T11" fmla="*/ 38 h 81"/>
                  <a:gd name="T12" fmla="*/ 6 w 358"/>
                  <a:gd name="T13" fmla="*/ 35 h 81"/>
                  <a:gd name="T14" fmla="*/ 3 w 358"/>
                  <a:gd name="T15" fmla="*/ 33 h 81"/>
                  <a:gd name="T16" fmla="*/ 1 w 358"/>
                  <a:gd name="T17" fmla="*/ 30 h 81"/>
                  <a:gd name="T18" fmla="*/ 0 w 358"/>
                  <a:gd name="T19" fmla="*/ 27 h 81"/>
                  <a:gd name="T20" fmla="*/ 0 w 358"/>
                  <a:gd name="T21" fmla="*/ 23 h 81"/>
                  <a:gd name="T22" fmla="*/ 0 w 358"/>
                  <a:gd name="T23" fmla="*/ 18 h 81"/>
                  <a:gd name="T24" fmla="*/ 0 w 358"/>
                  <a:gd name="T25" fmla="*/ 14 h 81"/>
                  <a:gd name="T26" fmla="*/ 2 w 358"/>
                  <a:gd name="T27" fmla="*/ 10 h 81"/>
                  <a:gd name="T28" fmla="*/ 3 w 358"/>
                  <a:gd name="T29" fmla="*/ 8 h 81"/>
                  <a:gd name="T30" fmla="*/ 7 w 358"/>
                  <a:gd name="T31" fmla="*/ 5 h 81"/>
                  <a:gd name="T32" fmla="*/ 9 w 358"/>
                  <a:gd name="T33" fmla="*/ 3 h 81"/>
                  <a:gd name="T34" fmla="*/ 13 w 358"/>
                  <a:gd name="T35" fmla="*/ 2 h 81"/>
                  <a:gd name="T36" fmla="*/ 17 w 358"/>
                  <a:gd name="T37" fmla="*/ 0 h 81"/>
                  <a:gd name="T38" fmla="*/ 22 w 358"/>
                  <a:gd name="T39" fmla="*/ 0 h 81"/>
                  <a:gd name="T40" fmla="*/ 341 w 358"/>
                  <a:gd name="T41" fmla="*/ 41 h 81"/>
                  <a:gd name="T42" fmla="*/ 345 w 358"/>
                  <a:gd name="T43" fmla="*/ 41 h 81"/>
                  <a:gd name="T44" fmla="*/ 349 w 358"/>
                  <a:gd name="T45" fmla="*/ 44 h 81"/>
                  <a:gd name="T46" fmla="*/ 352 w 358"/>
                  <a:gd name="T47" fmla="*/ 45 h 81"/>
                  <a:gd name="T48" fmla="*/ 355 w 358"/>
                  <a:gd name="T49" fmla="*/ 49 h 81"/>
                  <a:gd name="T50" fmla="*/ 357 w 358"/>
                  <a:gd name="T51" fmla="*/ 51 h 81"/>
                  <a:gd name="T52" fmla="*/ 358 w 358"/>
                  <a:gd name="T53" fmla="*/ 55 h 81"/>
                  <a:gd name="T54" fmla="*/ 358 w 358"/>
                  <a:gd name="T55" fmla="*/ 59 h 81"/>
                  <a:gd name="T56" fmla="*/ 358 w 358"/>
                  <a:gd name="T57" fmla="*/ 63 h 81"/>
                  <a:gd name="T58" fmla="*/ 357 w 358"/>
                  <a:gd name="T59" fmla="*/ 66 h 81"/>
                  <a:gd name="T60" fmla="*/ 356 w 358"/>
                  <a:gd name="T61" fmla="*/ 70 h 81"/>
                  <a:gd name="T62" fmla="*/ 355 w 358"/>
                  <a:gd name="T63" fmla="*/ 74 h 81"/>
                  <a:gd name="T64" fmla="*/ 352 w 358"/>
                  <a:gd name="T65" fmla="*/ 76 h 81"/>
                  <a:gd name="T66" fmla="*/ 349 w 358"/>
                  <a:gd name="T67" fmla="*/ 77 h 81"/>
                  <a:gd name="T68" fmla="*/ 346 w 358"/>
                  <a:gd name="T69" fmla="*/ 80 h 81"/>
                  <a:gd name="T70" fmla="*/ 342 w 358"/>
                  <a:gd name="T71" fmla="*/ 80 h 81"/>
                  <a:gd name="T72" fmla="*/ 339 w 358"/>
                  <a:gd name="T7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8" h="81">
                    <a:moveTo>
                      <a:pt x="339" y="81"/>
                    </a:moveTo>
                    <a:lnTo>
                      <a:pt x="337" y="81"/>
                    </a:lnTo>
                    <a:lnTo>
                      <a:pt x="336" y="80"/>
                    </a:lnTo>
                    <a:lnTo>
                      <a:pt x="17" y="40"/>
                    </a:lnTo>
                    <a:lnTo>
                      <a:pt x="12" y="40"/>
                    </a:lnTo>
                    <a:lnTo>
                      <a:pt x="9" y="38"/>
                    </a:lnTo>
                    <a:lnTo>
                      <a:pt x="6" y="35"/>
                    </a:lnTo>
                    <a:lnTo>
                      <a:pt x="3" y="33"/>
                    </a:lnTo>
                    <a:lnTo>
                      <a:pt x="1" y="30"/>
                    </a:lnTo>
                    <a:lnTo>
                      <a:pt x="0" y="27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3" y="8"/>
                    </a:lnTo>
                    <a:lnTo>
                      <a:pt x="7" y="5"/>
                    </a:lnTo>
                    <a:lnTo>
                      <a:pt x="9" y="3"/>
                    </a:lnTo>
                    <a:lnTo>
                      <a:pt x="13" y="2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341" y="41"/>
                    </a:lnTo>
                    <a:lnTo>
                      <a:pt x="345" y="41"/>
                    </a:lnTo>
                    <a:lnTo>
                      <a:pt x="349" y="44"/>
                    </a:lnTo>
                    <a:lnTo>
                      <a:pt x="352" y="45"/>
                    </a:lnTo>
                    <a:lnTo>
                      <a:pt x="355" y="49"/>
                    </a:lnTo>
                    <a:lnTo>
                      <a:pt x="357" y="51"/>
                    </a:lnTo>
                    <a:lnTo>
                      <a:pt x="358" y="55"/>
                    </a:lnTo>
                    <a:lnTo>
                      <a:pt x="358" y="59"/>
                    </a:lnTo>
                    <a:lnTo>
                      <a:pt x="358" y="63"/>
                    </a:lnTo>
                    <a:lnTo>
                      <a:pt x="357" y="66"/>
                    </a:lnTo>
                    <a:lnTo>
                      <a:pt x="356" y="70"/>
                    </a:lnTo>
                    <a:lnTo>
                      <a:pt x="355" y="74"/>
                    </a:lnTo>
                    <a:lnTo>
                      <a:pt x="352" y="76"/>
                    </a:lnTo>
                    <a:lnTo>
                      <a:pt x="349" y="77"/>
                    </a:lnTo>
                    <a:lnTo>
                      <a:pt x="346" y="80"/>
                    </a:lnTo>
                    <a:lnTo>
                      <a:pt x="342" y="80"/>
                    </a:lnTo>
                    <a:lnTo>
                      <a:pt x="339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80"/>
              <p:cNvSpPr>
                <a:spLocks/>
              </p:cNvSpPr>
              <p:nvPr/>
            </p:nvSpPr>
            <p:spPr bwMode="auto">
              <a:xfrm>
                <a:off x="3232610" y="2956119"/>
                <a:ext cx="219551" cy="47969"/>
              </a:xfrm>
              <a:custGeom>
                <a:avLst/>
                <a:gdLst>
                  <a:gd name="T0" fmla="*/ 339 w 358"/>
                  <a:gd name="T1" fmla="*/ 79 h 79"/>
                  <a:gd name="T2" fmla="*/ 337 w 358"/>
                  <a:gd name="T3" fmla="*/ 79 h 79"/>
                  <a:gd name="T4" fmla="*/ 336 w 358"/>
                  <a:gd name="T5" fmla="*/ 79 h 79"/>
                  <a:gd name="T6" fmla="*/ 17 w 358"/>
                  <a:gd name="T7" fmla="*/ 40 h 79"/>
                  <a:gd name="T8" fmla="*/ 12 w 358"/>
                  <a:gd name="T9" fmla="*/ 38 h 79"/>
                  <a:gd name="T10" fmla="*/ 9 w 358"/>
                  <a:gd name="T11" fmla="*/ 37 h 79"/>
                  <a:gd name="T12" fmla="*/ 6 w 358"/>
                  <a:gd name="T13" fmla="*/ 35 h 79"/>
                  <a:gd name="T14" fmla="*/ 3 w 358"/>
                  <a:gd name="T15" fmla="*/ 32 h 79"/>
                  <a:gd name="T16" fmla="*/ 1 w 358"/>
                  <a:gd name="T17" fmla="*/ 29 h 79"/>
                  <a:gd name="T18" fmla="*/ 0 w 358"/>
                  <a:gd name="T19" fmla="*/ 25 h 79"/>
                  <a:gd name="T20" fmla="*/ 0 w 358"/>
                  <a:gd name="T21" fmla="*/ 21 h 79"/>
                  <a:gd name="T22" fmla="*/ 0 w 358"/>
                  <a:gd name="T23" fmla="*/ 17 h 79"/>
                  <a:gd name="T24" fmla="*/ 0 w 358"/>
                  <a:gd name="T25" fmla="*/ 14 h 79"/>
                  <a:gd name="T26" fmla="*/ 2 w 358"/>
                  <a:gd name="T27" fmla="*/ 10 h 79"/>
                  <a:gd name="T28" fmla="*/ 3 w 358"/>
                  <a:gd name="T29" fmla="*/ 6 h 79"/>
                  <a:gd name="T30" fmla="*/ 7 w 358"/>
                  <a:gd name="T31" fmla="*/ 4 h 79"/>
                  <a:gd name="T32" fmla="*/ 9 w 358"/>
                  <a:gd name="T33" fmla="*/ 2 h 79"/>
                  <a:gd name="T34" fmla="*/ 13 w 358"/>
                  <a:gd name="T35" fmla="*/ 0 h 79"/>
                  <a:gd name="T36" fmla="*/ 17 w 358"/>
                  <a:gd name="T37" fmla="*/ 0 h 79"/>
                  <a:gd name="T38" fmla="*/ 22 w 358"/>
                  <a:gd name="T39" fmla="*/ 0 h 79"/>
                  <a:gd name="T40" fmla="*/ 341 w 358"/>
                  <a:gd name="T41" fmla="*/ 40 h 79"/>
                  <a:gd name="T42" fmla="*/ 345 w 358"/>
                  <a:gd name="T43" fmla="*/ 41 h 79"/>
                  <a:gd name="T44" fmla="*/ 349 w 358"/>
                  <a:gd name="T45" fmla="*/ 42 h 79"/>
                  <a:gd name="T46" fmla="*/ 352 w 358"/>
                  <a:gd name="T47" fmla="*/ 45 h 79"/>
                  <a:gd name="T48" fmla="*/ 355 w 358"/>
                  <a:gd name="T49" fmla="*/ 47 h 79"/>
                  <a:gd name="T50" fmla="*/ 357 w 358"/>
                  <a:gd name="T51" fmla="*/ 51 h 79"/>
                  <a:gd name="T52" fmla="*/ 358 w 358"/>
                  <a:gd name="T53" fmla="*/ 55 h 79"/>
                  <a:gd name="T54" fmla="*/ 358 w 358"/>
                  <a:gd name="T55" fmla="*/ 58 h 79"/>
                  <a:gd name="T56" fmla="*/ 358 w 358"/>
                  <a:gd name="T57" fmla="*/ 62 h 79"/>
                  <a:gd name="T58" fmla="*/ 357 w 358"/>
                  <a:gd name="T59" fmla="*/ 66 h 79"/>
                  <a:gd name="T60" fmla="*/ 356 w 358"/>
                  <a:gd name="T61" fmla="*/ 70 h 79"/>
                  <a:gd name="T62" fmla="*/ 355 w 358"/>
                  <a:gd name="T63" fmla="*/ 72 h 79"/>
                  <a:gd name="T64" fmla="*/ 352 w 358"/>
                  <a:gd name="T65" fmla="*/ 74 h 79"/>
                  <a:gd name="T66" fmla="*/ 349 w 358"/>
                  <a:gd name="T67" fmla="*/ 77 h 79"/>
                  <a:gd name="T68" fmla="*/ 346 w 358"/>
                  <a:gd name="T69" fmla="*/ 78 h 79"/>
                  <a:gd name="T70" fmla="*/ 342 w 358"/>
                  <a:gd name="T71" fmla="*/ 79 h 79"/>
                  <a:gd name="T72" fmla="*/ 339 w 358"/>
                  <a:gd name="T73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8" h="79">
                    <a:moveTo>
                      <a:pt x="339" y="79"/>
                    </a:moveTo>
                    <a:lnTo>
                      <a:pt x="337" y="79"/>
                    </a:lnTo>
                    <a:lnTo>
                      <a:pt x="336" y="79"/>
                    </a:lnTo>
                    <a:lnTo>
                      <a:pt x="17" y="40"/>
                    </a:lnTo>
                    <a:lnTo>
                      <a:pt x="12" y="38"/>
                    </a:lnTo>
                    <a:lnTo>
                      <a:pt x="9" y="37"/>
                    </a:lnTo>
                    <a:lnTo>
                      <a:pt x="6" y="35"/>
                    </a:lnTo>
                    <a:lnTo>
                      <a:pt x="3" y="32"/>
                    </a:lnTo>
                    <a:lnTo>
                      <a:pt x="1" y="29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341" y="40"/>
                    </a:lnTo>
                    <a:lnTo>
                      <a:pt x="345" y="41"/>
                    </a:lnTo>
                    <a:lnTo>
                      <a:pt x="349" y="42"/>
                    </a:lnTo>
                    <a:lnTo>
                      <a:pt x="352" y="45"/>
                    </a:lnTo>
                    <a:lnTo>
                      <a:pt x="355" y="47"/>
                    </a:lnTo>
                    <a:lnTo>
                      <a:pt x="357" y="51"/>
                    </a:lnTo>
                    <a:lnTo>
                      <a:pt x="358" y="55"/>
                    </a:lnTo>
                    <a:lnTo>
                      <a:pt x="358" y="58"/>
                    </a:lnTo>
                    <a:lnTo>
                      <a:pt x="358" y="62"/>
                    </a:lnTo>
                    <a:lnTo>
                      <a:pt x="357" y="66"/>
                    </a:lnTo>
                    <a:lnTo>
                      <a:pt x="356" y="70"/>
                    </a:lnTo>
                    <a:lnTo>
                      <a:pt x="355" y="72"/>
                    </a:lnTo>
                    <a:lnTo>
                      <a:pt x="352" y="74"/>
                    </a:lnTo>
                    <a:lnTo>
                      <a:pt x="349" y="77"/>
                    </a:lnTo>
                    <a:lnTo>
                      <a:pt x="346" y="78"/>
                    </a:lnTo>
                    <a:lnTo>
                      <a:pt x="342" y="79"/>
                    </a:lnTo>
                    <a:lnTo>
                      <a:pt x="339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81"/>
              <p:cNvSpPr>
                <a:spLocks/>
              </p:cNvSpPr>
              <p:nvPr/>
            </p:nvSpPr>
            <p:spPr bwMode="auto">
              <a:xfrm>
                <a:off x="3232610" y="3053903"/>
                <a:ext cx="219551" cy="49814"/>
              </a:xfrm>
              <a:custGeom>
                <a:avLst/>
                <a:gdLst>
                  <a:gd name="T0" fmla="*/ 339 w 358"/>
                  <a:gd name="T1" fmla="*/ 80 h 80"/>
                  <a:gd name="T2" fmla="*/ 337 w 358"/>
                  <a:gd name="T3" fmla="*/ 80 h 80"/>
                  <a:gd name="T4" fmla="*/ 336 w 358"/>
                  <a:gd name="T5" fmla="*/ 80 h 80"/>
                  <a:gd name="T6" fmla="*/ 17 w 358"/>
                  <a:gd name="T7" fmla="*/ 40 h 80"/>
                  <a:gd name="T8" fmla="*/ 12 w 358"/>
                  <a:gd name="T9" fmla="*/ 39 h 80"/>
                  <a:gd name="T10" fmla="*/ 9 w 358"/>
                  <a:gd name="T11" fmla="*/ 37 h 80"/>
                  <a:gd name="T12" fmla="*/ 6 w 358"/>
                  <a:gd name="T13" fmla="*/ 35 h 80"/>
                  <a:gd name="T14" fmla="*/ 3 w 358"/>
                  <a:gd name="T15" fmla="*/ 33 h 80"/>
                  <a:gd name="T16" fmla="*/ 1 w 358"/>
                  <a:gd name="T17" fmla="*/ 29 h 80"/>
                  <a:gd name="T18" fmla="*/ 0 w 358"/>
                  <a:gd name="T19" fmla="*/ 25 h 80"/>
                  <a:gd name="T20" fmla="*/ 0 w 358"/>
                  <a:gd name="T21" fmla="*/ 21 h 80"/>
                  <a:gd name="T22" fmla="*/ 0 w 358"/>
                  <a:gd name="T23" fmla="*/ 18 h 80"/>
                  <a:gd name="T24" fmla="*/ 0 w 358"/>
                  <a:gd name="T25" fmla="*/ 14 h 80"/>
                  <a:gd name="T26" fmla="*/ 2 w 358"/>
                  <a:gd name="T27" fmla="*/ 10 h 80"/>
                  <a:gd name="T28" fmla="*/ 3 w 358"/>
                  <a:gd name="T29" fmla="*/ 6 h 80"/>
                  <a:gd name="T30" fmla="*/ 7 w 358"/>
                  <a:gd name="T31" fmla="*/ 4 h 80"/>
                  <a:gd name="T32" fmla="*/ 9 w 358"/>
                  <a:gd name="T33" fmla="*/ 1 h 80"/>
                  <a:gd name="T34" fmla="*/ 13 w 358"/>
                  <a:gd name="T35" fmla="*/ 0 h 80"/>
                  <a:gd name="T36" fmla="*/ 17 w 358"/>
                  <a:gd name="T37" fmla="*/ 0 h 80"/>
                  <a:gd name="T38" fmla="*/ 22 w 358"/>
                  <a:gd name="T39" fmla="*/ 0 h 80"/>
                  <a:gd name="T40" fmla="*/ 341 w 358"/>
                  <a:gd name="T41" fmla="*/ 40 h 80"/>
                  <a:gd name="T42" fmla="*/ 345 w 358"/>
                  <a:gd name="T43" fmla="*/ 41 h 80"/>
                  <a:gd name="T44" fmla="*/ 349 w 358"/>
                  <a:gd name="T45" fmla="*/ 42 h 80"/>
                  <a:gd name="T46" fmla="*/ 352 w 358"/>
                  <a:gd name="T47" fmla="*/ 45 h 80"/>
                  <a:gd name="T48" fmla="*/ 355 w 358"/>
                  <a:gd name="T49" fmla="*/ 47 h 80"/>
                  <a:gd name="T50" fmla="*/ 357 w 358"/>
                  <a:gd name="T51" fmla="*/ 51 h 80"/>
                  <a:gd name="T52" fmla="*/ 358 w 358"/>
                  <a:gd name="T53" fmla="*/ 55 h 80"/>
                  <a:gd name="T54" fmla="*/ 358 w 358"/>
                  <a:gd name="T55" fmla="*/ 59 h 80"/>
                  <a:gd name="T56" fmla="*/ 358 w 358"/>
                  <a:gd name="T57" fmla="*/ 62 h 80"/>
                  <a:gd name="T58" fmla="*/ 357 w 358"/>
                  <a:gd name="T59" fmla="*/ 66 h 80"/>
                  <a:gd name="T60" fmla="*/ 356 w 358"/>
                  <a:gd name="T61" fmla="*/ 70 h 80"/>
                  <a:gd name="T62" fmla="*/ 355 w 358"/>
                  <a:gd name="T63" fmla="*/ 72 h 80"/>
                  <a:gd name="T64" fmla="*/ 352 w 358"/>
                  <a:gd name="T65" fmla="*/ 75 h 80"/>
                  <a:gd name="T66" fmla="*/ 349 w 358"/>
                  <a:gd name="T67" fmla="*/ 77 h 80"/>
                  <a:gd name="T68" fmla="*/ 346 w 358"/>
                  <a:gd name="T69" fmla="*/ 78 h 80"/>
                  <a:gd name="T70" fmla="*/ 342 w 358"/>
                  <a:gd name="T71" fmla="*/ 80 h 80"/>
                  <a:gd name="T72" fmla="*/ 339 w 358"/>
                  <a:gd name="T7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8" h="80">
                    <a:moveTo>
                      <a:pt x="339" y="80"/>
                    </a:moveTo>
                    <a:lnTo>
                      <a:pt x="337" y="80"/>
                    </a:lnTo>
                    <a:lnTo>
                      <a:pt x="336" y="80"/>
                    </a:lnTo>
                    <a:lnTo>
                      <a:pt x="17" y="40"/>
                    </a:lnTo>
                    <a:lnTo>
                      <a:pt x="12" y="39"/>
                    </a:lnTo>
                    <a:lnTo>
                      <a:pt x="9" y="37"/>
                    </a:lnTo>
                    <a:lnTo>
                      <a:pt x="6" y="35"/>
                    </a:lnTo>
                    <a:lnTo>
                      <a:pt x="3" y="33"/>
                    </a:lnTo>
                    <a:lnTo>
                      <a:pt x="1" y="29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341" y="40"/>
                    </a:lnTo>
                    <a:lnTo>
                      <a:pt x="345" y="41"/>
                    </a:lnTo>
                    <a:lnTo>
                      <a:pt x="349" y="42"/>
                    </a:lnTo>
                    <a:lnTo>
                      <a:pt x="352" y="45"/>
                    </a:lnTo>
                    <a:lnTo>
                      <a:pt x="355" y="47"/>
                    </a:lnTo>
                    <a:lnTo>
                      <a:pt x="357" y="51"/>
                    </a:lnTo>
                    <a:lnTo>
                      <a:pt x="358" y="55"/>
                    </a:lnTo>
                    <a:lnTo>
                      <a:pt x="358" y="59"/>
                    </a:lnTo>
                    <a:lnTo>
                      <a:pt x="358" y="62"/>
                    </a:lnTo>
                    <a:lnTo>
                      <a:pt x="357" y="66"/>
                    </a:lnTo>
                    <a:lnTo>
                      <a:pt x="356" y="70"/>
                    </a:lnTo>
                    <a:lnTo>
                      <a:pt x="355" y="72"/>
                    </a:lnTo>
                    <a:lnTo>
                      <a:pt x="352" y="75"/>
                    </a:lnTo>
                    <a:lnTo>
                      <a:pt x="349" y="77"/>
                    </a:lnTo>
                    <a:lnTo>
                      <a:pt x="346" y="78"/>
                    </a:lnTo>
                    <a:lnTo>
                      <a:pt x="342" y="80"/>
                    </a:lnTo>
                    <a:lnTo>
                      <a:pt x="339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2"/>
              <p:cNvSpPr>
                <a:spLocks/>
              </p:cNvSpPr>
              <p:nvPr/>
            </p:nvSpPr>
            <p:spPr bwMode="auto">
              <a:xfrm>
                <a:off x="3009369" y="2758708"/>
                <a:ext cx="99628" cy="23985"/>
              </a:xfrm>
              <a:custGeom>
                <a:avLst/>
                <a:gdLst>
                  <a:gd name="T0" fmla="*/ 139 w 161"/>
                  <a:gd name="T1" fmla="*/ 40 h 40"/>
                  <a:gd name="T2" fmla="*/ 20 w 161"/>
                  <a:gd name="T3" fmla="*/ 40 h 40"/>
                  <a:gd name="T4" fmla="*/ 16 w 161"/>
                  <a:gd name="T5" fmla="*/ 40 h 40"/>
                  <a:gd name="T6" fmla="*/ 13 w 161"/>
                  <a:gd name="T7" fmla="*/ 39 h 40"/>
                  <a:gd name="T8" fmla="*/ 9 w 161"/>
                  <a:gd name="T9" fmla="*/ 38 h 40"/>
                  <a:gd name="T10" fmla="*/ 5 w 161"/>
                  <a:gd name="T11" fmla="*/ 35 h 40"/>
                  <a:gd name="T12" fmla="*/ 4 w 161"/>
                  <a:gd name="T13" fmla="*/ 31 h 40"/>
                  <a:gd name="T14" fmla="*/ 2 w 161"/>
                  <a:gd name="T15" fmla="*/ 29 h 40"/>
                  <a:gd name="T16" fmla="*/ 0 w 161"/>
                  <a:gd name="T17" fmla="*/ 25 h 40"/>
                  <a:gd name="T18" fmla="*/ 0 w 161"/>
                  <a:gd name="T19" fmla="*/ 20 h 40"/>
                  <a:gd name="T20" fmla="*/ 0 w 161"/>
                  <a:gd name="T21" fmla="*/ 17 h 40"/>
                  <a:gd name="T22" fmla="*/ 2 w 161"/>
                  <a:gd name="T23" fmla="*/ 13 h 40"/>
                  <a:gd name="T24" fmla="*/ 4 w 161"/>
                  <a:gd name="T25" fmla="*/ 9 h 40"/>
                  <a:gd name="T26" fmla="*/ 5 w 161"/>
                  <a:gd name="T27" fmla="*/ 7 h 40"/>
                  <a:gd name="T28" fmla="*/ 9 w 161"/>
                  <a:gd name="T29" fmla="*/ 4 h 40"/>
                  <a:gd name="T30" fmla="*/ 13 w 161"/>
                  <a:gd name="T31" fmla="*/ 3 h 40"/>
                  <a:gd name="T32" fmla="*/ 16 w 161"/>
                  <a:gd name="T33" fmla="*/ 2 h 40"/>
                  <a:gd name="T34" fmla="*/ 20 w 161"/>
                  <a:gd name="T35" fmla="*/ 0 h 40"/>
                  <a:gd name="T36" fmla="*/ 139 w 161"/>
                  <a:gd name="T37" fmla="*/ 0 h 40"/>
                  <a:gd name="T38" fmla="*/ 144 w 161"/>
                  <a:gd name="T39" fmla="*/ 2 h 40"/>
                  <a:gd name="T40" fmla="*/ 148 w 161"/>
                  <a:gd name="T41" fmla="*/ 3 h 40"/>
                  <a:gd name="T42" fmla="*/ 151 w 161"/>
                  <a:gd name="T43" fmla="*/ 4 h 40"/>
                  <a:gd name="T44" fmla="*/ 154 w 161"/>
                  <a:gd name="T45" fmla="*/ 7 h 40"/>
                  <a:gd name="T46" fmla="*/ 157 w 161"/>
                  <a:gd name="T47" fmla="*/ 9 h 40"/>
                  <a:gd name="T48" fmla="*/ 158 w 161"/>
                  <a:gd name="T49" fmla="*/ 13 h 40"/>
                  <a:gd name="T50" fmla="*/ 159 w 161"/>
                  <a:gd name="T51" fmla="*/ 17 h 40"/>
                  <a:gd name="T52" fmla="*/ 161 w 161"/>
                  <a:gd name="T53" fmla="*/ 20 h 40"/>
                  <a:gd name="T54" fmla="*/ 159 w 161"/>
                  <a:gd name="T55" fmla="*/ 25 h 40"/>
                  <a:gd name="T56" fmla="*/ 158 w 161"/>
                  <a:gd name="T57" fmla="*/ 29 h 40"/>
                  <a:gd name="T58" fmla="*/ 157 w 161"/>
                  <a:gd name="T59" fmla="*/ 31 h 40"/>
                  <a:gd name="T60" fmla="*/ 154 w 161"/>
                  <a:gd name="T61" fmla="*/ 35 h 40"/>
                  <a:gd name="T62" fmla="*/ 151 w 161"/>
                  <a:gd name="T63" fmla="*/ 38 h 40"/>
                  <a:gd name="T64" fmla="*/ 148 w 161"/>
                  <a:gd name="T65" fmla="*/ 39 h 40"/>
                  <a:gd name="T66" fmla="*/ 144 w 161"/>
                  <a:gd name="T67" fmla="*/ 40 h 40"/>
                  <a:gd name="T68" fmla="*/ 139 w 161"/>
                  <a:gd name="T6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1" h="40">
                    <a:moveTo>
                      <a:pt x="139" y="40"/>
                    </a:moveTo>
                    <a:lnTo>
                      <a:pt x="20" y="40"/>
                    </a:lnTo>
                    <a:lnTo>
                      <a:pt x="16" y="40"/>
                    </a:lnTo>
                    <a:lnTo>
                      <a:pt x="13" y="39"/>
                    </a:lnTo>
                    <a:lnTo>
                      <a:pt x="9" y="38"/>
                    </a:lnTo>
                    <a:lnTo>
                      <a:pt x="5" y="35"/>
                    </a:lnTo>
                    <a:lnTo>
                      <a:pt x="4" y="31"/>
                    </a:lnTo>
                    <a:lnTo>
                      <a:pt x="2" y="29"/>
                    </a:lnTo>
                    <a:lnTo>
                      <a:pt x="0" y="25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5" y="7"/>
                    </a:lnTo>
                    <a:lnTo>
                      <a:pt x="9" y="4"/>
                    </a:lnTo>
                    <a:lnTo>
                      <a:pt x="13" y="3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139" y="0"/>
                    </a:lnTo>
                    <a:lnTo>
                      <a:pt x="144" y="2"/>
                    </a:lnTo>
                    <a:lnTo>
                      <a:pt x="148" y="3"/>
                    </a:lnTo>
                    <a:lnTo>
                      <a:pt x="151" y="4"/>
                    </a:lnTo>
                    <a:lnTo>
                      <a:pt x="154" y="7"/>
                    </a:lnTo>
                    <a:lnTo>
                      <a:pt x="157" y="9"/>
                    </a:lnTo>
                    <a:lnTo>
                      <a:pt x="158" y="13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59" y="25"/>
                    </a:lnTo>
                    <a:lnTo>
                      <a:pt x="158" y="29"/>
                    </a:lnTo>
                    <a:lnTo>
                      <a:pt x="157" y="31"/>
                    </a:lnTo>
                    <a:lnTo>
                      <a:pt x="154" y="35"/>
                    </a:lnTo>
                    <a:lnTo>
                      <a:pt x="151" y="38"/>
                    </a:lnTo>
                    <a:lnTo>
                      <a:pt x="148" y="39"/>
                    </a:lnTo>
                    <a:lnTo>
                      <a:pt x="144" y="40"/>
                    </a:lnTo>
                    <a:lnTo>
                      <a:pt x="139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3"/>
              <p:cNvSpPr>
                <a:spLocks/>
              </p:cNvSpPr>
              <p:nvPr/>
            </p:nvSpPr>
            <p:spPr bwMode="auto">
              <a:xfrm>
                <a:off x="3575774" y="2758708"/>
                <a:ext cx="97783" cy="23985"/>
              </a:xfrm>
              <a:custGeom>
                <a:avLst/>
                <a:gdLst>
                  <a:gd name="T0" fmla="*/ 141 w 161"/>
                  <a:gd name="T1" fmla="*/ 40 h 40"/>
                  <a:gd name="T2" fmla="*/ 20 w 161"/>
                  <a:gd name="T3" fmla="*/ 40 h 40"/>
                  <a:gd name="T4" fmla="*/ 17 w 161"/>
                  <a:gd name="T5" fmla="*/ 40 h 40"/>
                  <a:gd name="T6" fmla="*/ 13 w 161"/>
                  <a:gd name="T7" fmla="*/ 39 h 40"/>
                  <a:gd name="T8" fmla="*/ 9 w 161"/>
                  <a:gd name="T9" fmla="*/ 38 h 40"/>
                  <a:gd name="T10" fmla="*/ 7 w 161"/>
                  <a:gd name="T11" fmla="*/ 35 h 40"/>
                  <a:gd name="T12" fmla="*/ 4 w 161"/>
                  <a:gd name="T13" fmla="*/ 31 h 40"/>
                  <a:gd name="T14" fmla="*/ 2 w 161"/>
                  <a:gd name="T15" fmla="*/ 29 h 40"/>
                  <a:gd name="T16" fmla="*/ 2 w 161"/>
                  <a:gd name="T17" fmla="*/ 25 h 40"/>
                  <a:gd name="T18" fmla="*/ 0 w 161"/>
                  <a:gd name="T19" fmla="*/ 20 h 40"/>
                  <a:gd name="T20" fmla="*/ 2 w 161"/>
                  <a:gd name="T21" fmla="*/ 17 h 40"/>
                  <a:gd name="T22" fmla="*/ 2 w 161"/>
                  <a:gd name="T23" fmla="*/ 13 h 40"/>
                  <a:gd name="T24" fmla="*/ 4 w 161"/>
                  <a:gd name="T25" fmla="*/ 9 h 40"/>
                  <a:gd name="T26" fmla="*/ 7 w 161"/>
                  <a:gd name="T27" fmla="*/ 7 h 40"/>
                  <a:gd name="T28" fmla="*/ 9 w 161"/>
                  <a:gd name="T29" fmla="*/ 4 h 40"/>
                  <a:gd name="T30" fmla="*/ 13 w 161"/>
                  <a:gd name="T31" fmla="*/ 3 h 40"/>
                  <a:gd name="T32" fmla="*/ 17 w 161"/>
                  <a:gd name="T33" fmla="*/ 2 h 40"/>
                  <a:gd name="T34" fmla="*/ 20 w 161"/>
                  <a:gd name="T35" fmla="*/ 0 h 40"/>
                  <a:gd name="T36" fmla="*/ 141 w 161"/>
                  <a:gd name="T37" fmla="*/ 0 h 40"/>
                  <a:gd name="T38" fmla="*/ 144 w 161"/>
                  <a:gd name="T39" fmla="*/ 2 h 40"/>
                  <a:gd name="T40" fmla="*/ 148 w 161"/>
                  <a:gd name="T41" fmla="*/ 3 h 40"/>
                  <a:gd name="T42" fmla="*/ 152 w 161"/>
                  <a:gd name="T43" fmla="*/ 4 h 40"/>
                  <a:gd name="T44" fmla="*/ 154 w 161"/>
                  <a:gd name="T45" fmla="*/ 7 h 40"/>
                  <a:gd name="T46" fmla="*/ 157 w 161"/>
                  <a:gd name="T47" fmla="*/ 9 h 40"/>
                  <a:gd name="T48" fmla="*/ 159 w 161"/>
                  <a:gd name="T49" fmla="*/ 13 h 40"/>
                  <a:gd name="T50" fmla="*/ 161 w 161"/>
                  <a:gd name="T51" fmla="*/ 17 h 40"/>
                  <a:gd name="T52" fmla="*/ 161 w 161"/>
                  <a:gd name="T53" fmla="*/ 20 h 40"/>
                  <a:gd name="T54" fmla="*/ 161 w 161"/>
                  <a:gd name="T55" fmla="*/ 25 h 40"/>
                  <a:gd name="T56" fmla="*/ 159 w 161"/>
                  <a:gd name="T57" fmla="*/ 29 h 40"/>
                  <a:gd name="T58" fmla="*/ 157 w 161"/>
                  <a:gd name="T59" fmla="*/ 31 h 40"/>
                  <a:gd name="T60" fmla="*/ 154 w 161"/>
                  <a:gd name="T61" fmla="*/ 35 h 40"/>
                  <a:gd name="T62" fmla="*/ 152 w 161"/>
                  <a:gd name="T63" fmla="*/ 38 h 40"/>
                  <a:gd name="T64" fmla="*/ 148 w 161"/>
                  <a:gd name="T65" fmla="*/ 39 h 40"/>
                  <a:gd name="T66" fmla="*/ 144 w 161"/>
                  <a:gd name="T67" fmla="*/ 40 h 40"/>
                  <a:gd name="T68" fmla="*/ 141 w 161"/>
                  <a:gd name="T6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1" h="40">
                    <a:moveTo>
                      <a:pt x="141" y="40"/>
                    </a:moveTo>
                    <a:lnTo>
                      <a:pt x="20" y="40"/>
                    </a:lnTo>
                    <a:lnTo>
                      <a:pt x="17" y="40"/>
                    </a:lnTo>
                    <a:lnTo>
                      <a:pt x="13" y="39"/>
                    </a:lnTo>
                    <a:lnTo>
                      <a:pt x="9" y="38"/>
                    </a:lnTo>
                    <a:lnTo>
                      <a:pt x="7" y="35"/>
                    </a:lnTo>
                    <a:lnTo>
                      <a:pt x="4" y="31"/>
                    </a:lnTo>
                    <a:lnTo>
                      <a:pt x="2" y="29"/>
                    </a:lnTo>
                    <a:lnTo>
                      <a:pt x="2" y="25"/>
                    </a:lnTo>
                    <a:lnTo>
                      <a:pt x="0" y="20"/>
                    </a:lnTo>
                    <a:lnTo>
                      <a:pt x="2" y="17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7"/>
                    </a:lnTo>
                    <a:lnTo>
                      <a:pt x="9" y="4"/>
                    </a:lnTo>
                    <a:lnTo>
                      <a:pt x="13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141" y="0"/>
                    </a:lnTo>
                    <a:lnTo>
                      <a:pt x="144" y="2"/>
                    </a:lnTo>
                    <a:lnTo>
                      <a:pt x="148" y="3"/>
                    </a:lnTo>
                    <a:lnTo>
                      <a:pt x="152" y="4"/>
                    </a:lnTo>
                    <a:lnTo>
                      <a:pt x="154" y="7"/>
                    </a:lnTo>
                    <a:lnTo>
                      <a:pt x="157" y="9"/>
                    </a:lnTo>
                    <a:lnTo>
                      <a:pt x="159" y="13"/>
                    </a:lnTo>
                    <a:lnTo>
                      <a:pt x="161" y="17"/>
                    </a:lnTo>
                    <a:lnTo>
                      <a:pt x="161" y="20"/>
                    </a:lnTo>
                    <a:lnTo>
                      <a:pt x="161" y="25"/>
                    </a:lnTo>
                    <a:lnTo>
                      <a:pt x="159" y="29"/>
                    </a:lnTo>
                    <a:lnTo>
                      <a:pt x="157" y="31"/>
                    </a:lnTo>
                    <a:lnTo>
                      <a:pt x="154" y="35"/>
                    </a:lnTo>
                    <a:lnTo>
                      <a:pt x="152" y="38"/>
                    </a:lnTo>
                    <a:lnTo>
                      <a:pt x="148" y="39"/>
                    </a:lnTo>
                    <a:lnTo>
                      <a:pt x="144" y="40"/>
                    </a:lnTo>
                    <a:lnTo>
                      <a:pt x="141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84"/>
              <p:cNvSpPr>
                <a:spLocks/>
              </p:cNvSpPr>
              <p:nvPr/>
            </p:nvSpPr>
            <p:spPr bwMode="auto">
              <a:xfrm>
                <a:off x="3103462" y="2533622"/>
                <a:ext cx="77489" cy="75644"/>
              </a:xfrm>
              <a:custGeom>
                <a:avLst/>
                <a:gdLst>
                  <a:gd name="T0" fmla="*/ 105 w 125"/>
                  <a:gd name="T1" fmla="*/ 125 h 125"/>
                  <a:gd name="T2" fmla="*/ 102 w 125"/>
                  <a:gd name="T3" fmla="*/ 125 h 125"/>
                  <a:gd name="T4" fmla="*/ 98 w 125"/>
                  <a:gd name="T5" fmla="*/ 124 h 125"/>
                  <a:gd name="T6" fmla="*/ 94 w 125"/>
                  <a:gd name="T7" fmla="*/ 121 h 125"/>
                  <a:gd name="T8" fmla="*/ 91 w 125"/>
                  <a:gd name="T9" fmla="*/ 119 h 125"/>
                  <a:gd name="T10" fmla="*/ 6 w 125"/>
                  <a:gd name="T11" fmla="*/ 34 h 125"/>
                  <a:gd name="T12" fmla="*/ 4 w 125"/>
                  <a:gd name="T13" fmla="*/ 31 h 125"/>
                  <a:gd name="T14" fmla="*/ 2 w 125"/>
                  <a:gd name="T15" fmla="*/ 28 h 125"/>
                  <a:gd name="T16" fmla="*/ 1 w 125"/>
                  <a:gd name="T17" fmla="*/ 25 h 125"/>
                  <a:gd name="T18" fmla="*/ 0 w 125"/>
                  <a:gd name="T19" fmla="*/ 20 h 125"/>
                  <a:gd name="T20" fmla="*/ 1 w 125"/>
                  <a:gd name="T21" fmla="*/ 16 h 125"/>
                  <a:gd name="T22" fmla="*/ 2 w 125"/>
                  <a:gd name="T23" fmla="*/ 12 h 125"/>
                  <a:gd name="T24" fmla="*/ 4 w 125"/>
                  <a:gd name="T25" fmla="*/ 10 h 125"/>
                  <a:gd name="T26" fmla="*/ 6 w 125"/>
                  <a:gd name="T27" fmla="*/ 6 h 125"/>
                  <a:gd name="T28" fmla="*/ 10 w 125"/>
                  <a:gd name="T29" fmla="*/ 3 h 125"/>
                  <a:gd name="T30" fmla="*/ 12 w 125"/>
                  <a:gd name="T31" fmla="*/ 2 h 125"/>
                  <a:gd name="T32" fmla="*/ 16 w 125"/>
                  <a:gd name="T33" fmla="*/ 1 h 125"/>
                  <a:gd name="T34" fmla="*/ 20 w 125"/>
                  <a:gd name="T35" fmla="*/ 0 h 125"/>
                  <a:gd name="T36" fmla="*/ 25 w 125"/>
                  <a:gd name="T37" fmla="*/ 1 h 125"/>
                  <a:gd name="T38" fmla="*/ 28 w 125"/>
                  <a:gd name="T39" fmla="*/ 2 h 125"/>
                  <a:gd name="T40" fmla="*/ 31 w 125"/>
                  <a:gd name="T41" fmla="*/ 3 h 125"/>
                  <a:gd name="T42" fmla="*/ 35 w 125"/>
                  <a:gd name="T43" fmla="*/ 6 h 125"/>
                  <a:gd name="T44" fmla="*/ 119 w 125"/>
                  <a:gd name="T45" fmla="*/ 90 h 125"/>
                  <a:gd name="T46" fmla="*/ 122 w 125"/>
                  <a:gd name="T47" fmla="*/ 94 h 125"/>
                  <a:gd name="T48" fmla="*/ 124 w 125"/>
                  <a:gd name="T49" fmla="*/ 98 h 125"/>
                  <a:gd name="T50" fmla="*/ 125 w 125"/>
                  <a:gd name="T51" fmla="*/ 102 h 125"/>
                  <a:gd name="T52" fmla="*/ 125 w 125"/>
                  <a:gd name="T53" fmla="*/ 105 h 125"/>
                  <a:gd name="T54" fmla="*/ 125 w 125"/>
                  <a:gd name="T55" fmla="*/ 109 h 125"/>
                  <a:gd name="T56" fmla="*/ 124 w 125"/>
                  <a:gd name="T57" fmla="*/ 113 h 125"/>
                  <a:gd name="T58" fmla="*/ 122 w 125"/>
                  <a:gd name="T59" fmla="*/ 116 h 125"/>
                  <a:gd name="T60" fmla="*/ 119 w 125"/>
                  <a:gd name="T61" fmla="*/ 119 h 125"/>
                  <a:gd name="T62" fmla="*/ 117 w 125"/>
                  <a:gd name="T63" fmla="*/ 121 h 125"/>
                  <a:gd name="T64" fmla="*/ 113 w 125"/>
                  <a:gd name="T65" fmla="*/ 124 h 125"/>
                  <a:gd name="T66" fmla="*/ 109 w 125"/>
                  <a:gd name="T67" fmla="*/ 125 h 125"/>
                  <a:gd name="T68" fmla="*/ 105 w 125"/>
                  <a:gd name="T69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5" h="125">
                    <a:moveTo>
                      <a:pt x="105" y="125"/>
                    </a:moveTo>
                    <a:lnTo>
                      <a:pt x="102" y="125"/>
                    </a:lnTo>
                    <a:lnTo>
                      <a:pt x="98" y="124"/>
                    </a:lnTo>
                    <a:lnTo>
                      <a:pt x="94" y="121"/>
                    </a:lnTo>
                    <a:lnTo>
                      <a:pt x="91" y="119"/>
                    </a:lnTo>
                    <a:lnTo>
                      <a:pt x="6" y="34"/>
                    </a:lnTo>
                    <a:lnTo>
                      <a:pt x="4" y="31"/>
                    </a:lnTo>
                    <a:lnTo>
                      <a:pt x="2" y="28"/>
                    </a:lnTo>
                    <a:lnTo>
                      <a:pt x="1" y="25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10" y="3"/>
                    </a:lnTo>
                    <a:lnTo>
                      <a:pt x="12" y="2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1"/>
                    </a:lnTo>
                    <a:lnTo>
                      <a:pt x="28" y="2"/>
                    </a:lnTo>
                    <a:lnTo>
                      <a:pt x="31" y="3"/>
                    </a:lnTo>
                    <a:lnTo>
                      <a:pt x="35" y="6"/>
                    </a:lnTo>
                    <a:lnTo>
                      <a:pt x="119" y="90"/>
                    </a:lnTo>
                    <a:lnTo>
                      <a:pt x="122" y="94"/>
                    </a:lnTo>
                    <a:lnTo>
                      <a:pt x="124" y="98"/>
                    </a:lnTo>
                    <a:lnTo>
                      <a:pt x="125" y="102"/>
                    </a:lnTo>
                    <a:lnTo>
                      <a:pt x="125" y="105"/>
                    </a:lnTo>
                    <a:lnTo>
                      <a:pt x="125" y="109"/>
                    </a:lnTo>
                    <a:lnTo>
                      <a:pt x="124" y="113"/>
                    </a:lnTo>
                    <a:lnTo>
                      <a:pt x="122" y="116"/>
                    </a:lnTo>
                    <a:lnTo>
                      <a:pt x="119" y="119"/>
                    </a:lnTo>
                    <a:lnTo>
                      <a:pt x="117" y="121"/>
                    </a:lnTo>
                    <a:lnTo>
                      <a:pt x="113" y="124"/>
                    </a:lnTo>
                    <a:lnTo>
                      <a:pt x="109" y="125"/>
                    </a:lnTo>
                    <a:lnTo>
                      <a:pt x="105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5"/>
              <p:cNvSpPr>
                <a:spLocks/>
              </p:cNvSpPr>
              <p:nvPr/>
            </p:nvSpPr>
            <p:spPr bwMode="auto">
              <a:xfrm>
                <a:off x="3503820" y="2933980"/>
                <a:ext cx="75644" cy="75644"/>
              </a:xfrm>
              <a:custGeom>
                <a:avLst/>
                <a:gdLst>
                  <a:gd name="T0" fmla="*/ 104 w 124"/>
                  <a:gd name="T1" fmla="*/ 124 h 124"/>
                  <a:gd name="T2" fmla="*/ 100 w 124"/>
                  <a:gd name="T3" fmla="*/ 124 h 124"/>
                  <a:gd name="T4" fmla="*/ 97 w 124"/>
                  <a:gd name="T5" fmla="*/ 123 h 124"/>
                  <a:gd name="T6" fmla="*/ 93 w 124"/>
                  <a:gd name="T7" fmla="*/ 121 h 124"/>
                  <a:gd name="T8" fmla="*/ 90 w 124"/>
                  <a:gd name="T9" fmla="*/ 119 h 124"/>
                  <a:gd name="T10" fmla="*/ 6 w 124"/>
                  <a:gd name="T11" fmla="*/ 33 h 124"/>
                  <a:gd name="T12" fmla="*/ 3 w 124"/>
                  <a:gd name="T13" fmla="*/ 31 h 124"/>
                  <a:gd name="T14" fmla="*/ 1 w 124"/>
                  <a:gd name="T15" fmla="*/ 27 h 124"/>
                  <a:gd name="T16" fmla="*/ 0 w 124"/>
                  <a:gd name="T17" fmla="*/ 23 h 124"/>
                  <a:gd name="T18" fmla="*/ 0 w 124"/>
                  <a:gd name="T19" fmla="*/ 20 h 124"/>
                  <a:gd name="T20" fmla="*/ 0 w 124"/>
                  <a:gd name="T21" fmla="*/ 16 h 124"/>
                  <a:gd name="T22" fmla="*/ 1 w 124"/>
                  <a:gd name="T23" fmla="*/ 12 h 124"/>
                  <a:gd name="T24" fmla="*/ 3 w 124"/>
                  <a:gd name="T25" fmla="*/ 8 h 124"/>
                  <a:gd name="T26" fmla="*/ 6 w 124"/>
                  <a:gd name="T27" fmla="*/ 6 h 124"/>
                  <a:gd name="T28" fmla="*/ 8 w 124"/>
                  <a:gd name="T29" fmla="*/ 3 h 124"/>
                  <a:gd name="T30" fmla="*/ 12 w 124"/>
                  <a:gd name="T31" fmla="*/ 1 h 124"/>
                  <a:gd name="T32" fmla="*/ 16 w 124"/>
                  <a:gd name="T33" fmla="*/ 0 h 124"/>
                  <a:gd name="T34" fmla="*/ 20 w 124"/>
                  <a:gd name="T35" fmla="*/ 0 h 124"/>
                  <a:gd name="T36" fmla="*/ 23 w 124"/>
                  <a:gd name="T37" fmla="*/ 0 h 124"/>
                  <a:gd name="T38" fmla="*/ 27 w 124"/>
                  <a:gd name="T39" fmla="*/ 1 h 124"/>
                  <a:gd name="T40" fmla="*/ 31 w 124"/>
                  <a:gd name="T41" fmla="*/ 3 h 124"/>
                  <a:gd name="T42" fmla="*/ 33 w 124"/>
                  <a:gd name="T43" fmla="*/ 6 h 124"/>
                  <a:gd name="T44" fmla="*/ 119 w 124"/>
                  <a:gd name="T45" fmla="*/ 90 h 124"/>
                  <a:gd name="T46" fmla="*/ 121 w 124"/>
                  <a:gd name="T47" fmla="*/ 93 h 124"/>
                  <a:gd name="T48" fmla="*/ 123 w 124"/>
                  <a:gd name="T49" fmla="*/ 97 h 124"/>
                  <a:gd name="T50" fmla="*/ 124 w 124"/>
                  <a:gd name="T51" fmla="*/ 100 h 124"/>
                  <a:gd name="T52" fmla="*/ 124 w 124"/>
                  <a:gd name="T53" fmla="*/ 104 h 124"/>
                  <a:gd name="T54" fmla="*/ 124 w 124"/>
                  <a:gd name="T55" fmla="*/ 108 h 124"/>
                  <a:gd name="T56" fmla="*/ 123 w 124"/>
                  <a:gd name="T57" fmla="*/ 111 h 124"/>
                  <a:gd name="T58" fmla="*/ 121 w 124"/>
                  <a:gd name="T59" fmla="*/ 115 h 124"/>
                  <a:gd name="T60" fmla="*/ 119 w 124"/>
                  <a:gd name="T61" fmla="*/ 119 h 124"/>
                  <a:gd name="T62" fmla="*/ 115 w 124"/>
                  <a:gd name="T63" fmla="*/ 121 h 124"/>
                  <a:gd name="T64" fmla="*/ 111 w 124"/>
                  <a:gd name="T65" fmla="*/ 123 h 124"/>
                  <a:gd name="T66" fmla="*/ 108 w 124"/>
                  <a:gd name="T67" fmla="*/ 124 h 124"/>
                  <a:gd name="T68" fmla="*/ 104 w 124"/>
                  <a:gd name="T6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4" h="124">
                    <a:moveTo>
                      <a:pt x="104" y="124"/>
                    </a:moveTo>
                    <a:lnTo>
                      <a:pt x="100" y="124"/>
                    </a:lnTo>
                    <a:lnTo>
                      <a:pt x="97" y="123"/>
                    </a:lnTo>
                    <a:lnTo>
                      <a:pt x="93" y="121"/>
                    </a:lnTo>
                    <a:lnTo>
                      <a:pt x="90" y="119"/>
                    </a:lnTo>
                    <a:lnTo>
                      <a:pt x="6" y="33"/>
                    </a:lnTo>
                    <a:lnTo>
                      <a:pt x="3" y="31"/>
                    </a:lnTo>
                    <a:lnTo>
                      <a:pt x="1" y="27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8"/>
                    </a:lnTo>
                    <a:lnTo>
                      <a:pt x="6" y="6"/>
                    </a:lnTo>
                    <a:lnTo>
                      <a:pt x="8" y="3"/>
                    </a:lnTo>
                    <a:lnTo>
                      <a:pt x="12" y="1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7" y="1"/>
                    </a:lnTo>
                    <a:lnTo>
                      <a:pt x="31" y="3"/>
                    </a:lnTo>
                    <a:lnTo>
                      <a:pt x="33" y="6"/>
                    </a:lnTo>
                    <a:lnTo>
                      <a:pt x="119" y="90"/>
                    </a:lnTo>
                    <a:lnTo>
                      <a:pt x="121" y="93"/>
                    </a:lnTo>
                    <a:lnTo>
                      <a:pt x="123" y="97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4" y="108"/>
                    </a:lnTo>
                    <a:lnTo>
                      <a:pt x="123" y="111"/>
                    </a:lnTo>
                    <a:lnTo>
                      <a:pt x="121" y="115"/>
                    </a:lnTo>
                    <a:lnTo>
                      <a:pt x="119" y="119"/>
                    </a:lnTo>
                    <a:lnTo>
                      <a:pt x="115" y="121"/>
                    </a:lnTo>
                    <a:lnTo>
                      <a:pt x="111" y="123"/>
                    </a:lnTo>
                    <a:lnTo>
                      <a:pt x="108" y="124"/>
                    </a:lnTo>
                    <a:lnTo>
                      <a:pt x="104" y="1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6"/>
              <p:cNvSpPr>
                <a:spLocks/>
              </p:cNvSpPr>
              <p:nvPr/>
            </p:nvSpPr>
            <p:spPr bwMode="auto">
              <a:xfrm>
                <a:off x="3328548" y="2439528"/>
                <a:ext cx="25830" cy="97783"/>
              </a:xfrm>
              <a:custGeom>
                <a:avLst/>
                <a:gdLst>
                  <a:gd name="T0" fmla="*/ 20 w 40"/>
                  <a:gd name="T1" fmla="*/ 160 h 160"/>
                  <a:gd name="T2" fmla="*/ 17 w 40"/>
                  <a:gd name="T3" fmla="*/ 159 h 160"/>
                  <a:gd name="T4" fmla="*/ 13 w 40"/>
                  <a:gd name="T5" fmla="*/ 158 h 160"/>
                  <a:gd name="T6" fmla="*/ 9 w 40"/>
                  <a:gd name="T7" fmla="*/ 157 h 160"/>
                  <a:gd name="T8" fmla="*/ 7 w 40"/>
                  <a:gd name="T9" fmla="*/ 154 h 160"/>
                  <a:gd name="T10" fmla="*/ 4 w 40"/>
                  <a:gd name="T11" fmla="*/ 150 h 160"/>
                  <a:gd name="T12" fmla="*/ 3 w 40"/>
                  <a:gd name="T13" fmla="*/ 148 h 160"/>
                  <a:gd name="T14" fmla="*/ 2 w 40"/>
                  <a:gd name="T15" fmla="*/ 144 h 160"/>
                  <a:gd name="T16" fmla="*/ 0 w 40"/>
                  <a:gd name="T17" fmla="*/ 139 h 160"/>
                  <a:gd name="T18" fmla="*/ 0 w 40"/>
                  <a:gd name="T19" fmla="*/ 20 h 160"/>
                  <a:gd name="T20" fmla="*/ 2 w 40"/>
                  <a:gd name="T21" fmla="*/ 16 h 160"/>
                  <a:gd name="T22" fmla="*/ 3 w 40"/>
                  <a:gd name="T23" fmla="*/ 13 h 160"/>
                  <a:gd name="T24" fmla="*/ 4 w 40"/>
                  <a:gd name="T25" fmla="*/ 9 h 160"/>
                  <a:gd name="T26" fmla="*/ 7 w 40"/>
                  <a:gd name="T27" fmla="*/ 5 h 160"/>
                  <a:gd name="T28" fmla="*/ 9 w 40"/>
                  <a:gd name="T29" fmla="*/ 4 h 160"/>
                  <a:gd name="T30" fmla="*/ 13 w 40"/>
                  <a:gd name="T31" fmla="*/ 1 h 160"/>
                  <a:gd name="T32" fmla="*/ 17 w 40"/>
                  <a:gd name="T33" fmla="*/ 0 h 160"/>
                  <a:gd name="T34" fmla="*/ 20 w 40"/>
                  <a:gd name="T35" fmla="*/ 0 h 160"/>
                  <a:gd name="T36" fmla="*/ 25 w 40"/>
                  <a:gd name="T37" fmla="*/ 0 h 160"/>
                  <a:gd name="T38" fmla="*/ 29 w 40"/>
                  <a:gd name="T39" fmla="*/ 1 h 160"/>
                  <a:gd name="T40" fmla="*/ 32 w 40"/>
                  <a:gd name="T41" fmla="*/ 4 h 160"/>
                  <a:gd name="T42" fmla="*/ 35 w 40"/>
                  <a:gd name="T43" fmla="*/ 5 h 160"/>
                  <a:gd name="T44" fmla="*/ 38 w 40"/>
                  <a:gd name="T45" fmla="*/ 9 h 160"/>
                  <a:gd name="T46" fmla="*/ 39 w 40"/>
                  <a:gd name="T47" fmla="*/ 13 h 160"/>
                  <a:gd name="T48" fmla="*/ 40 w 40"/>
                  <a:gd name="T49" fmla="*/ 16 h 160"/>
                  <a:gd name="T50" fmla="*/ 40 w 40"/>
                  <a:gd name="T51" fmla="*/ 20 h 160"/>
                  <a:gd name="T52" fmla="*/ 40 w 40"/>
                  <a:gd name="T53" fmla="*/ 139 h 160"/>
                  <a:gd name="T54" fmla="*/ 40 w 40"/>
                  <a:gd name="T55" fmla="*/ 144 h 160"/>
                  <a:gd name="T56" fmla="*/ 39 w 40"/>
                  <a:gd name="T57" fmla="*/ 148 h 160"/>
                  <a:gd name="T58" fmla="*/ 38 w 40"/>
                  <a:gd name="T59" fmla="*/ 150 h 160"/>
                  <a:gd name="T60" fmla="*/ 35 w 40"/>
                  <a:gd name="T61" fmla="*/ 154 h 160"/>
                  <a:gd name="T62" fmla="*/ 32 w 40"/>
                  <a:gd name="T63" fmla="*/ 157 h 160"/>
                  <a:gd name="T64" fmla="*/ 29 w 40"/>
                  <a:gd name="T65" fmla="*/ 158 h 160"/>
                  <a:gd name="T66" fmla="*/ 25 w 40"/>
                  <a:gd name="T67" fmla="*/ 159 h 160"/>
                  <a:gd name="T68" fmla="*/ 20 w 40"/>
                  <a:gd name="T6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0" h="160">
                    <a:moveTo>
                      <a:pt x="20" y="160"/>
                    </a:moveTo>
                    <a:lnTo>
                      <a:pt x="17" y="159"/>
                    </a:lnTo>
                    <a:lnTo>
                      <a:pt x="13" y="158"/>
                    </a:lnTo>
                    <a:lnTo>
                      <a:pt x="9" y="157"/>
                    </a:lnTo>
                    <a:lnTo>
                      <a:pt x="7" y="154"/>
                    </a:lnTo>
                    <a:lnTo>
                      <a:pt x="4" y="150"/>
                    </a:lnTo>
                    <a:lnTo>
                      <a:pt x="3" y="148"/>
                    </a:lnTo>
                    <a:lnTo>
                      <a:pt x="2" y="144"/>
                    </a:lnTo>
                    <a:lnTo>
                      <a:pt x="0" y="139"/>
                    </a:lnTo>
                    <a:lnTo>
                      <a:pt x="0" y="20"/>
                    </a:lnTo>
                    <a:lnTo>
                      <a:pt x="2" y="16"/>
                    </a:lnTo>
                    <a:lnTo>
                      <a:pt x="3" y="13"/>
                    </a:lnTo>
                    <a:lnTo>
                      <a:pt x="4" y="9"/>
                    </a:lnTo>
                    <a:lnTo>
                      <a:pt x="7" y="5"/>
                    </a:lnTo>
                    <a:lnTo>
                      <a:pt x="9" y="4"/>
                    </a:lnTo>
                    <a:lnTo>
                      <a:pt x="13" y="1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29" y="1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8" y="9"/>
                    </a:lnTo>
                    <a:lnTo>
                      <a:pt x="39" y="13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139"/>
                    </a:lnTo>
                    <a:lnTo>
                      <a:pt x="40" y="144"/>
                    </a:lnTo>
                    <a:lnTo>
                      <a:pt x="39" y="148"/>
                    </a:lnTo>
                    <a:lnTo>
                      <a:pt x="38" y="150"/>
                    </a:lnTo>
                    <a:lnTo>
                      <a:pt x="35" y="154"/>
                    </a:lnTo>
                    <a:lnTo>
                      <a:pt x="32" y="157"/>
                    </a:lnTo>
                    <a:lnTo>
                      <a:pt x="29" y="158"/>
                    </a:lnTo>
                    <a:lnTo>
                      <a:pt x="25" y="159"/>
                    </a:lnTo>
                    <a:lnTo>
                      <a:pt x="20" y="1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87"/>
              <p:cNvSpPr>
                <a:spLocks/>
              </p:cNvSpPr>
              <p:nvPr/>
            </p:nvSpPr>
            <p:spPr bwMode="auto">
              <a:xfrm>
                <a:off x="3503820" y="2533622"/>
                <a:ext cx="75644" cy="75644"/>
              </a:xfrm>
              <a:custGeom>
                <a:avLst/>
                <a:gdLst>
                  <a:gd name="T0" fmla="*/ 20 w 124"/>
                  <a:gd name="T1" fmla="*/ 125 h 125"/>
                  <a:gd name="T2" fmla="*/ 16 w 124"/>
                  <a:gd name="T3" fmla="*/ 125 h 125"/>
                  <a:gd name="T4" fmla="*/ 12 w 124"/>
                  <a:gd name="T5" fmla="*/ 124 h 125"/>
                  <a:gd name="T6" fmla="*/ 8 w 124"/>
                  <a:gd name="T7" fmla="*/ 121 h 125"/>
                  <a:gd name="T8" fmla="*/ 6 w 124"/>
                  <a:gd name="T9" fmla="*/ 119 h 125"/>
                  <a:gd name="T10" fmla="*/ 3 w 124"/>
                  <a:gd name="T11" fmla="*/ 116 h 125"/>
                  <a:gd name="T12" fmla="*/ 1 w 124"/>
                  <a:gd name="T13" fmla="*/ 113 h 125"/>
                  <a:gd name="T14" fmla="*/ 0 w 124"/>
                  <a:gd name="T15" fmla="*/ 109 h 125"/>
                  <a:gd name="T16" fmla="*/ 0 w 124"/>
                  <a:gd name="T17" fmla="*/ 105 h 125"/>
                  <a:gd name="T18" fmla="*/ 0 w 124"/>
                  <a:gd name="T19" fmla="*/ 102 h 125"/>
                  <a:gd name="T20" fmla="*/ 1 w 124"/>
                  <a:gd name="T21" fmla="*/ 98 h 125"/>
                  <a:gd name="T22" fmla="*/ 3 w 124"/>
                  <a:gd name="T23" fmla="*/ 94 h 125"/>
                  <a:gd name="T24" fmla="*/ 6 w 124"/>
                  <a:gd name="T25" fmla="*/ 90 h 125"/>
                  <a:gd name="T26" fmla="*/ 90 w 124"/>
                  <a:gd name="T27" fmla="*/ 6 h 125"/>
                  <a:gd name="T28" fmla="*/ 93 w 124"/>
                  <a:gd name="T29" fmla="*/ 3 h 125"/>
                  <a:gd name="T30" fmla="*/ 97 w 124"/>
                  <a:gd name="T31" fmla="*/ 2 h 125"/>
                  <a:gd name="T32" fmla="*/ 100 w 124"/>
                  <a:gd name="T33" fmla="*/ 1 h 125"/>
                  <a:gd name="T34" fmla="*/ 104 w 124"/>
                  <a:gd name="T35" fmla="*/ 0 h 125"/>
                  <a:gd name="T36" fmla="*/ 108 w 124"/>
                  <a:gd name="T37" fmla="*/ 1 h 125"/>
                  <a:gd name="T38" fmla="*/ 111 w 124"/>
                  <a:gd name="T39" fmla="*/ 2 h 125"/>
                  <a:gd name="T40" fmla="*/ 115 w 124"/>
                  <a:gd name="T41" fmla="*/ 3 h 125"/>
                  <a:gd name="T42" fmla="*/ 119 w 124"/>
                  <a:gd name="T43" fmla="*/ 6 h 125"/>
                  <a:gd name="T44" fmla="*/ 121 w 124"/>
                  <a:gd name="T45" fmla="*/ 10 h 125"/>
                  <a:gd name="T46" fmla="*/ 123 w 124"/>
                  <a:gd name="T47" fmla="*/ 12 h 125"/>
                  <a:gd name="T48" fmla="*/ 124 w 124"/>
                  <a:gd name="T49" fmla="*/ 16 h 125"/>
                  <a:gd name="T50" fmla="*/ 124 w 124"/>
                  <a:gd name="T51" fmla="*/ 20 h 125"/>
                  <a:gd name="T52" fmla="*/ 124 w 124"/>
                  <a:gd name="T53" fmla="*/ 25 h 125"/>
                  <a:gd name="T54" fmla="*/ 123 w 124"/>
                  <a:gd name="T55" fmla="*/ 28 h 125"/>
                  <a:gd name="T56" fmla="*/ 121 w 124"/>
                  <a:gd name="T57" fmla="*/ 31 h 125"/>
                  <a:gd name="T58" fmla="*/ 119 w 124"/>
                  <a:gd name="T59" fmla="*/ 34 h 125"/>
                  <a:gd name="T60" fmla="*/ 33 w 124"/>
                  <a:gd name="T61" fmla="*/ 119 h 125"/>
                  <a:gd name="T62" fmla="*/ 31 w 124"/>
                  <a:gd name="T63" fmla="*/ 121 h 125"/>
                  <a:gd name="T64" fmla="*/ 27 w 124"/>
                  <a:gd name="T65" fmla="*/ 124 h 125"/>
                  <a:gd name="T66" fmla="*/ 23 w 124"/>
                  <a:gd name="T67" fmla="*/ 125 h 125"/>
                  <a:gd name="T68" fmla="*/ 20 w 124"/>
                  <a:gd name="T69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4" h="125">
                    <a:moveTo>
                      <a:pt x="20" y="125"/>
                    </a:moveTo>
                    <a:lnTo>
                      <a:pt x="16" y="125"/>
                    </a:lnTo>
                    <a:lnTo>
                      <a:pt x="12" y="124"/>
                    </a:lnTo>
                    <a:lnTo>
                      <a:pt x="8" y="121"/>
                    </a:lnTo>
                    <a:lnTo>
                      <a:pt x="6" y="119"/>
                    </a:lnTo>
                    <a:lnTo>
                      <a:pt x="3" y="116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2"/>
                    </a:lnTo>
                    <a:lnTo>
                      <a:pt x="1" y="98"/>
                    </a:lnTo>
                    <a:lnTo>
                      <a:pt x="3" y="94"/>
                    </a:lnTo>
                    <a:lnTo>
                      <a:pt x="6" y="90"/>
                    </a:lnTo>
                    <a:lnTo>
                      <a:pt x="90" y="6"/>
                    </a:lnTo>
                    <a:lnTo>
                      <a:pt x="93" y="3"/>
                    </a:lnTo>
                    <a:lnTo>
                      <a:pt x="97" y="2"/>
                    </a:lnTo>
                    <a:lnTo>
                      <a:pt x="100" y="1"/>
                    </a:lnTo>
                    <a:lnTo>
                      <a:pt x="104" y="0"/>
                    </a:lnTo>
                    <a:lnTo>
                      <a:pt x="108" y="1"/>
                    </a:lnTo>
                    <a:lnTo>
                      <a:pt x="111" y="2"/>
                    </a:lnTo>
                    <a:lnTo>
                      <a:pt x="115" y="3"/>
                    </a:lnTo>
                    <a:lnTo>
                      <a:pt x="119" y="6"/>
                    </a:lnTo>
                    <a:lnTo>
                      <a:pt x="121" y="10"/>
                    </a:lnTo>
                    <a:lnTo>
                      <a:pt x="123" y="12"/>
                    </a:lnTo>
                    <a:lnTo>
                      <a:pt x="124" y="16"/>
                    </a:lnTo>
                    <a:lnTo>
                      <a:pt x="124" y="20"/>
                    </a:lnTo>
                    <a:lnTo>
                      <a:pt x="124" y="25"/>
                    </a:lnTo>
                    <a:lnTo>
                      <a:pt x="123" y="28"/>
                    </a:lnTo>
                    <a:lnTo>
                      <a:pt x="121" y="31"/>
                    </a:lnTo>
                    <a:lnTo>
                      <a:pt x="119" y="34"/>
                    </a:lnTo>
                    <a:lnTo>
                      <a:pt x="33" y="119"/>
                    </a:lnTo>
                    <a:lnTo>
                      <a:pt x="31" y="121"/>
                    </a:lnTo>
                    <a:lnTo>
                      <a:pt x="27" y="124"/>
                    </a:lnTo>
                    <a:lnTo>
                      <a:pt x="23" y="125"/>
                    </a:lnTo>
                    <a:lnTo>
                      <a:pt x="2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88"/>
              <p:cNvSpPr>
                <a:spLocks/>
              </p:cNvSpPr>
              <p:nvPr/>
            </p:nvSpPr>
            <p:spPr bwMode="auto">
              <a:xfrm>
                <a:off x="3103462" y="2933980"/>
                <a:ext cx="77489" cy="75644"/>
              </a:xfrm>
              <a:custGeom>
                <a:avLst/>
                <a:gdLst>
                  <a:gd name="T0" fmla="*/ 20 w 125"/>
                  <a:gd name="T1" fmla="*/ 124 h 124"/>
                  <a:gd name="T2" fmla="*/ 16 w 125"/>
                  <a:gd name="T3" fmla="*/ 124 h 124"/>
                  <a:gd name="T4" fmla="*/ 12 w 125"/>
                  <a:gd name="T5" fmla="*/ 123 h 124"/>
                  <a:gd name="T6" fmla="*/ 10 w 125"/>
                  <a:gd name="T7" fmla="*/ 121 h 124"/>
                  <a:gd name="T8" fmla="*/ 6 w 125"/>
                  <a:gd name="T9" fmla="*/ 119 h 124"/>
                  <a:gd name="T10" fmla="*/ 4 w 125"/>
                  <a:gd name="T11" fmla="*/ 115 h 124"/>
                  <a:gd name="T12" fmla="*/ 2 w 125"/>
                  <a:gd name="T13" fmla="*/ 111 h 124"/>
                  <a:gd name="T14" fmla="*/ 1 w 125"/>
                  <a:gd name="T15" fmla="*/ 108 h 124"/>
                  <a:gd name="T16" fmla="*/ 0 w 125"/>
                  <a:gd name="T17" fmla="*/ 104 h 124"/>
                  <a:gd name="T18" fmla="*/ 1 w 125"/>
                  <a:gd name="T19" fmla="*/ 100 h 124"/>
                  <a:gd name="T20" fmla="*/ 2 w 125"/>
                  <a:gd name="T21" fmla="*/ 97 h 124"/>
                  <a:gd name="T22" fmla="*/ 4 w 125"/>
                  <a:gd name="T23" fmla="*/ 93 h 124"/>
                  <a:gd name="T24" fmla="*/ 6 w 125"/>
                  <a:gd name="T25" fmla="*/ 90 h 124"/>
                  <a:gd name="T26" fmla="*/ 91 w 125"/>
                  <a:gd name="T27" fmla="*/ 6 h 124"/>
                  <a:gd name="T28" fmla="*/ 94 w 125"/>
                  <a:gd name="T29" fmla="*/ 3 h 124"/>
                  <a:gd name="T30" fmla="*/ 98 w 125"/>
                  <a:gd name="T31" fmla="*/ 1 h 124"/>
                  <a:gd name="T32" fmla="*/ 102 w 125"/>
                  <a:gd name="T33" fmla="*/ 0 h 124"/>
                  <a:gd name="T34" fmla="*/ 105 w 125"/>
                  <a:gd name="T35" fmla="*/ 0 h 124"/>
                  <a:gd name="T36" fmla="*/ 109 w 125"/>
                  <a:gd name="T37" fmla="*/ 0 h 124"/>
                  <a:gd name="T38" fmla="*/ 113 w 125"/>
                  <a:gd name="T39" fmla="*/ 1 h 124"/>
                  <a:gd name="T40" fmla="*/ 117 w 125"/>
                  <a:gd name="T41" fmla="*/ 3 h 124"/>
                  <a:gd name="T42" fmla="*/ 119 w 125"/>
                  <a:gd name="T43" fmla="*/ 6 h 124"/>
                  <a:gd name="T44" fmla="*/ 122 w 125"/>
                  <a:gd name="T45" fmla="*/ 8 h 124"/>
                  <a:gd name="T46" fmla="*/ 124 w 125"/>
                  <a:gd name="T47" fmla="*/ 12 h 124"/>
                  <a:gd name="T48" fmla="*/ 125 w 125"/>
                  <a:gd name="T49" fmla="*/ 16 h 124"/>
                  <a:gd name="T50" fmla="*/ 125 w 125"/>
                  <a:gd name="T51" fmla="*/ 20 h 124"/>
                  <a:gd name="T52" fmla="*/ 125 w 125"/>
                  <a:gd name="T53" fmla="*/ 23 h 124"/>
                  <a:gd name="T54" fmla="*/ 124 w 125"/>
                  <a:gd name="T55" fmla="*/ 27 h 124"/>
                  <a:gd name="T56" fmla="*/ 122 w 125"/>
                  <a:gd name="T57" fmla="*/ 31 h 124"/>
                  <a:gd name="T58" fmla="*/ 119 w 125"/>
                  <a:gd name="T59" fmla="*/ 33 h 124"/>
                  <a:gd name="T60" fmla="*/ 35 w 125"/>
                  <a:gd name="T61" fmla="*/ 119 h 124"/>
                  <a:gd name="T62" fmla="*/ 31 w 125"/>
                  <a:gd name="T63" fmla="*/ 121 h 124"/>
                  <a:gd name="T64" fmla="*/ 28 w 125"/>
                  <a:gd name="T65" fmla="*/ 123 h 124"/>
                  <a:gd name="T66" fmla="*/ 25 w 125"/>
                  <a:gd name="T67" fmla="*/ 124 h 124"/>
                  <a:gd name="T68" fmla="*/ 20 w 125"/>
                  <a:gd name="T6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5" h="124">
                    <a:moveTo>
                      <a:pt x="20" y="124"/>
                    </a:moveTo>
                    <a:lnTo>
                      <a:pt x="16" y="124"/>
                    </a:lnTo>
                    <a:lnTo>
                      <a:pt x="12" y="123"/>
                    </a:lnTo>
                    <a:lnTo>
                      <a:pt x="10" y="121"/>
                    </a:lnTo>
                    <a:lnTo>
                      <a:pt x="6" y="119"/>
                    </a:lnTo>
                    <a:lnTo>
                      <a:pt x="4" y="115"/>
                    </a:lnTo>
                    <a:lnTo>
                      <a:pt x="2" y="111"/>
                    </a:lnTo>
                    <a:lnTo>
                      <a:pt x="1" y="108"/>
                    </a:lnTo>
                    <a:lnTo>
                      <a:pt x="0" y="104"/>
                    </a:lnTo>
                    <a:lnTo>
                      <a:pt x="1" y="100"/>
                    </a:lnTo>
                    <a:lnTo>
                      <a:pt x="2" y="97"/>
                    </a:lnTo>
                    <a:lnTo>
                      <a:pt x="4" y="93"/>
                    </a:lnTo>
                    <a:lnTo>
                      <a:pt x="6" y="90"/>
                    </a:lnTo>
                    <a:lnTo>
                      <a:pt x="91" y="6"/>
                    </a:lnTo>
                    <a:lnTo>
                      <a:pt x="94" y="3"/>
                    </a:lnTo>
                    <a:lnTo>
                      <a:pt x="98" y="1"/>
                    </a:lnTo>
                    <a:lnTo>
                      <a:pt x="102" y="0"/>
                    </a:lnTo>
                    <a:lnTo>
                      <a:pt x="105" y="0"/>
                    </a:lnTo>
                    <a:lnTo>
                      <a:pt x="109" y="0"/>
                    </a:lnTo>
                    <a:lnTo>
                      <a:pt x="113" y="1"/>
                    </a:lnTo>
                    <a:lnTo>
                      <a:pt x="117" y="3"/>
                    </a:lnTo>
                    <a:lnTo>
                      <a:pt x="119" y="6"/>
                    </a:lnTo>
                    <a:lnTo>
                      <a:pt x="122" y="8"/>
                    </a:lnTo>
                    <a:lnTo>
                      <a:pt x="124" y="12"/>
                    </a:lnTo>
                    <a:lnTo>
                      <a:pt x="125" y="16"/>
                    </a:lnTo>
                    <a:lnTo>
                      <a:pt x="125" y="20"/>
                    </a:lnTo>
                    <a:lnTo>
                      <a:pt x="125" y="23"/>
                    </a:lnTo>
                    <a:lnTo>
                      <a:pt x="124" y="27"/>
                    </a:lnTo>
                    <a:lnTo>
                      <a:pt x="122" y="31"/>
                    </a:lnTo>
                    <a:lnTo>
                      <a:pt x="119" y="33"/>
                    </a:lnTo>
                    <a:lnTo>
                      <a:pt x="35" y="119"/>
                    </a:lnTo>
                    <a:lnTo>
                      <a:pt x="31" y="121"/>
                    </a:lnTo>
                    <a:lnTo>
                      <a:pt x="28" y="123"/>
                    </a:lnTo>
                    <a:lnTo>
                      <a:pt x="25" y="124"/>
                    </a:lnTo>
                    <a:lnTo>
                      <a:pt x="20" y="1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1" name="Group 90"/>
            <p:cNvGrpSpPr/>
            <p:nvPr/>
          </p:nvGrpSpPr>
          <p:grpSpPr>
            <a:xfrm>
              <a:off x="5387884" y="4514619"/>
              <a:ext cx="303265" cy="331186"/>
              <a:chOff x="4502150" y="1790701"/>
              <a:chExt cx="620713" cy="677863"/>
            </a:xfrm>
            <a:solidFill>
              <a:schemeClr val="bg1"/>
            </a:solidFill>
          </p:grpSpPr>
          <p:sp>
            <p:nvSpPr>
              <p:cNvPr id="92" name="Freeform 92"/>
              <p:cNvSpPr>
                <a:spLocks/>
              </p:cNvSpPr>
              <p:nvPr/>
            </p:nvSpPr>
            <p:spPr bwMode="auto">
              <a:xfrm>
                <a:off x="4532313" y="1790701"/>
                <a:ext cx="471488" cy="677863"/>
              </a:xfrm>
              <a:custGeom>
                <a:avLst/>
                <a:gdLst>
                  <a:gd name="T0" fmla="*/ 26 w 892"/>
                  <a:gd name="T1" fmla="*/ 1281 h 1281"/>
                  <a:gd name="T2" fmla="*/ 16 w 892"/>
                  <a:gd name="T3" fmla="*/ 1278 h 1281"/>
                  <a:gd name="T4" fmla="*/ 7 w 892"/>
                  <a:gd name="T5" fmla="*/ 1273 h 1281"/>
                  <a:gd name="T6" fmla="*/ 1 w 892"/>
                  <a:gd name="T7" fmla="*/ 1264 h 1281"/>
                  <a:gd name="T8" fmla="*/ 0 w 892"/>
                  <a:gd name="T9" fmla="*/ 1254 h 1281"/>
                  <a:gd name="T10" fmla="*/ 0 w 892"/>
                  <a:gd name="T11" fmla="*/ 21 h 1281"/>
                  <a:gd name="T12" fmla="*/ 4 w 892"/>
                  <a:gd name="T13" fmla="*/ 11 h 1281"/>
                  <a:gd name="T14" fmla="*/ 11 w 892"/>
                  <a:gd name="T15" fmla="*/ 4 h 1281"/>
                  <a:gd name="T16" fmla="*/ 20 w 892"/>
                  <a:gd name="T17" fmla="*/ 0 h 1281"/>
                  <a:gd name="T18" fmla="*/ 867 w 892"/>
                  <a:gd name="T19" fmla="*/ 0 h 1281"/>
                  <a:gd name="T20" fmla="*/ 877 w 892"/>
                  <a:gd name="T21" fmla="*/ 1 h 1281"/>
                  <a:gd name="T22" fmla="*/ 885 w 892"/>
                  <a:gd name="T23" fmla="*/ 7 h 1281"/>
                  <a:gd name="T24" fmla="*/ 891 w 892"/>
                  <a:gd name="T25" fmla="*/ 15 h 1281"/>
                  <a:gd name="T26" fmla="*/ 892 w 892"/>
                  <a:gd name="T27" fmla="*/ 26 h 1281"/>
                  <a:gd name="T28" fmla="*/ 892 w 892"/>
                  <a:gd name="T29" fmla="*/ 737 h 1281"/>
                  <a:gd name="T30" fmla="*/ 888 w 892"/>
                  <a:gd name="T31" fmla="*/ 747 h 1281"/>
                  <a:gd name="T32" fmla="*/ 881 w 892"/>
                  <a:gd name="T33" fmla="*/ 754 h 1281"/>
                  <a:gd name="T34" fmla="*/ 872 w 892"/>
                  <a:gd name="T35" fmla="*/ 757 h 1281"/>
                  <a:gd name="T36" fmla="*/ 861 w 892"/>
                  <a:gd name="T37" fmla="*/ 757 h 1281"/>
                  <a:gd name="T38" fmla="*/ 852 w 892"/>
                  <a:gd name="T39" fmla="*/ 754 h 1281"/>
                  <a:gd name="T40" fmla="*/ 845 w 892"/>
                  <a:gd name="T41" fmla="*/ 747 h 1281"/>
                  <a:gd name="T42" fmla="*/ 841 w 892"/>
                  <a:gd name="T43" fmla="*/ 737 h 1281"/>
                  <a:gd name="T44" fmla="*/ 841 w 892"/>
                  <a:gd name="T45" fmla="*/ 51 h 1281"/>
                  <a:gd name="T46" fmla="*/ 52 w 892"/>
                  <a:gd name="T47" fmla="*/ 1228 h 1281"/>
                  <a:gd name="T48" fmla="*/ 841 w 892"/>
                  <a:gd name="T49" fmla="*/ 996 h 1281"/>
                  <a:gd name="T50" fmla="*/ 842 w 892"/>
                  <a:gd name="T51" fmla="*/ 986 h 1281"/>
                  <a:gd name="T52" fmla="*/ 848 w 892"/>
                  <a:gd name="T53" fmla="*/ 977 h 1281"/>
                  <a:gd name="T54" fmla="*/ 856 w 892"/>
                  <a:gd name="T55" fmla="*/ 972 h 1281"/>
                  <a:gd name="T56" fmla="*/ 867 w 892"/>
                  <a:gd name="T57" fmla="*/ 970 h 1281"/>
                  <a:gd name="T58" fmla="*/ 877 w 892"/>
                  <a:gd name="T59" fmla="*/ 972 h 1281"/>
                  <a:gd name="T60" fmla="*/ 885 w 892"/>
                  <a:gd name="T61" fmla="*/ 977 h 1281"/>
                  <a:gd name="T62" fmla="*/ 891 w 892"/>
                  <a:gd name="T63" fmla="*/ 986 h 1281"/>
                  <a:gd name="T64" fmla="*/ 892 w 892"/>
                  <a:gd name="T65" fmla="*/ 996 h 1281"/>
                  <a:gd name="T66" fmla="*/ 892 w 892"/>
                  <a:gd name="T67" fmla="*/ 1260 h 1281"/>
                  <a:gd name="T68" fmla="*/ 888 w 892"/>
                  <a:gd name="T69" fmla="*/ 1270 h 1281"/>
                  <a:gd name="T70" fmla="*/ 881 w 892"/>
                  <a:gd name="T71" fmla="*/ 1275 h 1281"/>
                  <a:gd name="T72" fmla="*/ 872 w 892"/>
                  <a:gd name="T73" fmla="*/ 1280 h 1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92" h="1281">
                    <a:moveTo>
                      <a:pt x="867" y="1281"/>
                    </a:moveTo>
                    <a:lnTo>
                      <a:pt x="26" y="1281"/>
                    </a:lnTo>
                    <a:lnTo>
                      <a:pt x="20" y="1280"/>
                    </a:lnTo>
                    <a:lnTo>
                      <a:pt x="16" y="1278"/>
                    </a:lnTo>
                    <a:lnTo>
                      <a:pt x="11" y="1275"/>
                    </a:lnTo>
                    <a:lnTo>
                      <a:pt x="7" y="1273"/>
                    </a:lnTo>
                    <a:lnTo>
                      <a:pt x="4" y="1270"/>
                    </a:lnTo>
                    <a:lnTo>
                      <a:pt x="1" y="1264"/>
                    </a:lnTo>
                    <a:lnTo>
                      <a:pt x="0" y="1260"/>
                    </a:lnTo>
                    <a:lnTo>
                      <a:pt x="0" y="1254"/>
                    </a:lnTo>
                    <a:lnTo>
                      <a:pt x="0" y="26"/>
                    </a:lnTo>
                    <a:lnTo>
                      <a:pt x="0" y="21"/>
                    </a:lnTo>
                    <a:lnTo>
                      <a:pt x="1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867" y="0"/>
                    </a:lnTo>
                    <a:lnTo>
                      <a:pt x="872" y="0"/>
                    </a:lnTo>
                    <a:lnTo>
                      <a:pt x="877" y="1"/>
                    </a:lnTo>
                    <a:lnTo>
                      <a:pt x="881" y="4"/>
                    </a:lnTo>
                    <a:lnTo>
                      <a:pt x="885" y="7"/>
                    </a:lnTo>
                    <a:lnTo>
                      <a:pt x="888" y="11"/>
                    </a:lnTo>
                    <a:lnTo>
                      <a:pt x="891" y="15"/>
                    </a:lnTo>
                    <a:lnTo>
                      <a:pt x="892" y="21"/>
                    </a:lnTo>
                    <a:lnTo>
                      <a:pt x="892" y="26"/>
                    </a:lnTo>
                    <a:lnTo>
                      <a:pt x="892" y="733"/>
                    </a:lnTo>
                    <a:lnTo>
                      <a:pt x="892" y="737"/>
                    </a:lnTo>
                    <a:lnTo>
                      <a:pt x="891" y="743"/>
                    </a:lnTo>
                    <a:lnTo>
                      <a:pt x="888" y="747"/>
                    </a:lnTo>
                    <a:lnTo>
                      <a:pt x="885" y="750"/>
                    </a:lnTo>
                    <a:lnTo>
                      <a:pt x="881" y="754"/>
                    </a:lnTo>
                    <a:lnTo>
                      <a:pt x="877" y="756"/>
                    </a:lnTo>
                    <a:lnTo>
                      <a:pt x="872" y="757"/>
                    </a:lnTo>
                    <a:lnTo>
                      <a:pt x="867" y="758"/>
                    </a:lnTo>
                    <a:lnTo>
                      <a:pt x="861" y="757"/>
                    </a:lnTo>
                    <a:lnTo>
                      <a:pt x="856" y="756"/>
                    </a:lnTo>
                    <a:lnTo>
                      <a:pt x="852" y="754"/>
                    </a:lnTo>
                    <a:lnTo>
                      <a:pt x="848" y="750"/>
                    </a:lnTo>
                    <a:lnTo>
                      <a:pt x="845" y="747"/>
                    </a:lnTo>
                    <a:lnTo>
                      <a:pt x="842" y="743"/>
                    </a:lnTo>
                    <a:lnTo>
                      <a:pt x="841" y="737"/>
                    </a:lnTo>
                    <a:lnTo>
                      <a:pt x="841" y="733"/>
                    </a:lnTo>
                    <a:lnTo>
                      <a:pt x="841" y="51"/>
                    </a:lnTo>
                    <a:lnTo>
                      <a:pt x="52" y="51"/>
                    </a:lnTo>
                    <a:lnTo>
                      <a:pt x="52" y="1228"/>
                    </a:lnTo>
                    <a:lnTo>
                      <a:pt x="841" y="1228"/>
                    </a:lnTo>
                    <a:lnTo>
                      <a:pt x="841" y="996"/>
                    </a:lnTo>
                    <a:lnTo>
                      <a:pt x="841" y="990"/>
                    </a:lnTo>
                    <a:lnTo>
                      <a:pt x="842" y="986"/>
                    </a:lnTo>
                    <a:lnTo>
                      <a:pt x="845" y="982"/>
                    </a:lnTo>
                    <a:lnTo>
                      <a:pt x="848" y="977"/>
                    </a:lnTo>
                    <a:lnTo>
                      <a:pt x="852" y="974"/>
                    </a:lnTo>
                    <a:lnTo>
                      <a:pt x="856" y="972"/>
                    </a:lnTo>
                    <a:lnTo>
                      <a:pt x="861" y="970"/>
                    </a:lnTo>
                    <a:lnTo>
                      <a:pt x="867" y="970"/>
                    </a:lnTo>
                    <a:lnTo>
                      <a:pt x="872" y="970"/>
                    </a:lnTo>
                    <a:lnTo>
                      <a:pt x="877" y="972"/>
                    </a:lnTo>
                    <a:lnTo>
                      <a:pt x="881" y="974"/>
                    </a:lnTo>
                    <a:lnTo>
                      <a:pt x="885" y="977"/>
                    </a:lnTo>
                    <a:lnTo>
                      <a:pt x="888" y="982"/>
                    </a:lnTo>
                    <a:lnTo>
                      <a:pt x="891" y="986"/>
                    </a:lnTo>
                    <a:lnTo>
                      <a:pt x="892" y="990"/>
                    </a:lnTo>
                    <a:lnTo>
                      <a:pt x="892" y="996"/>
                    </a:lnTo>
                    <a:lnTo>
                      <a:pt x="892" y="1254"/>
                    </a:lnTo>
                    <a:lnTo>
                      <a:pt x="892" y="1260"/>
                    </a:lnTo>
                    <a:lnTo>
                      <a:pt x="891" y="1264"/>
                    </a:lnTo>
                    <a:lnTo>
                      <a:pt x="888" y="1270"/>
                    </a:lnTo>
                    <a:lnTo>
                      <a:pt x="885" y="1273"/>
                    </a:lnTo>
                    <a:lnTo>
                      <a:pt x="881" y="1275"/>
                    </a:lnTo>
                    <a:lnTo>
                      <a:pt x="877" y="1278"/>
                    </a:lnTo>
                    <a:lnTo>
                      <a:pt x="872" y="1280"/>
                    </a:lnTo>
                    <a:lnTo>
                      <a:pt x="867" y="12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3"/>
              <p:cNvSpPr>
                <a:spLocks/>
              </p:cNvSpPr>
              <p:nvPr/>
            </p:nvSpPr>
            <p:spPr bwMode="auto">
              <a:xfrm>
                <a:off x="4502150" y="1878013"/>
                <a:ext cx="87313" cy="28575"/>
              </a:xfrm>
              <a:custGeom>
                <a:avLst/>
                <a:gdLst>
                  <a:gd name="T0" fmla="*/ 138 w 164"/>
                  <a:gd name="T1" fmla="*/ 53 h 53"/>
                  <a:gd name="T2" fmla="*/ 25 w 164"/>
                  <a:gd name="T3" fmla="*/ 53 h 53"/>
                  <a:gd name="T4" fmla="*/ 20 w 164"/>
                  <a:gd name="T5" fmla="*/ 52 h 53"/>
                  <a:gd name="T6" fmla="*/ 15 w 164"/>
                  <a:gd name="T7" fmla="*/ 50 h 53"/>
                  <a:gd name="T8" fmla="*/ 11 w 164"/>
                  <a:gd name="T9" fmla="*/ 49 h 53"/>
                  <a:gd name="T10" fmla="*/ 7 w 164"/>
                  <a:gd name="T11" fmla="*/ 44 h 53"/>
                  <a:gd name="T12" fmla="*/ 4 w 164"/>
                  <a:gd name="T13" fmla="*/ 41 h 53"/>
                  <a:gd name="T14" fmla="*/ 1 w 164"/>
                  <a:gd name="T15" fmla="*/ 37 h 53"/>
                  <a:gd name="T16" fmla="*/ 0 w 164"/>
                  <a:gd name="T17" fmla="*/ 31 h 53"/>
                  <a:gd name="T18" fmla="*/ 0 w 164"/>
                  <a:gd name="T19" fmla="*/ 27 h 53"/>
                  <a:gd name="T20" fmla="*/ 0 w 164"/>
                  <a:gd name="T21" fmla="*/ 21 h 53"/>
                  <a:gd name="T22" fmla="*/ 1 w 164"/>
                  <a:gd name="T23" fmla="*/ 16 h 53"/>
                  <a:gd name="T24" fmla="*/ 4 w 164"/>
                  <a:gd name="T25" fmla="*/ 11 h 53"/>
                  <a:gd name="T26" fmla="*/ 7 w 164"/>
                  <a:gd name="T27" fmla="*/ 8 h 53"/>
                  <a:gd name="T28" fmla="*/ 11 w 164"/>
                  <a:gd name="T29" fmla="*/ 4 h 53"/>
                  <a:gd name="T30" fmla="*/ 15 w 164"/>
                  <a:gd name="T31" fmla="*/ 3 h 53"/>
                  <a:gd name="T32" fmla="*/ 20 w 164"/>
                  <a:gd name="T33" fmla="*/ 1 h 53"/>
                  <a:gd name="T34" fmla="*/ 25 w 164"/>
                  <a:gd name="T35" fmla="*/ 0 h 53"/>
                  <a:gd name="T36" fmla="*/ 138 w 164"/>
                  <a:gd name="T37" fmla="*/ 0 h 53"/>
                  <a:gd name="T38" fmla="*/ 142 w 164"/>
                  <a:gd name="T39" fmla="*/ 1 h 53"/>
                  <a:gd name="T40" fmla="*/ 148 w 164"/>
                  <a:gd name="T41" fmla="*/ 3 h 53"/>
                  <a:gd name="T42" fmla="*/ 152 w 164"/>
                  <a:gd name="T43" fmla="*/ 4 h 53"/>
                  <a:gd name="T44" fmla="*/ 156 w 164"/>
                  <a:gd name="T45" fmla="*/ 8 h 53"/>
                  <a:gd name="T46" fmla="*/ 159 w 164"/>
                  <a:gd name="T47" fmla="*/ 11 h 53"/>
                  <a:gd name="T48" fmla="*/ 161 w 164"/>
                  <a:gd name="T49" fmla="*/ 16 h 53"/>
                  <a:gd name="T50" fmla="*/ 162 w 164"/>
                  <a:gd name="T51" fmla="*/ 21 h 53"/>
                  <a:gd name="T52" fmla="*/ 164 w 164"/>
                  <a:gd name="T53" fmla="*/ 27 h 53"/>
                  <a:gd name="T54" fmla="*/ 162 w 164"/>
                  <a:gd name="T55" fmla="*/ 31 h 53"/>
                  <a:gd name="T56" fmla="*/ 161 w 164"/>
                  <a:gd name="T57" fmla="*/ 37 h 53"/>
                  <a:gd name="T58" fmla="*/ 159 w 164"/>
                  <a:gd name="T59" fmla="*/ 41 h 53"/>
                  <a:gd name="T60" fmla="*/ 156 w 164"/>
                  <a:gd name="T61" fmla="*/ 44 h 53"/>
                  <a:gd name="T62" fmla="*/ 152 w 164"/>
                  <a:gd name="T63" fmla="*/ 49 h 53"/>
                  <a:gd name="T64" fmla="*/ 148 w 164"/>
                  <a:gd name="T65" fmla="*/ 50 h 53"/>
                  <a:gd name="T66" fmla="*/ 142 w 164"/>
                  <a:gd name="T67" fmla="*/ 52 h 53"/>
                  <a:gd name="T68" fmla="*/ 138 w 164"/>
                  <a:gd name="T69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3">
                    <a:moveTo>
                      <a:pt x="138" y="53"/>
                    </a:moveTo>
                    <a:lnTo>
                      <a:pt x="25" y="53"/>
                    </a:lnTo>
                    <a:lnTo>
                      <a:pt x="20" y="52"/>
                    </a:lnTo>
                    <a:lnTo>
                      <a:pt x="15" y="50"/>
                    </a:lnTo>
                    <a:lnTo>
                      <a:pt x="11" y="49"/>
                    </a:lnTo>
                    <a:lnTo>
                      <a:pt x="7" y="44"/>
                    </a:lnTo>
                    <a:lnTo>
                      <a:pt x="4" y="41"/>
                    </a:lnTo>
                    <a:lnTo>
                      <a:pt x="1" y="37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1" y="16"/>
                    </a:lnTo>
                    <a:lnTo>
                      <a:pt x="4" y="11"/>
                    </a:lnTo>
                    <a:lnTo>
                      <a:pt x="7" y="8"/>
                    </a:lnTo>
                    <a:lnTo>
                      <a:pt x="11" y="4"/>
                    </a:lnTo>
                    <a:lnTo>
                      <a:pt x="15" y="3"/>
                    </a:lnTo>
                    <a:lnTo>
                      <a:pt x="20" y="1"/>
                    </a:lnTo>
                    <a:lnTo>
                      <a:pt x="25" y="0"/>
                    </a:lnTo>
                    <a:lnTo>
                      <a:pt x="138" y="0"/>
                    </a:lnTo>
                    <a:lnTo>
                      <a:pt x="142" y="1"/>
                    </a:lnTo>
                    <a:lnTo>
                      <a:pt x="148" y="3"/>
                    </a:lnTo>
                    <a:lnTo>
                      <a:pt x="152" y="4"/>
                    </a:lnTo>
                    <a:lnTo>
                      <a:pt x="156" y="8"/>
                    </a:lnTo>
                    <a:lnTo>
                      <a:pt x="159" y="11"/>
                    </a:lnTo>
                    <a:lnTo>
                      <a:pt x="161" y="16"/>
                    </a:lnTo>
                    <a:lnTo>
                      <a:pt x="162" y="21"/>
                    </a:lnTo>
                    <a:lnTo>
                      <a:pt x="164" y="27"/>
                    </a:lnTo>
                    <a:lnTo>
                      <a:pt x="162" y="31"/>
                    </a:lnTo>
                    <a:lnTo>
                      <a:pt x="161" y="37"/>
                    </a:lnTo>
                    <a:lnTo>
                      <a:pt x="159" y="41"/>
                    </a:lnTo>
                    <a:lnTo>
                      <a:pt x="156" y="44"/>
                    </a:lnTo>
                    <a:lnTo>
                      <a:pt x="152" y="49"/>
                    </a:lnTo>
                    <a:lnTo>
                      <a:pt x="148" y="50"/>
                    </a:lnTo>
                    <a:lnTo>
                      <a:pt x="142" y="52"/>
                    </a:lnTo>
                    <a:lnTo>
                      <a:pt x="138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4"/>
              <p:cNvSpPr>
                <a:spLocks/>
              </p:cNvSpPr>
              <p:nvPr/>
            </p:nvSpPr>
            <p:spPr bwMode="auto">
              <a:xfrm>
                <a:off x="4502150" y="1997076"/>
                <a:ext cx="87313" cy="26988"/>
              </a:xfrm>
              <a:custGeom>
                <a:avLst/>
                <a:gdLst>
                  <a:gd name="T0" fmla="*/ 138 w 164"/>
                  <a:gd name="T1" fmla="*/ 52 h 52"/>
                  <a:gd name="T2" fmla="*/ 25 w 164"/>
                  <a:gd name="T3" fmla="*/ 52 h 52"/>
                  <a:gd name="T4" fmla="*/ 20 w 164"/>
                  <a:gd name="T5" fmla="*/ 51 h 52"/>
                  <a:gd name="T6" fmla="*/ 15 w 164"/>
                  <a:gd name="T7" fmla="*/ 49 h 52"/>
                  <a:gd name="T8" fmla="*/ 11 w 164"/>
                  <a:gd name="T9" fmla="*/ 48 h 52"/>
                  <a:gd name="T10" fmla="*/ 7 w 164"/>
                  <a:gd name="T11" fmla="*/ 44 h 52"/>
                  <a:gd name="T12" fmla="*/ 4 w 164"/>
                  <a:gd name="T13" fmla="*/ 41 h 52"/>
                  <a:gd name="T14" fmla="*/ 1 w 164"/>
                  <a:gd name="T15" fmla="*/ 36 h 52"/>
                  <a:gd name="T16" fmla="*/ 0 w 164"/>
                  <a:gd name="T17" fmla="*/ 31 h 52"/>
                  <a:gd name="T18" fmla="*/ 0 w 164"/>
                  <a:gd name="T19" fmla="*/ 26 h 52"/>
                  <a:gd name="T20" fmla="*/ 0 w 164"/>
                  <a:gd name="T21" fmla="*/ 20 h 52"/>
                  <a:gd name="T22" fmla="*/ 1 w 164"/>
                  <a:gd name="T23" fmla="*/ 16 h 52"/>
                  <a:gd name="T24" fmla="*/ 4 w 164"/>
                  <a:gd name="T25" fmla="*/ 12 h 52"/>
                  <a:gd name="T26" fmla="*/ 7 w 164"/>
                  <a:gd name="T27" fmla="*/ 8 h 52"/>
                  <a:gd name="T28" fmla="*/ 11 w 164"/>
                  <a:gd name="T29" fmla="*/ 5 h 52"/>
                  <a:gd name="T30" fmla="*/ 15 w 164"/>
                  <a:gd name="T31" fmla="*/ 2 h 52"/>
                  <a:gd name="T32" fmla="*/ 20 w 164"/>
                  <a:gd name="T33" fmla="*/ 0 h 52"/>
                  <a:gd name="T34" fmla="*/ 25 w 164"/>
                  <a:gd name="T35" fmla="*/ 0 h 52"/>
                  <a:gd name="T36" fmla="*/ 138 w 164"/>
                  <a:gd name="T37" fmla="*/ 0 h 52"/>
                  <a:gd name="T38" fmla="*/ 142 w 164"/>
                  <a:gd name="T39" fmla="*/ 0 h 52"/>
                  <a:gd name="T40" fmla="*/ 148 w 164"/>
                  <a:gd name="T41" fmla="*/ 2 h 52"/>
                  <a:gd name="T42" fmla="*/ 152 w 164"/>
                  <a:gd name="T43" fmla="*/ 5 h 52"/>
                  <a:gd name="T44" fmla="*/ 156 w 164"/>
                  <a:gd name="T45" fmla="*/ 8 h 52"/>
                  <a:gd name="T46" fmla="*/ 159 w 164"/>
                  <a:gd name="T47" fmla="*/ 12 h 52"/>
                  <a:gd name="T48" fmla="*/ 161 w 164"/>
                  <a:gd name="T49" fmla="*/ 16 h 52"/>
                  <a:gd name="T50" fmla="*/ 162 w 164"/>
                  <a:gd name="T51" fmla="*/ 20 h 52"/>
                  <a:gd name="T52" fmla="*/ 164 w 164"/>
                  <a:gd name="T53" fmla="*/ 26 h 52"/>
                  <a:gd name="T54" fmla="*/ 162 w 164"/>
                  <a:gd name="T55" fmla="*/ 31 h 52"/>
                  <a:gd name="T56" fmla="*/ 161 w 164"/>
                  <a:gd name="T57" fmla="*/ 36 h 52"/>
                  <a:gd name="T58" fmla="*/ 159 w 164"/>
                  <a:gd name="T59" fmla="*/ 41 h 52"/>
                  <a:gd name="T60" fmla="*/ 156 w 164"/>
                  <a:gd name="T61" fmla="*/ 44 h 52"/>
                  <a:gd name="T62" fmla="*/ 152 w 164"/>
                  <a:gd name="T63" fmla="*/ 48 h 52"/>
                  <a:gd name="T64" fmla="*/ 148 w 164"/>
                  <a:gd name="T65" fmla="*/ 49 h 52"/>
                  <a:gd name="T66" fmla="*/ 142 w 164"/>
                  <a:gd name="T67" fmla="*/ 51 h 52"/>
                  <a:gd name="T68" fmla="*/ 138 w 164"/>
                  <a:gd name="T6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2">
                    <a:moveTo>
                      <a:pt x="138" y="52"/>
                    </a:moveTo>
                    <a:lnTo>
                      <a:pt x="25" y="52"/>
                    </a:lnTo>
                    <a:lnTo>
                      <a:pt x="20" y="51"/>
                    </a:lnTo>
                    <a:lnTo>
                      <a:pt x="15" y="49"/>
                    </a:lnTo>
                    <a:lnTo>
                      <a:pt x="11" y="48"/>
                    </a:lnTo>
                    <a:lnTo>
                      <a:pt x="7" y="44"/>
                    </a:lnTo>
                    <a:lnTo>
                      <a:pt x="4" y="41"/>
                    </a:lnTo>
                    <a:lnTo>
                      <a:pt x="1" y="36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4" y="12"/>
                    </a:lnTo>
                    <a:lnTo>
                      <a:pt x="7" y="8"/>
                    </a:lnTo>
                    <a:lnTo>
                      <a:pt x="11" y="5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138" y="0"/>
                    </a:lnTo>
                    <a:lnTo>
                      <a:pt x="142" y="0"/>
                    </a:lnTo>
                    <a:lnTo>
                      <a:pt x="148" y="2"/>
                    </a:lnTo>
                    <a:lnTo>
                      <a:pt x="152" y="5"/>
                    </a:lnTo>
                    <a:lnTo>
                      <a:pt x="156" y="8"/>
                    </a:lnTo>
                    <a:lnTo>
                      <a:pt x="159" y="12"/>
                    </a:lnTo>
                    <a:lnTo>
                      <a:pt x="161" y="16"/>
                    </a:lnTo>
                    <a:lnTo>
                      <a:pt x="162" y="20"/>
                    </a:lnTo>
                    <a:lnTo>
                      <a:pt x="164" y="26"/>
                    </a:lnTo>
                    <a:lnTo>
                      <a:pt x="162" y="31"/>
                    </a:lnTo>
                    <a:lnTo>
                      <a:pt x="161" y="36"/>
                    </a:lnTo>
                    <a:lnTo>
                      <a:pt x="159" y="41"/>
                    </a:lnTo>
                    <a:lnTo>
                      <a:pt x="156" y="44"/>
                    </a:lnTo>
                    <a:lnTo>
                      <a:pt x="152" y="48"/>
                    </a:lnTo>
                    <a:lnTo>
                      <a:pt x="148" y="49"/>
                    </a:lnTo>
                    <a:lnTo>
                      <a:pt x="142" y="51"/>
                    </a:lnTo>
                    <a:lnTo>
                      <a:pt x="138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5"/>
              <p:cNvSpPr>
                <a:spLocks/>
              </p:cNvSpPr>
              <p:nvPr/>
            </p:nvSpPr>
            <p:spPr bwMode="auto">
              <a:xfrm>
                <a:off x="4502150" y="2116138"/>
                <a:ext cx="87313" cy="26988"/>
              </a:xfrm>
              <a:custGeom>
                <a:avLst/>
                <a:gdLst>
                  <a:gd name="T0" fmla="*/ 138 w 164"/>
                  <a:gd name="T1" fmla="*/ 51 h 51"/>
                  <a:gd name="T2" fmla="*/ 25 w 164"/>
                  <a:gd name="T3" fmla="*/ 51 h 51"/>
                  <a:gd name="T4" fmla="*/ 20 w 164"/>
                  <a:gd name="T5" fmla="*/ 51 h 51"/>
                  <a:gd name="T6" fmla="*/ 15 w 164"/>
                  <a:gd name="T7" fmla="*/ 50 h 51"/>
                  <a:gd name="T8" fmla="*/ 11 w 164"/>
                  <a:gd name="T9" fmla="*/ 47 h 51"/>
                  <a:gd name="T10" fmla="*/ 7 w 164"/>
                  <a:gd name="T11" fmla="*/ 44 h 51"/>
                  <a:gd name="T12" fmla="*/ 4 w 164"/>
                  <a:gd name="T13" fmla="*/ 40 h 51"/>
                  <a:gd name="T14" fmla="*/ 1 w 164"/>
                  <a:gd name="T15" fmla="*/ 36 h 51"/>
                  <a:gd name="T16" fmla="*/ 0 w 164"/>
                  <a:gd name="T17" fmla="*/ 30 h 51"/>
                  <a:gd name="T18" fmla="*/ 0 w 164"/>
                  <a:gd name="T19" fmla="*/ 25 h 51"/>
                  <a:gd name="T20" fmla="*/ 0 w 164"/>
                  <a:gd name="T21" fmla="*/ 20 h 51"/>
                  <a:gd name="T22" fmla="*/ 1 w 164"/>
                  <a:gd name="T23" fmla="*/ 15 h 51"/>
                  <a:gd name="T24" fmla="*/ 4 w 164"/>
                  <a:gd name="T25" fmla="*/ 11 h 51"/>
                  <a:gd name="T26" fmla="*/ 7 w 164"/>
                  <a:gd name="T27" fmla="*/ 7 h 51"/>
                  <a:gd name="T28" fmla="*/ 11 w 164"/>
                  <a:gd name="T29" fmla="*/ 4 h 51"/>
                  <a:gd name="T30" fmla="*/ 15 w 164"/>
                  <a:gd name="T31" fmla="*/ 1 h 51"/>
                  <a:gd name="T32" fmla="*/ 20 w 164"/>
                  <a:gd name="T33" fmla="*/ 0 h 51"/>
                  <a:gd name="T34" fmla="*/ 25 w 164"/>
                  <a:gd name="T35" fmla="*/ 0 h 51"/>
                  <a:gd name="T36" fmla="*/ 138 w 164"/>
                  <a:gd name="T37" fmla="*/ 0 h 51"/>
                  <a:gd name="T38" fmla="*/ 142 w 164"/>
                  <a:gd name="T39" fmla="*/ 0 h 51"/>
                  <a:gd name="T40" fmla="*/ 148 w 164"/>
                  <a:gd name="T41" fmla="*/ 1 h 51"/>
                  <a:gd name="T42" fmla="*/ 152 w 164"/>
                  <a:gd name="T43" fmla="*/ 4 h 51"/>
                  <a:gd name="T44" fmla="*/ 156 w 164"/>
                  <a:gd name="T45" fmla="*/ 7 h 51"/>
                  <a:gd name="T46" fmla="*/ 159 w 164"/>
                  <a:gd name="T47" fmla="*/ 11 h 51"/>
                  <a:gd name="T48" fmla="*/ 161 w 164"/>
                  <a:gd name="T49" fmla="*/ 15 h 51"/>
                  <a:gd name="T50" fmla="*/ 162 w 164"/>
                  <a:gd name="T51" fmla="*/ 20 h 51"/>
                  <a:gd name="T52" fmla="*/ 164 w 164"/>
                  <a:gd name="T53" fmla="*/ 25 h 51"/>
                  <a:gd name="T54" fmla="*/ 162 w 164"/>
                  <a:gd name="T55" fmla="*/ 30 h 51"/>
                  <a:gd name="T56" fmla="*/ 161 w 164"/>
                  <a:gd name="T57" fmla="*/ 36 h 51"/>
                  <a:gd name="T58" fmla="*/ 159 w 164"/>
                  <a:gd name="T59" fmla="*/ 40 h 51"/>
                  <a:gd name="T60" fmla="*/ 156 w 164"/>
                  <a:gd name="T61" fmla="*/ 44 h 51"/>
                  <a:gd name="T62" fmla="*/ 152 w 164"/>
                  <a:gd name="T63" fmla="*/ 47 h 51"/>
                  <a:gd name="T64" fmla="*/ 148 w 164"/>
                  <a:gd name="T65" fmla="*/ 50 h 51"/>
                  <a:gd name="T66" fmla="*/ 142 w 164"/>
                  <a:gd name="T67" fmla="*/ 51 h 51"/>
                  <a:gd name="T68" fmla="*/ 138 w 164"/>
                  <a:gd name="T6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1">
                    <a:moveTo>
                      <a:pt x="138" y="51"/>
                    </a:moveTo>
                    <a:lnTo>
                      <a:pt x="25" y="51"/>
                    </a:lnTo>
                    <a:lnTo>
                      <a:pt x="20" y="51"/>
                    </a:lnTo>
                    <a:lnTo>
                      <a:pt x="15" y="50"/>
                    </a:lnTo>
                    <a:lnTo>
                      <a:pt x="11" y="47"/>
                    </a:lnTo>
                    <a:lnTo>
                      <a:pt x="7" y="44"/>
                    </a:lnTo>
                    <a:lnTo>
                      <a:pt x="4" y="40"/>
                    </a:lnTo>
                    <a:lnTo>
                      <a:pt x="1" y="36"/>
                    </a:lnTo>
                    <a:lnTo>
                      <a:pt x="0" y="30"/>
                    </a:lnTo>
                    <a:lnTo>
                      <a:pt x="0" y="25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138" y="0"/>
                    </a:lnTo>
                    <a:lnTo>
                      <a:pt x="142" y="0"/>
                    </a:lnTo>
                    <a:lnTo>
                      <a:pt x="148" y="1"/>
                    </a:lnTo>
                    <a:lnTo>
                      <a:pt x="152" y="4"/>
                    </a:lnTo>
                    <a:lnTo>
                      <a:pt x="156" y="7"/>
                    </a:lnTo>
                    <a:lnTo>
                      <a:pt x="159" y="11"/>
                    </a:lnTo>
                    <a:lnTo>
                      <a:pt x="161" y="15"/>
                    </a:lnTo>
                    <a:lnTo>
                      <a:pt x="162" y="20"/>
                    </a:lnTo>
                    <a:lnTo>
                      <a:pt x="164" y="25"/>
                    </a:lnTo>
                    <a:lnTo>
                      <a:pt x="162" y="30"/>
                    </a:lnTo>
                    <a:lnTo>
                      <a:pt x="161" y="36"/>
                    </a:lnTo>
                    <a:lnTo>
                      <a:pt x="159" y="40"/>
                    </a:lnTo>
                    <a:lnTo>
                      <a:pt x="156" y="44"/>
                    </a:lnTo>
                    <a:lnTo>
                      <a:pt x="152" y="47"/>
                    </a:lnTo>
                    <a:lnTo>
                      <a:pt x="148" y="50"/>
                    </a:lnTo>
                    <a:lnTo>
                      <a:pt x="142" y="51"/>
                    </a:lnTo>
                    <a:lnTo>
                      <a:pt x="138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6"/>
              <p:cNvSpPr>
                <a:spLocks/>
              </p:cNvSpPr>
              <p:nvPr/>
            </p:nvSpPr>
            <p:spPr bwMode="auto">
              <a:xfrm>
                <a:off x="4502150" y="2233613"/>
                <a:ext cx="87313" cy="26988"/>
              </a:xfrm>
              <a:custGeom>
                <a:avLst/>
                <a:gdLst>
                  <a:gd name="T0" fmla="*/ 138 w 164"/>
                  <a:gd name="T1" fmla="*/ 52 h 52"/>
                  <a:gd name="T2" fmla="*/ 25 w 164"/>
                  <a:gd name="T3" fmla="*/ 52 h 52"/>
                  <a:gd name="T4" fmla="*/ 20 w 164"/>
                  <a:gd name="T5" fmla="*/ 52 h 52"/>
                  <a:gd name="T6" fmla="*/ 15 w 164"/>
                  <a:gd name="T7" fmla="*/ 50 h 52"/>
                  <a:gd name="T8" fmla="*/ 11 w 164"/>
                  <a:gd name="T9" fmla="*/ 47 h 52"/>
                  <a:gd name="T10" fmla="*/ 7 w 164"/>
                  <a:gd name="T11" fmla="*/ 44 h 52"/>
                  <a:gd name="T12" fmla="*/ 4 w 164"/>
                  <a:gd name="T13" fmla="*/ 40 h 52"/>
                  <a:gd name="T14" fmla="*/ 1 w 164"/>
                  <a:gd name="T15" fmla="*/ 36 h 52"/>
                  <a:gd name="T16" fmla="*/ 0 w 164"/>
                  <a:gd name="T17" fmla="*/ 31 h 52"/>
                  <a:gd name="T18" fmla="*/ 0 w 164"/>
                  <a:gd name="T19" fmla="*/ 26 h 52"/>
                  <a:gd name="T20" fmla="*/ 0 w 164"/>
                  <a:gd name="T21" fmla="*/ 20 h 52"/>
                  <a:gd name="T22" fmla="*/ 1 w 164"/>
                  <a:gd name="T23" fmla="*/ 16 h 52"/>
                  <a:gd name="T24" fmla="*/ 4 w 164"/>
                  <a:gd name="T25" fmla="*/ 11 h 52"/>
                  <a:gd name="T26" fmla="*/ 7 w 164"/>
                  <a:gd name="T27" fmla="*/ 7 h 52"/>
                  <a:gd name="T28" fmla="*/ 11 w 164"/>
                  <a:gd name="T29" fmla="*/ 4 h 52"/>
                  <a:gd name="T30" fmla="*/ 15 w 164"/>
                  <a:gd name="T31" fmla="*/ 1 h 52"/>
                  <a:gd name="T32" fmla="*/ 20 w 164"/>
                  <a:gd name="T33" fmla="*/ 0 h 52"/>
                  <a:gd name="T34" fmla="*/ 25 w 164"/>
                  <a:gd name="T35" fmla="*/ 0 h 52"/>
                  <a:gd name="T36" fmla="*/ 138 w 164"/>
                  <a:gd name="T37" fmla="*/ 0 h 52"/>
                  <a:gd name="T38" fmla="*/ 142 w 164"/>
                  <a:gd name="T39" fmla="*/ 0 h 52"/>
                  <a:gd name="T40" fmla="*/ 148 w 164"/>
                  <a:gd name="T41" fmla="*/ 1 h 52"/>
                  <a:gd name="T42" fmla="*/ 152 w 164"/>
                  <a:gd name="T43" fmla="*/ 4 h 52"/>
                  <a:gd name="T44" fmla="*/ 156 w 164"/>
                  <a:gd name="T45" fmla="*/ 7 h 52"/>
                  <a:gd name="T46" fmla="*/ 159 w 164"/>
                  <a:gd name="T47" fmla="*/ 11 h 52"/>
                  <a:gd name="T48" fmla="*/ 161 w 164"/>
                  <a:gd name="T49" fmla="*/ 16 h 52"/>
                  <a:gd name="T50" fmla="*/ 162 w 164"/>
                  <a:gd name="T51" fmla="*/ 20 h 52"/>
                  <a:gd name="T52" fmla="*/ 164 w 164"/>
                  <a:gd name="T53" fmla="*/ 26 h 52"/>
                  <a:gd name="T54" fmla="*/ 162 w 164"/>
                  <a:gd name="T55" fmla="*/ 31 h 52"/>
                  <a:gd name="T56" fmla="*/ 161 w 164"/>
                  <a:gd name="T57" fmla="*/ 36 h 52"/>
                  <a:gd name="T58" fmla="*/ 159 w 164"/>
                  <a:gd name="T59" fmla="*/ 40 h 52"/>
                  <a:gd name="T60" fmla="*/ 156 w 164"/>
                  <a:gd name="T61" fmla="*/ 44 h 52"/>
                  <a:gd name="T62" fmla="*/ 152 w 164"/>
                  <a:gd name="T63" fmla="*/ 47 h 52"/>
                  <a:gd name="T64" fmla="*/ 148 w 164"/>
                  <a:gd name="T65" fmla="*/ 50 h 52"/>
                  <a:gd name="T66" fmla="*/ 142 w 164"/>
                  <a:gd name="T67" fmla="*/ 52 h 52"/>
                  <a:gd name="T68" fmla="*/ 138 w 164"/>
                  <a:gd name="T6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2">
                    <a:moveTo>
                      <a:pt x="138" y="52"/>
                    </a:moveTo>
                    <a:lnTo>
                      <a:pt x="25" y="52"/>
                    </a:lnTo>
                    <a:lnTo>
                      <a:pt x="20" y="52"/>
                    </a:lnTo>
                    <a:lnTo>
                      <a:pt x="15" y="50"/>
                    </a:lnTo>
                    <a:lnTo>
                      <a:pt x="11" y="47"/>
                    </a:lnTo>
                    <a:lnTo>
                      <a:pt x="7" y="44"/>
                    </a:lnTo>
                    <a:lnTo>
                      <a:pt x="4" y="40"/>
                    </a:lnTo>
                    <a:lnTo>
                      <a:pt x="1" y="36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138" y="0"/>
                    </a:lnTo>
                    <a:lnTo>
                      <a:pt x="142" y="0"/>
                    </a:lnTo>
                    <a:lnTo>
                      <a:pt x="148" y="1"/>
                    </a:lnTo>
                    <a:lnTo>
                      <a:pt x="152" y="4"/>
                    </a:lnTo>
                    <a:lnTo>
                      <a:pt x="156" y="7"/>
                    </a:lnTo>
                    <a:lnTo>
                      <a:pt x="159" y="11"/>
                    </a:lnTo>
                    <a:lnTo>
                      <a:pt x="161" y="16"/>
                    </a:lnTo>
                    <a:lnTo>
                      <a:pt x="162" y="20"/>
                    </a:lnTo>
                    <a:lnTo>
                      <a:pt x="164" y="26"/>
                    </a:lnTo>
                    <a:lnTo>
                      <a:pt x="162" y="31"/>
                    </a:lnTo>
                    <a:lnTo>
                      <a:pt x="161" y="36"/>
                    </a:lnTo>
                    <a:lnTo>
                      <a:pt x="159" y="40"/>
                    </a:lnTo>
                    <a:lnTo>
                      <a:pt x="156" y="44"/>
                    </a:lnTo>
                    <a:lnTo>
                      <a:pt x="152" y="47"/>
                    </a:lnTo>
                    <a:lnTo>
                      <a:pt x="148" y="50"/>
                    </a:lnTo>
                    <a:lnTo>
                      <a:pt x="142" y="52"/>
                    </a:lnTo>
                    <a:lnTo>
                      <a:pt x="138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7"/>
              <p:cNvSpPr>
                <a:spLocks/>
              </p:cNvSpPr>
              <p:nvPr/>
            </p:nvSpPr>
            <p:spPr bwMode="auto">
              <a:xfrm>
                <a:off x="4502150" y="2351088"/>
                <a:ext cx="87313" cy="28575"/>
              </a:xfrm>
              <a:custGeom>
                <a:avLst/>
                <a:gdLst>
                  <a:gd name="T0" fmla="*/ 138 w 164"/>
                  <a:gd name="T1" fmla="*/ 52 h 52"/>
                  <a:gd name="T2" fmla="*/ 25 w 164"/>
                  <a:gd name="T3" fmla="*/ 52 h 52"/>
                  <a:gd name="T4" fmla="*/ 20 w 164"/>
                  <a:gd name="T5" fmla="*/ 52 h 52"/>
                  <a:gd name="T6" fmla="*/ 15 w 164"/>
                  <a:gd name="T7" fmla="*/ 50 h 52"/>
                  <a:gd name="T8" fmla="*/ 11 w 164"/>
                  <a:gd name="T9" fmla="*/ 47 h 52"/>
                  <a:gd name="T10" fmla="*/ 7 w 164"/>
                  <a:gd name="T11" fmla="*/ 45 h 52"/>
                  <a:gd name="T12" fmla="*/ 4 w 164"/>
                  <a:gd name="T13" fmla="*/ 40 h 52"/>
                  <a:gd name="T14" fmla="*/ 1 w 164"/>
                  <a:gd name="T15" fmla="*/ 36 h 52"/>
                  <a:gd name="T16" fmla="*/ 0 w 164"/>
                  <a:gd name="T17" fmla="*/ 32 h 52"/>
                  <a:gd name="T18" fmla="*/ 0 w 164"/>
                  <a:gd name="T19" fmla="*/ 26 h 52"/>
                  <a:gd name="T20" fmla="*/ 0 w 164"/>
                  <a:gd name="T21" fmla="*/ 20 h 52"/>
                  <a:gd name="T22" fmla="*/ 1 w 164"/>
                  <a:gd name="T23" fmla="*/ 16 h 52"/>
                  <a:gd name="T24" fmla="*/ 4 w 164"/>
                  <a:gd name="T25" fmla="*/ 11 h 52"/>
                  <a:gd name="T26" fmla="*/ 7 w 164"/>
                  <a:gd name="T27" fmla="*/ 7 h 52"/>
                  <a:gd name="T28" fmla="*/ 11 w 164"/>
                  <a:gd name="T29" fmla="*/ 4 h 52"/>
                  <a:gd name="T30" fmla="*/ 15 w 164"/>
                  <a:gd name="T31" fmla="*/ 1 h 52"/>
                  <a:gd name="T32" fmla="*/ 20 w 164"/>
                  <a:gd name="T33" fmla="*/ 0 h 52"/>
                  <a:gd name="T34" fmla="*/ 25 w 164"/>
                  <a:gd name="T35" fmla="*/ 0 h 52"/>
                  <a:gd name="T36" fmla="*/ 138 w 164"/>
                  <a:gd name="T37" fmla="*/ 0 h 52"/>
                  <a:gd name="T38" fmla="*/ 142 w 164"/>
                  <a:gd name="T39" fmla="*/ 0 h 52"/>
                  <a:gd name="T40" fmla="*/ 148 w 164"/>
                  <a:gd name="T41" fmla="*/ 1 h 52"/>
                  <a:gd name="T42" fmla="*/ 152 w 164"/>
                  <a:gd name="T43" fmla="*/ 4 h 52"/>
                  <a:gd name="T44" fmla="*/ 156 w 164"/>
                  <a:gd name="T45" fmla="*/ 7 h 52"/>
                  <a:gd name="T46" fmla="*/ 159 w 164"/>
                  <a:gd name="T47" fmla="*/ 11 h 52"/>
                  <a:gd name="T48" fmla="*/ 161 w 164"/>
                  <a:gd name="T49" fmla="*/ 16 h 52"/>
                  <a:gd name="T50" fmla="*/ 162 w 164"/>
                  <a:gd name="T51" fmla="*/ 20 h 52"/>
                  <a:gd name="T52" fmla="*/ 164 w 164"/>
                  <a:gd name="T53" fmla="*/ 26 h 52"/>
                  <a:gd name="T54" fmla="*/ 162 w 164"/>
                  <a:gd name="T55" fmla="*/ 32 h 52"/>
                  <a:gd name="T56" fmla="*/ 161 w 164"/>
                  <a:gd name="T57" fmla="*/ 36 h 52"/>
                  <a:gd name="T58" fmla="*/ 159 w 164"/>
                  <a:gd name="T59" fmla="*/ 40 h 52"/>
                  <a:gd name="T60" fmla="*/ 156 w 164"/>
                  <a:gd name="T61" fmla="*/ 45 h 52"/>
                  <a:gd name="T62" fmla="*/ 152 w 164"/>
                  <a:gd name="T63" fmla="*/ 47 h 52"/>
                  <a:gd name="T64" fmla="*/ 148 w 164"/>
                  <a:gd name="T65" fmla="*/ 50 h 52"/>
                  <a:gd name="T66" fmla="*/ 142 w 164"/>
                  <a:gd name="T67" fmla="*/ 52 h 52"/>
                  <a:gd name="T68" fmla="*/ 138 w 164"/>
                  <a:gd name="T6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4" h="52">
                    <a:moveTo>
                      <a:pt x="138" y="52"/>
                    </a:moveTo>
                    <a:lnTo>
                      <a:pt x="25" y="52"/>
                    </a:lnTo>
                    <a:lnTo>
                      <a:pt x="20" y="52"/>
                    </a:lnTo>
                    <a:lnTo>
                      <a:pt x="15" y="50"/>
                    </a:lnTo>
                    <a:lnTo>
                      <a:pt x="11" y="47"/>
                    </a:lnTo>
                    <a:lnTo>
                      <a:pt x="7" y="45"/>
                    </a:lnTo>
                    <a:lnTo>
                      <a:pt x="4" y="40"/>
                    </a:lnTo>
                    <a:lnTo>
                      <a:pt x="1" y="36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138" y="0"/>
                    </a:lnTo>
                    <a:lnTo>
                      <a:pt x="142" y="0"/>
                    </a:lnTo>
                    <a:lnTo>
                      <a:pt x="148" y="1"/>
                    </a:lnTo>
                    <a:lnTo>
                      <a:pt x="152" y="4"/>
                    </a:lnTo>
                    <a:lnTo>
                      <a:pt x="156" y="7"/>
                    </a:lnTo>
                    <a:lnTo>
                      <a:pt x="159" y="11"/>
                    </a:lnTo>
                    <a:lnTo>
                      <a:pt x="161" y="16"/>
                    </a:lnTo>
                    <a:lnTo>
                      <a:pt x="162" y="20"/>
                    </a:lnTo>
                    <a:lnTo>
                      <a:pt x="164" y="26"/>
                    </a:lnTo>
                    <a:lnTo>
                      <a:pt x="162" y="32"/>
                    </a:lnTo>
                    <a:lnTo>
                      <a:pt x="161" y="36"/>
                    </a:lnTo>
                    <a:lnTo>
                      <a:pt x="159" y="40"/>
                    </a:lnTo>
                    <a:lnTo>
                      <a:pt x="156" y="45"/>
                    </a:lnTo>
                    <a:lnTo>
                      <a:pt x="152" y="47"/>
                    </a:lnTo>
                    <a:lnTo>
                      <a:pt x="148" y="50"/>
                    </a:lnTo>
                    <a:lnTo>
                      <a:pt x="142" y="52"/>
                    </a:lnTo>
                    <a:lnTo>
                      <a:pt x="138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06"/>
              <p:cNvSpPr>
                <a:spLocks/>
              </p:cNvSpPr>
              <p:nvPr/>
            </p:nvSpPr>
            <p:spPr bwMode="auto">
              <a:xfrm>
                <a:off x="4673600" y="1954213"/>
                <a:ext cx="236538" cy="169863"/>
              </a:xfrm>
              <a:custGeom>
                <a:avLst/>
                <a:gdLst>
                  <a:gd name="T0" fmla="*/ 153 w 446"/>
                  <a:gd name="T1" fmla="*/ 319 h 319"/>
                  <a:gd name="T2" fmla="*/ 147 w 446"/>
                  <a:gd name="T3" fmla="*/ 318 h 319"/>
                  <a:gd name="T4" fmla="*/ 143 w 446"/>
                  <a:gd name="T5" fmla="*/ 316 h 319"/>
                  <a:gd name="T6" fmla="*/ 138 w 446"/>
                  <a:gd name="T7" fmla="*/ 315 h 319"/>
                  <a:gd name="T8" fmla="*/ 134 w 446"/>
                  <a:gd name="T9" fmla="*/ 311 h 319"/>
                  <a:gd name="T10" fmla="*/ 7 w 446"/>
                  <a:gd name="T11" fmla="*/ 184 h 319"/>
                  <a:gd name="T12" fmla="*/ 4 w 446"/>
                  <a:gd name="T13" fmla="*/ 180 h 319"/>
                  <a:gd name="T14" fmla="*/ 1 w 446"/>
                  <a:gd name="T15" fmla="*/ 175 h 319"/>
                  <a:gd name="T16" fmla="*/ 0 w 446"/>
                  <a:gd name="T17" fmla="*/ 171 h 319"/>
                  <a:gd name="T18" fmla="*/ 0 w 446"/>
                  <a:gd name="T19" fmla="*/ 165 h 319"/>
                  <a:gd name="T20" fmla="*/ 0 w 446"/>
                  <a:gd name="T21" fmla="*/ 161 h 319"/>
                  <a:gd name="T22" fmla="*/ 1 w 446"/>
                  <a:gd name="T23" fmla="*/ 157 h 319"/>
                  <a:gd name="T24" fmla="*/ 4 w 446"/>
                  <a:gd name="T25" fmla="*/ 151 h 319"/>
                  <a:gd name="T26" fmla="*/ 7 w 446"/>
                  <a:gd name="T27" fmla="*/ 148 h 319"/>
                  <a:gd name="T28" fmla="*/ 11 w 446"/>
                  <a:gd name="T29" fmla="*/ 144 h 319"/>
                  <a:gd name="T30" fmla="*/ 16 w 446"/>
                  <a:gd name="T31" fmla="*/ 142 h 319"/>
                  <a:gd name="T32" fmla="*/ 20 w 446"/>
                  <a:gd name="T33" fmla="*/ 141 h 319"/>
                  <a:gd name="T34" fmla="*/ 26 w 446"/>
                  <a:gd name="T35" fmla="*/ 139 h 319"/>
                  <a:gd name="T36" fmla="*/ 30 w 446"/>
                  <a:gd name="T37" fmla="*/ 141 h 319"/>
                  <a:gd name="T38" fmla="*/ 36 w 446"/>
                  <a:gd name="T39" fmla="*/ 142 h 319"/>
                  <a:gd name="T40" fmla="*/ 40 w 446"/>
                  <a:gd name="T41" fmla="*/ 144 h 319"/>
                  <a:gd name="T42" fmla="*/ 45 w 446"/>
                  <a:gd name="T43" fmla="*/ 148 h 319"/>
                  <a:gd name="T44" fmla="*/ 153 w 446"/>
                  <a:gd name="T45" fmla="*/ 256 h 319"/>
                  <a:gd name="T46" fmla="*/ 402 w 446"/>
                  <a:gd name="T47" fmla="*/ 7 h 319"/>
                  <a:gd name="T48" fmla="*/ 406 w 446"/>
                  <a:gd name="T49" fmla="*/ 4 h 319"/>
                  <a:gd name="T50" fmla="*/ 410 w 446"/>
                  <a:gd name="T51" fmla="*/ 1 h 319"/>
                  <a:gd name="T52" fmla="*/ 415 w 446"/>
                  <a:gd name="T53" fmla="*/ 0 h 319"/>
                  <a:gd name="T54" fmla="*/ 420 w 446"/>
                  <a:gd name="T55" fmla="*/ 0 h 319"/>
                  <a:gd name="T56" fmla="*/ 425 w 446"/>
                  <a:gd name="T57" fmla="*/ 0 h 319"/>
                  <a:gd name="T58" fmla="*/ 429 w 446"/>
                  <a:gd name="T59" fmla="*/ 1 h 319"/>
                  <a:gd name="T60" fmla="*/ 435 w 446"/>
                  <a:gd name="T61" fmla="*/ 4 h 319"/>
                  <a:gd name="T62" fmla="*/ 438 w 446"/>
                  <a:gd name="T63" fmla="*/ 7 h 319"/>
                  <a:gd name="T64" fmla="*/ 442 w 446"/>
                  <a:gd name="T65" fmla="*/ 11 h 319"/>
                  <a:gd name="T66" fmla="*/ 443 w 446"/>
                  <a:gd name="T67" fmla="*/ 16 h 319"/>
                  <a:gd name="T68" fmla="*/ 445 w 446"/>
                  <a:gd name="T69" fmla="*/ 20 h 319"/>
                  <a:gd name="T70" fmla="*/ 446 w 446"/>
                  <a:gd name="T71" fmla="*/ 26 h 319"/>
                  <a:gd name="T72" fmla="*/ 445 w 446"/>
                  <a:gd name="T73" fmla="*/ 30 h 319"/>
                  <a:gd name="T74" fmla="*/ 443 w 446"/>
                  <a:gd name="T75" fmla="*/ 36 h 319"/>
                  <a:gd name="T76" fmla="*/ 442 w 446"/>
                  <a:gd name="T77" fmla="*/ 40 h 319"/>
                  <a:gd name="T78" fmla="*/ 438 w 446"/>
                  <a:gd name="T79" fmla="*/ 44 h 319"/>
                  <a:gd name="T80" fmla="*/ 171 w 446"/>
                  <a:gd name="T81" fmla="*/ 311 h 319"/>
                  <a:gd name="T82" fmla="*/ 167 w 446"/>
                  <a:gd name="T83" fmla="*/ 315 h 319"/>
                  <a:gd name="T84" fmla="*/ 163 w 446"/>
                  <a:gd name="T85" fmla="*/ 316 h 319"/>
                  <a:gd name="T86" fmla="*/ 157 w 446"/>
                  <a:gd name="T87" fmla="*/ 318 h 319"/>
                  <a:gd name="T88" fmla="*/ 153 w 446"/>
                  <a:gd name="T89" fmla="*/ 319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6" h="319">
                    <a:moveTo>
                      <a:pt x="153" y="319"/>
                    </a:moveTo>
                    <a:lnTo>
                      <a:pt x="147" y="318"/>
                    </a:lnTo>
                    <a:lnTo>
                      <a:pt x="143" y="316"/>
                    </a:lnTo>
                    <a:lnTo>
                      <a:pt x="138" y="315"/>
                    </a:lnTo>
                    <a:lnTo>
                      <a:pt x="134" y="311"/>
                    </a:lnTo>
                    <a:lnTo>
                      <a:pt x="7" y="184"/>
                    </a:lnTo>
                    <a:lnTo>
                      <a:pt x="4" y="180"/>
                    </a:lnTo>
                    <a:lnTo>
                      <a:pt x="1" y="175"/>
                    </a:lnTo>
                    <a:lnTo>
                      <a:pt x="0" y="171"/>
                    </a:lnTo>
                    <a:lnTo>
                      <a:pt x="0" y="165"/>
                    </a:lnTo>
                    <a:lnTo>
                      <a:pt x="0" y="161"/>
                    </a:lnTo>
                    <a:lnTo>
                      <a:pt x="1" y="157"/>
                    </a:lnTo>
                    <a:lnTo>
                      <a:pt x="4" y="151"/>
                    </a:lnTo>
                    <a:lnTo>
                      <a:pt x="7" y="148"/>
                    </a:lnTo>
                    <a:lnTo>
                      <a:pt x="11" y="144"/>
                    </a:lnTo>
                    <a:lnTo>
                      <a:pt x="16" y="142"/>
                    </a:lnTo>
                    <a:lnTo>
                      <a:pt x="20" y="141"/>
                    </a:lnTo>
                    <a:lnTo>
                      <a:pt x="26" y="139"/>
                    </a:lnTo>
                    <a:lnTo>
                      <a:pt x="30" y="141"/>
                    </a:lnTo>
                    <a:lnTo>
                      <a:pt x="36" y="142"/>
                    </a:lnTo>
                    <a:lnTo>
                      <a:pt x="40" y="144"/>
                    </a:lnTo>
                    <a:lnTo>
                      <a:pt x="45" y="148"/>
                    </a:lnTo>
                    <a:lnTo>
                      <a:pt x="153" y="256"/>
                    </a:lnTo>
                    <a:lnTo>
                      <a:pt x="402" y="7"/>
                    </a:lnTo>
                    <a:lnTo>
                      <a:pt x="406" y="4"/>
                    </a:lnTo>
                    <a:lnTo>
                      <a:pt x="410" y="1"/>
                    </a:lnTo>
                    <a:lnTo>
                      <a:pt x="415" y="0"/>
                    </a:lnTo>
                    <a:lnTo>
                      <a:pt x="420" y="0"/>
                    </a:lnTo>
                    <a:lnTo>
                      <a:pt x="425" y="0"/>
                    </a:lnTo>
                    <a:lnTo>
                      <a:pt x="429" y="1"/>
                    </a:lnTo>
                    <a:lnTo>
                      <a:pt x="435" y="4"/>
                    </a:lnTo>
                    <a:lnTo>
                      <a:pt x="438" y="7"/>
                    </a:lnTo>
                    <a:lnTo>
                      <a:pt x="442" y="11"/>
                    </a:lnTo>
                    <a:lnTo>
                      <a:pt x="443" y="16"/>
                    </a:lnTo>
                    <a:lnTo>
                      <a:pt x="445" y="20"/>
                    </a:lnTo>
                    <a:lnTo>
                      <a:pt x="446" y="26"/>
                    </a:lnTo>
                    <a:lnTo>
                      <a:pt x="445" y="30"/>
                    </a:lnTo>
                    <a:lnTo>
                      <a:pt x="443" y="36"/>
                    </a:lnTo>
                    <a:lnTo>
                      <a:pt x="442" y="40"/>
                    </a:lnTo>
                    <a:lnTo>
                      <a:pt x="438" y="44"/>
                    </a:lnTo>
                    <a:lnTo>
                      <a:pt x="171" y="311"/>
                    </a:lnTo>
                    <a:lnTo>
                      <a:pt x="167" y="315"/>
                    </a:lnTo>
                    <a:lnTo>
                      <a:pt x="163" y="316"/>
                    </a:lnTo>
                    <a:lnTo>
                      <a:pt x="157" y="318"/>
                    </a:lnTo>
                    <a:lnTo>
                      <a:pt x="153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14"/>
              <p:cNvSpPr>
                <a:spLocks noEditPoints="1"/>
              </p:cNvSpPr>
              <p:nvPr/>
            </p:nvSpPr>
            <p:spPr bwMode="auto">
              <a:xfrm>
                <a:off x="4614863" y="1887538"/>
                <a:ext cx="328613" cy="327025"/>
              </a:xfrm>
              <a:custGeom>
                <a:avLst/>
                <a:gdLst>
                  <a:gd name="T0" fmla="*/ 257 w 620"/>
                  <a:gd name="T1" fmla="*/ 57 h 620"/>
                  <a:gd name="T2" fmla="*/ 187 w 620"/>
                  <a:gd name="T3" fmla="*/ 83 h 620"/>
                  <a:gd name="T4" fmla="*/ 128 w 620"/>
                  <a:gd name="T5" fmla="*/ 128 h 620"/>
                  <a:gd name="T6" fmla="*/ 83 w 620"/>
                  <a:gd name="T7" fmla="*/ 187 h 620"/>
                  <a:gd name="T8" fmla="*/ 57 w 620"/>
                  <a:gd name="T9" fmla="*/ 259 h 620"/>
                  <a:gd name="T10" fmla="*/ 53 w 620"/>
                  <a:gd name="T11" fmla="*/ 336 h 620"/>
                  <a:gd name="T12" fmla="*/ 72 w 620"/>
                  <a:gd name="T13" fmla="*/ 410 h 620"/>
                  <a:gd name="T14" fmla="*/ 111 w 620"/>
                  <a:gd name="T15" fmla="*/ 473 h 620"/>
                  <a:gd name="T16" fmla="*/ 165 w 620"/>
                  <a:gd name="T17" fmla="*/ 524 h 620"/>
                  <a:gd name="T18" fmla="*/ 233 w 620"/>
                  <a:gd name="T19" fmla="*/ 557 h 620"/>
                  <a:gd name="T20" fmla="*/ 309 w 620"/>
                  <a:gd name="T21" fmla="*/ 568 h 620"/>
                  <a:gd name="T22" fmla="*/ 386 w 620"/>
                  <a:gd name="T23" fmla="*/ 557 h 620"/>
                  <a:gd name="T24" fmla="*/ 453 w 620"/>
                  <a:gd name="T25" fmla="*/ 524 h 620"/>
                  <a:gd name="T26" fmla="*/ 508 w 620"/>
                  <a:gd name="T27" fmla="*/ 473 h 620"/>
                  <a:gd name="T28" fmla="*/ 547 w 620"/>
                  <a:gd name="T29" fmla="*/ 410 h 620"/>
                  <a:gd name="T30" fmla="*/ 566 w 620"/>
                  <a:gd name="T31" fmla="*/ 336 h 620"/>
                  <a:gd name="T32" fmla="*/ 563 w 620"/>
                  <a:gd name="T33" fmla="*/ 259 h 620"/>
                  <a:gd name="T34" fmla="*/ 537 w 620"/>
                  <a:gd name="T35" fmla="*/ 187 h 620"/>
                  <a:gd name="T36" fmla="*/ 492 w 620"/>
                  <a:gd name="T37" fmla="*/ 128 h 620"/>
                  <a:gd name="T38" fmla="*/ 432 w 620"/>
                  <a:gd name="T39" fmla="*/ 83 h 620"/>
                  <a:gd name="T40" fmla="*/ 361 w 620"/>
                  <a:gd name="T41" fmla="*/ 57 h 620"/>
                  <a:gd name="T42" fmla="*/ 309 w 620"/>
                  <a:gd name="T43" fmla="*/ 620 h 620"/>
                  <a:gd name="T44" fmla="*/ 262 w 620"/>
                  <a:gd name="T45" fmla="*/ 616 h 620"/>
                  <a:gd name="T46" fmla="*/ 217 w 620"/>
                  <a:gd name="T47" fmla="*/ 606 h 620"/>
                  <a:gd name="T48" fmla="*/ 175 w 620"/>
                  <a:gd name="T49" fmla="*/ 590 h 620"/>
                  <a:gd name="T50" fmla="*/ 136 w 620"/>
                  <a:gd name="T51" fmla="*/ 567 h 620"/>
                  <a:gd name="T52" fmla="*/ 70 w 620"/>
                  <a:gd name="T53" fmla="*/ 508 h 620"/>
                  <a:gd name="T54" fmla="*/ 37 w 620"/>
                  <a:gd name="T55" fmla="*/ 457 h 620"/>
                  <a:gd name="T56" fmla="*/ 18 w 620"/>
                  <a:gd name="T57" fmla="*/ 417 h 620"/>
                  <a:gd name="T58" fmla="*/ 5 w 620"/>
                  <a:gd name="T59" fmla="*/ 372 h 620"/>
                  <a:gd name="T60" fmla="*/ 0 w 620"/>
                  <a:gd name="T61" fmla="*/ 326 h 620"/>
                  <a:gd name="T62" fmla="*/ 1 w 620"/>
                  <a:gd name="T63" fmla="*/ 279 h 620"/>
                  <a:gd name="T64" fmla="*/ 10 w 620"/>
                  <a:gd name="T65" fmla="*/ 233 h 620"/>
                  <a:gd name="T66" fmla="*/ 24 w 620"/>
                  <a:gd name="T67" fmla="*/ 190 h 620"/>
                  <a:gd name="T68" fmla="*/ 44 w 620"/>
                  <a:gd name="T69" fmla="*/ 149 h 620"/>
                  <a:gd name="T70" fmla="*/ 90 w 620"/>
                  <a:gd name="T71" fmla="*/ 90 h 620"/>
                  <a:gd name="T72" fmla="*/ 149 w 620"/>
                  <a:gd name="T73" fmla="*/ 46 h 620"/>
                  <a:gd name="T74" fmla="*/ 188 w 620"/>
                  <a:gd name="T75" fmla="*/ 24 h 620"/>
                  <a:gd name="T76" fmla="*/ 231 w 620"/>
                  <a:gd name="T77" fmla="*/ 10 h 620"/>
                  <a:gd name="T78" fmla="*/ 278 w 620"/>
                  <a:gd name="T79" fmla="*/ 1 h 620"/>
                  <a:gd name="T80" fmla="*/ 325 w 620"/>
                  <a:gd name="T81" fmla="*/ 1 h 620"/>
                  <a:gd name="T82" fmla="*/ 373 w 620"/>
                  <a:gd name="T83" fmla="*/ 7 h 620"/>
                  <a:gd name="T84" fmla="*/ 416 w 620"/>
                  <a:gd name="T85" fmla="*/ 18 h 620"/>
                  <a:gd name="T86" fmla="*/ 458 w 620"/>
                  <a:gd name="T87" fmla="*/ 37 h 620"/>
                  <a:gd name="T88" fmla="*/ 507 w 620"/>
                  <a:gd name="T89" fmla="*/ 72 h 620"/>
                  <a:gd name="T90" fmla="*/ 567 w 620"/>
                  <a:gd name="T91" fmla="*/ 136 h 620"/>
                  <a:gd name="T92" fmla="*/ 589 w 620"/>
                  <a:gd name="T93" fmla="*/ 175 h 620"/>
                  <a:gd name="T94" fmla="*/ 606 w 620"/>
                  <a:gd name="T95" fmla="*/ 218 h 620"/>
                  <a:gd name="T96" fmla="*/ 616 w 620"/>
                  <a:gd name="T97" fmla="*/ 263 h 620"/>
                  <a:gd name="T98" fmla="*/ 620 w 620"/>
                  <a:gd name="T99" fmla="*/ 311 h 620"/>
                  <a:gd name="T100" fmla="*/ 616 w 620"/>
                  <a:gd name="T101" fmla="*/ 357 h 620"/>
                  <a:gd name="T102" fmla="*/ 606 w 620"/>
                  <a:gd name="T103" fmla="*/ 403 h 620"/>
                  <a:gd name="T104" fmla="*/ 589 w 620"/>
                  <a:gd name="T105" fmla="*/ 444 h 620"/>
                  <a:gd name="T106" fmla="*/ 567 w 620"/>
                  <a:gd name="T107" fmla="*/ 483 h 620"/>
                  <a:gd name="T108" fmla="*/ 507 w 620"/>
                  <a:gd name="T109" fmla="*/ 550 h 620"/>
                  <a:gd name="T110" fmla="*/ 458 w 620"/>
                  <a:gd name="T111" fmla="*/ 583 h 620"/>
                  <a:gd name="T112" fmla="*/ 416 w 620"/>
                  <a:gd name="T113" fmla="*/ 601 h 620"/>
                  <a:gd name="T114" fmla="*/ 373 w 620"/>
                  <a:gd name="T115" fmla="*/ 614 h 620"/>
                  <a:gd name="T116" fmla="*/ 325 w 620"/>
                  <a:gd name="T117" fmla="*/ 62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20" h="620">
                    <a:moveTo>
                      <a:pt x="309" y="53"/>
                    </a:moveTo>
                    <a:lnTo>
                      <a:pt x="283" y="53"/>
                    </a:lnTo>
                    <a:lnTo>
                      <a:pt x="257" y="57"/>
                    </a:lnTo>
                    <a:lnTo>
                      <a:pt x="233" y="64"/>
                    </a:lnTo>
                    <a:lnTo>
                      <a:pt x="210" y="73"/>
                    </a:lnTo>
                    <a:lnTo>
                      <a:pt x="187" y="83"/>
                    </a:lnTo>
                    <a:lnTo>
                      <a:pt x="165" y="96"/>
                    </a:lnTo>
                    <a:lnTo>
                      <a:pt x="145" y="112"/>
                    </a:lnTo>
                    <a:lnTo>
                      <a:pt x="128" y="128"/>
                    </a:lnTo>
                    <a:lnTo>
                      <a:pt x="111" y="146"/>
                    </a:lnTo>
                    <a:lnTo>
                      <a:pt x="96" y="167"/>
                    </a:lnTo>
                    <a:lnTo>
                      <a:pt x="83" y="187"/>
                    </a:lnTo>
                    <a:lnTo>
                      <a:pt x="72" y="210"/>
                    </a:lnTo>
                    <a:lnTo>
                      <a:pt x="63" y="233"/>
                    </a:lnTo>
                    <a:lnTo>
                      <a:pt x="57" y="259"/>
                    </a:lnTo>
                    <a:lnTo>
                      <a:pt x="53" y="283"/>
                    </a:lnTo>
                    <a:lnTo>
                      <a:pt x="51" y="311"/>
                    </a:lnTo>
                    <a:lnTo>
                      <a:pt x="53" y="336"/>
                    </a:lnTo>
                    <a:lnTo>
                      <a:pt x="57" y="362"/>
                    </a:lnTo>
                    <a:lnTo>
                      <a:pt x="63" y="387"/>
                    </a:lnTo>
                    <a:lnTo>
                      <a:pt x="72" y="410"/>
                    </a:lnTo>
                    <a:lnTo>
                      <a:pt x="83" y="433"/>
                    </a:lnTo>
                    <a:lnTo>
                      <a:pt x="96" y="455"/>
                    </a:lnTo>
                    <a:lnTo>
                      <a:pt x="111" y="473"/>
                    </a:lnTo>
                    <a:lnTo>
                      <a:pt x="128" y="492"/>
                    </a:lnTo>
                    <a:lnTo>
                      <a:pt x="145" y="509"/>
                    </a:lnTo>
                    <a:lnTo>
                      <a:pt x="165" y="524"/>
                    </a:lnTo>
                    <a:lnTo>
                      <a:pt x="187" y="537"/>
                    </a:lnTo>
                    <a:lnTo>
                      <a:pt x="210" y="548"/>
                    </a:lnTo>
                    <a:lnTo>
                      <a:pt x="233" y="557"/>
                    </a:lnTo>
                    <a:lnTo>
                      <a:pt x="257" y="563"/>
                    </a:lnTo>
                    <a:lnTo>
                      <a:pt x="283" y="567"/>
                    </a:lnTo>
                    <a:lnTo>
                      <a:pt x="309" y="568"/>
                    </a:lnTo>
                    <a:lnTo>
                      <a:pt x="335" y="567"/>
                    </a:lnTo>
                    <a:lnTo>
                      <a:pt x="361" y="563"/>
                    </a:lnTo>
                    <a:lnTo>
                      <a:pt x="386" y="557"/>
                    </a:lnTo>
                    <a:lnTo>
                      <a:pt x="410" y="548"/>
                    </a:lnTo>
                    <a:lnTo>
                      <a:pt x="432" y="537"/>
                    </a:lnTo>
                    <a:lnTo>
                      <a:pt x="453" y="524"/>
                    </a:lnTo>
                    <a:lnTo>
                      <a:pt x="473" y="509"/>
                    </a:lnTo>
                    <a:lnTo>
                      <a:pt x="492" y="492"/>
                    </a:lnTo>
                    <a:lnTo>
                      <a:pt x="508" y="473"/>
                    </a:lnTo>
                    <a:lnTo>
                      <a:pt x="524" y="455"/>
                    </a:lnTo>
                    <a:lnTo>
                      <a:pt x="537" y="433"/>
                    </a:lnTo>
                    <a:lnTo>
                      <a:pt x="547" y="410"/>
                    </a:lnTo>
                    <a:lnTo>
                      <a:pt x="555" y="387"/>
                    </a:lnTo>
                    <a:lnTo>
                      <a:pt x="563" y="362"/>
                    </a:lnTo>
                    <a:lnTo>
                      <a:pt x="566" y="336"/>
                    </a:lnTo>
                    <a:lnTo>
                      <a:pt x="567" y="311"/>
                    </a:lnTo>
                    <a:lnTo>
                      <a:pt x="566" y="283"/>
                    </a:lnTo>
                    <a:lnTo>
                      <a:pt x="563" y="259"/>
                    </a:lnTo>
                    <a:lnTo>
                      <a:pt x="555" y="233"/>
                    </a:lnTo>
                    <a:lnTo>
                      <a:pt x="547" y="210"/>
                    </a:lnTo>
                    <a:lnTo>
                      <a:pt x="537" y="187"/>
                    </a:lnTo>
                    <a:lnTo>
                      <a:pt x="524" y="167"/>
                    </a:lnTo>
                    <a:lnTo>
                      <a:pt x="508" y="146"/>
                    </a:lnTo>
                    <a:lnTo>
                      <a:pt x="492" y="128"/>
                    </a:lnTo>
                    <a:lnTo>
                      <a:pt x="473" y="112"/>
                    </a:lnTo>
                    <a:lnTo>
                      <a:pt x="453" y="96"/>
                    </a:lnTo>
                    <a:lnTo>
                      <a:pt x="432" y="83"/>
                    </a:lnTo>
                    <a:lnTo>
                      <a:pt x="410" y="73"/>
                    </a:lnTo>
                    <a:lnTo>
                      <a:pt x="386" y="64"/>
                    </a:lnTo>
                    <a:lnTo>
                      <a:pt x="361" y="57"/>
                    </a:lnTo>
                    <a:lnTo>
                      <a:pt x="335" y="53"/>
                    </a:lnTo>
                    <a:lnTo>
                      <a:pt x="309" y="53"/>
                    </a:lnTo>
                    <a:close/>
                    <a:moveTo>
                      <a:pt x="309" y="620"/>
                    </a:moveTo>
                    <a:lnTo>
                      <a:pt x="293" y="620"/>
                    </a:lnTo>
                    <a:lnTo>
                      <a:pt x="278" y="619"/>
                    </a:lnTo>
                    <a:lnTo>
                      <a:pt x="262" y="616"/>
                    </a:lnTo>
                    <a:lnTo>
                      <a:pt x="247" y="614"/>
                    </a:lnTo>
                    <a:lnTo>
                      <a:pt x="231" y="610"/>
                    </a:lnTo>
                    <a:lnTo>
                      <a:pt x="217" y="606"/>
                    </a:lnTo>
                    <a:lnTo>
                      <a:pt x="203" y="601"/>
                    </a:lnTo>
                    <a:lnTo>
                      <a:pt x="188" y="596"/>
                    </a:lnTo>
                    <a:lnTo>
                      <a:pt x="175" y="590"/>
                    </a:lnTo>
                    <a:lnTo>
                      <a:pt x="162" y="583"/>
                    </a:lnTo>
                    <a:lnTo>
                      <a:pt x="149" y="575"/>
                    </a:lnTo>
                    <a:lnTo>
                      <a:pt x="136" y="567"/>
                    </a:lnTo>
                    <a:lnTo>
                      <a:pt x="112" y="550"/>
                    </a:lnTo>
                    <a:lnTo>
                      <a:pt x="90" y="529"/>
                    </a:lnTo>
                    <a:lnTo>
                      <a:pt x="70" y="508"/>
                    </a:lnTo>
                    <a:lnTo>
                      <a:pt x="53" y="483"/>
                    </a:lnTo>
                    <a:lnTo>
                      <a:pt x="44" y="470"/>
                    </a:lnTo>
                    <a:lnTo>
                      <a:pt x="37" y="457"/>
                    </a:lnTo>
                    <a:lnTo>
                      <a:pt x="30" y="444"/>
                    </a:lnTo>
                    <a:lnTo>
                      <a:pt x="24" y="430"/>
                    </a:lnTo>
                    <a:lnTo>
                      <a:pt x="18" y="417"/>
                    </a:lnTo>
                    <a:lnTo>
                      <a:pt x="14" y="403"/>
                    </a:lnTo>
                    <a:lnTo>
                      <a:pt x="10" y="387"/>
                    </a:lnTo>
                    <a:lnTo>
                      <a:pt x="5" y="372"/>
                    </a:lnTo>
                    <a:lnTo>
                      <a:pt x="3" y="357"/>
                    </a:lnTo>
                    <a:lnTo>
                      <a:pt x="1" y="342"/>
                    </a:lnTo>
                    <a:lnTo>
                      <a:pt x="0" y="326"/>
                    </a:lnTo>
                    <a:lnTo>
                      <a:pt x="0" y="311"/>
                    </a:lnTo>
                    <a:lnTo>
                      <a:pt x="0" y="295"/>
                    </a:lnTo>
                    <a:lnTo>
                      <a:pt x="1" y="279"/>
                    </a:lnTo>
                    <a:lnTo>
                      <a:pt x="3" y="263"/>
                    </a:lnTo>
                    <a:lnTo>
                      <a:pt x="5" y="247"/>
                    </a:lnTo>
                    <a:lnTo>
                      <a:pt x="10" y="233"/>
                    </a:lnTo>
                    <a:lnTo>
                      <a:pt x="14" y="218"/>
                    </a:lnTo>
                    <a:lnTo>
                      <a:pt x="18" y="204"/>
                    </a:lnTo>
                    <a:lnTo>
                      <a:pt x="24" y="190"/>
                    </a:lnTo>
                    <a:lnTo>
                      <a:pt x="30" y="175"/>
                    </a:lnTo>
                    <a:lnTo>
                      <a:pt x="37" y="162"/>
                    </a:lnTo>
                    <a:lnTo>
                      <a:pt x="44" y="149"/>
                    </a:lnTo>
                    <a:lnTo>
                      <a:pt x="53" y="136"/>
                    </a:lnTo>
                    <a:lnTo>
                      <a:pt x="70" y="113"/>
                    </a:lnTo>
                    <a:lnTo>
                      <a:pt x="90" y="90"/>
                    </a:lnTo>
                    <a:lnTo>
                      <a:pt x="112" y="72"/>
                    </a:lnTo>
                    <a:lnTo>
                      <a:pt x="136" y="53"/>
                    </a:lnTo>
                    <a:lnTo>
                      <a:pt x="149" y="46"/>
                    </a:lnTo>
                    <a:lnTo>
                      <a:pt x="162" y="37"/>
                    </a:lnTo>
                    <a:lnTo>
                      <a:pt x="175" y="31"/>
                    </a:lnTo>
                    <a:lnTo>
                      <a:pt x="188" y="24"/>
                    </a:lnTo>
                    <a:lnTo>
                      <a:pt x="203" y="18"/>
                    </a:lnTo>
                    <a:lnTo>
                      <a:pt x="217" y="14"/>
                    </a:lnTo>
                    <a:lnTo>
                      <a:pt x="231" y="10"/>
                    </a:lnTo>
                    <a:lnTo>
                      <a:pt x="247" y="7"/>
                    </a:lnTo>
                    <a:lnTo>
                      <a:pt x="262" y="4"/>
                    </a:lnTo>
                    <a:lnTo>
                      <a:pt x="278" y="1"/>
                    </a:lnTo>
                    <a:lnTo>
                      <a:pt x="293" y="1"/>
                    </a:lnTo>
                    <a:lnTo>
                      <a:pt x="309" y="0"/>
                    </a:lnTo>
                    <a:lnTo>
                      <a:pt x="325" y="1"/>
                    </a:lnTo>
                    <a:lnTo>
                      <a:pt x="341" y="1"/>
                    </a:lnTo>
                    <a:lnTo>
                      <a:pt x="357" y="4"/>
                    </a:lnTo>
                    <a:lnTo>
                      <a:pt x="373" y="7"/>
                    </a:lnTo>
                    <a:lnTo>
                      <a:pt x="387" y="10"/>
                    </a:lnTo>
                    <a:lnTo>
                      <a:pt x="401" y="14"/>
                    </a:lnTo>
                    <a:lnTo>
                      <a:pt x="416" y="18"/>
                    </a:lnTo>
                    <a:lnTo>
                      <a:pt x="430" y="24"/>
                    </a:lnTo>
                    <a:lnTo>
                      <a:pt x="443" y="31"/>
                    </a:lnTo>
                    <a:lnTo>
                      <a:pt x="458" y="37"/>
                    </a:lnTo>
                    <a:lnTo>
                      <a:pt x="471" y="46"/>
                    </a:lnTo>
                    <a:lnTo>
                      <a:pt x="482" y="53"/>
                    </a:lnTo>
                    <a:lnTo>
                      <a:pt x="507" y="72"/>
                    </a:lnTo>
                    <a:lnTo>
                      <a:pt x="528" y="90"/>
                    </a:lnTo>
                    <a:lnTo>
                      <a:pt x="548" y="113"/>
                    </a:lnTo>
                    <a:lnTo>
                      <a:pt x="567" y="136"/>
                    </a:lnTo>
                    <a:lnTo>
                      <a:pt x="574" y="149"/>
                    </a:lnTo>
                    <a:lnTo>
                      <a:pt x="581" y="162"/>
                    </a:lnTo>
                    <a:lnTo>
                      <a:pt x="589" y="175"/>
                    </a:lnTo>
                    <a:lnTo>
                      <a:pt x="596" y="190"/>
                    </a:lnTo>
                    <a:lnTo>
                      <a:pt x="600" y="204"/>
                    </a:lnTo>
                    <a:lnTo>
                      <a:pt x="606" y="218"/>
                    </a:lnTo>
                    <a:lnTo>
                      <a:pt x="610" y="233"/>
                    </a:lnTo>
                    <a:lnTo>
                      <a:pt x="613" y="247"/>
                    </a:lnTo>
                    <a:lnTo>
                      <a:pt x="616" y="263"/>
                    </a:lnTo>
                    <a:lnTo>
                      <a:pt x="617" y="279"/>
                    </a:lnTo>
                    <a:lnTo>
                      <a:pt x="619" y="295"/>
                    </a:lnTo>
                    <a:lnTo>
                      <a:pt x="620" y="311"/>
                    </a:lnTo>
                    <a:lnTo>
                      <a:pt x="619" y="326"/>
                    </a:lnTo>
                    <a:lnTo>
                      <a:pt x="617" y="342"/>
                    </a:lnTo>
                    <a:lnTo>
                      <a:pt x="616" y="357"/>
                    </a:lnTo>
                    <a:lnTo>
                      <a:pt x="613" y="372"/>
                    </a:lnTo>
                    <a:lnTo>
                      <a:pt x="610" y="387"/>
                    </a:lnTo>
                    <a:lnTo>
                      <a:pt x="606" y="403"/>
                    </a:lnTo>
                    <a:lnTo>
                      <a:pt x="600" y="417"/>
                    </a:lnTo>
                    <a:lnTo>
                      <a:pt x="596" y="430"/>
                    </a:lnTo>
                    <a:lnTo>
                      <a:pt x="589" y="444"/>
                    </a:lnTo>
                    <a:lnTo>
                      <a:pt x="581" y="457"/>
                    </a:lnTo>
                    <a:lnTo>
                      <a:pt x="574" y="470"/>
                    </a:lnTo>
                    <a:lnTo>
                      <a:pt x="567" y="483"/>
                    </a:lnTo>
                    <a:lnTo>
                      <a:pt x="548" y="508"/>
                    </a:lnTo>
                    <a:lnTo>
                      <a:pt x="528" y="529"/>
                    </a:lnTo>
                    <a:lnTo>
                      <a:pt x="507" y="550"/>
                    </a:lnTo>
                    <a:lnTo>
                      <a:pt x="482" y="567"/>
                    </a:lnTo>
                    <a:lnTo>
                      <a:pt x="471" y="575"/>
                    </a:lnTo>
                    <a:lnTo>
                      <a:pt x="458" y="583"/>
                    </a:lnTo>
                    <a:lnTo>
                      <a:pt x="443" y="590"/>
                    </a:lnTo>
                    <a:lnTo>
                      <a:pt x="430" y="596"/>
                    </a:lnTo>
                    <a:lnTo>
                      <a:pt x="416" y="601"/>
                    </a:lnTo>
                    <a:lnTo>
                      <a:pt x="401" y="606"/>
                    </a:lnTo>
                    <a:lnTo>
                      <a:pt x="387" y="610"/>
                    </a:lnTo>
                    <a:lnTo>
                      <a:pt x="373" y="614"/>
                    </a:lnTo>
                    <a:lnTo>
                      <a:pt x="357" y="616"/>
                    </a:lnTo>
                    <a:lnTo>
                      <a:pt x="341" y="619"/>
                    </a:lnTo>
                    <a:lnTo>
                      <a:pt x="325" y="620"/>
                    </a:lnTo>
                    <a:lnTo>
                      <a:pt x="309" y="6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15"/>
              <p:cNvSpPr>
                <a:spLocks/>
              </p:cNvSpPr>
              <p:nvPr/>
            </p:nvSpPr>
            <p:spPr bwMode="auto">
              <a:xfrm>
                <a:off x="4891088" y="2135188"/>
                <a:ext cx="231775" cy="231775"/>
              </a:xfrm>
              <a:custGeom>
                <a:avLst/>
                <a:gdLst>
                  <a:gd name="T0" fmla="*/ 412 w 438"/>
                  <a:gd name="T1" fmla="*/ 438 h 438"/>
                  <a:gd name="T2" fmla="*/ 407 w 438"/>
                  <a:gd name="T3" fmla="*/ 438 h 438"/>
                  <a:gd name="T4" fmla="*/ 402 w 438"/>
                  <a:gd name="T5" fmla="*/ 437 h 438"/>
                  <a:gd name="T6" fmla="*/ 397 w 438"/>
                  <a:gd name="T7" fmla="*/ 434 h 438"/>
                  <a:gd name="T8" fmla="*/ 393 w 438"/>
                  <a:gd name="T9" fmla="*/ 431 h 438"/>
                  <a:gd name="T10" fmla="*/ 7 w 438"/>
                  <a:gd name="T11" fmla="*/ 45 h 438"/>
                  <a:gd name="T12" fmla="*/ 4 w 438"/>
                  <a:gd name="T13" fmla="*/ 41 h 438"/>
                  <a:gd name="T14" fmla="*/ 1 w 438"/>
                  <a:gd name="T15" fmla="*/ 36 h 438"/>
                  <a:gd name="T16" fmla="*/ 0 w 438"/>
                  <a:gd name="T17" fmla="*/ 31 h 438"/>
                  <a:gd name="T18" fmla="*/ 0 w 438"/>
                  <a:gd name="T19" fmla="*/ 26 h 438"/>
                  <a:gd name="T20" fmla="*/ 0 w 438"/>
                  <a:gd name="T21" fmla="*/ 22 h 438"/>
                  <a:gd name="T22" fmla="*/ 1 w 438"/>
                  <a:gd name="T23" fmla="*/ 16 h 438"/>
                  <a:gd name="T24" fmla="*/ 4 w 438"/>
                  <a:gd name="T25" fmla="*/ 12 h 438"/>
                  <a:gd name="T26" fmla="*/ 7 w 438"/>
                  <a:gd name="T27" fmla="*/ 8 h 438"/>
                  <a:gd name="T28" fmla="*/ 11 w 438"/>
                  <a:gd name="T29" fmla="*/ 5 h 438"/>
                  <a:gd name="T30" fmla="*/ 16 w 438"/>
                  <a:gd name="T31" fmla="*/ 2 h 438"/>
                  <a:gd name="T32" fmla="*/ 22 w 438"/>
                  <a:gd name="T33" fmla="*/ 0 h 438"/>
                  <a:gd name="T34" fmla="*/ 26 w 438"/>
                  <a:gd name="T35" fmla="*/ 0 h 438"/>
                  <a:gd name="T36" fmla="*/ 30 w 438"/>
                  <a:gd name="T37" fmla="*/ 0 h 438"/>
                  <a:gd name="T38" fmla="*/ 36 w 438"/>
                  <a:gd name="T39" fmla="*/ 2 h 438"/>
                  <a:gd name="T40" fmla="*/ 40 w 438"/>
                  <a:gd name="T41" fmla="*/ 5 h 438"/>
                  <a:gd name="T42" fmla="*/ 45 w 438"/>
                  <a:gd name="T43" fmla="*/ 8 h 438"/>
                  <a:gd name="T44" fmla="*/ 430 w 438"/>
                  <a:gd name="T45" fmla="*/ 393 h 438"/>
                  <a:gd name="T46" fmla="*/ 433 w 438"/>
                  <a:gd name="T47" fmla="*/ 398 h 438"/>
                  <a:gd name="T48" fmla="*/ 436 w 438"/>
                  <a:gd name="T49" fmla="*/ 402 h 438"/>
                  <a:gd name="T50" fmla="*/ 438 w 438"/>
                  <a:gd name="T51" fmla="*/ 408 h 438"/>
                  <a:gd name="T52" fmla="*/ 438 w 438"/>
                  <a:gd name="T53" fmla="*/ 412 h 438"/>
                  <a:gd name="T54" fmla="*/ 438 w 438"/>
                  <a:gd name="T55" fmla="*/ 418 h 438"/>
                  <a:gd name="T56" fmla="*/ 436 w 438"/>
                  <a:gd name="T57" fmla="*/ 422 h 438"/>
                  <a:gd name="T58" fmla="*/ 433 w 438"/>
                  <a:gd name="T59" fmla="*/ 427 h 438"/>
                  <a:gd name="T60" fmla="*/ 430 w 438"/>
                  <a:gd name="T61" fmla="*/ 431 h 438"/>
                  <a:gd name="T62" fmla="*/ 426 w 438"/>
                  <a:gd name="T63" fmla="*/ 434 h 438"/>
                  <a:gd name="T64" fmla="*/ 422 w 438"/>
                  <a:gd name="T65" fmla="*/ 437 h 438"/>
                  <a:gd name="T66" fmla="*/ 418 w 438"/>
                  <a:gd name="T67" fmla="*/ 438 h 438"/>
                  <a:gd name="T68" fmla="*/ 412 w 438"/>
                  <a:gd name="T69" fmla="*/ 438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38" h="438">
                    <a:moveTo>
                      <a:pt x="412" y="438"/>
                    </a:moveTo>
                    <a:lnTo>
                      <a:pt x="407" y="438"/>
                    </a:lnTo>
                    <a:lnTo>
                      <a:pt x="402" y="437"/>
                    </a:lnTo>
                    <a:lnTo>
                      <a:pt x="397" y="434"/>
                    </a:lnTo>
                    <a:lnTo>
                      <a:pt x="393" y="431"/>
                    </a:lnTo>
                    <a:lnTo>
                      <a:pt x="7" y="45"/>
                    </a:lnTo>
                    <a:lnTo>
                      <a:pt x="4" y="41"/>
                    </a:lnTo>
                    <a:lnTo>
                      <a:pt x="1" y="36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1" y="16"/>
                    </a:lnTo>
                    <a:lnTo>
                      <a:pt x="4" y="12"/>
                    </a:lnTo>
                    <a:lnTo>
                      <a:pt x="7" y="8"/>
                    </a:lnTo>
                    <a:lnTo>
                      <a:pt x="11" y="5"/>
                    </a:lnTo>
                    <a:lnTo>
                      <a:pt x="16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6" y="2"/>
                    </a:lnTo>
                    <a:lnTo>
                      <a:pt x="40" y="5"/>
                    </a:lnTo>
                    <a:lnTo>
                      <a:pt x="45" y="8"/>
                    </a:lnTo>
                    <a:lnTo>
                      <a:pt x="430" y="393"/>
                    </a:lnTo>
                    <a:lnTo>
                      <a:pt x="433" y="398"/>
                    </a:lnTo>
                    <a:lnTo>
                      <a:pt x="436" y="402"/>
                    </a:lnTo>
                    <a:lnTo>
                      <a:pt x="438" y="408"/>
                    </a:lnTo>
                    <a:lnTo>
                      <a:pt x="438" y="412"/>
                    </a:lnTo>
                    <a:lnTo>
                      <a:pt x="438" y="418"/>
                    </a:lnTo>
                    <a:lnTo>
                      <a:pt x="436" y="422"/>
                    </a:lnTo>
                    <a:lnTo>
                      <a:pt x="433" y="427"/>
                    </a:lnTo>
                    <a:lnTo>
                      <a:pt x="430" y="431"/>
                    </a:lnTo>
                    <a:lnTo>
                      <a:pt x="426" y="434"/>
                    </a:lnTo>
                    <a:lnTo>
                      <a:pt x="422" y="437"/>
                    </a:lnTo>
                    <a:lnTo>
                      <a:pt x="418" y="438"/>
                    </a:lnTo>
                    <a:lnTo>
                      <a:pt x="412" y="4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9" name="Straight Connector 8"/>
          <p:cNvCxnSpPr/>
          <p:nvPr/>
        </p:nvCxnSpPr>
        <p:spPr>
          <a:xfrm>
            <a:off x="5440507" y="1490872"/>
            <a:ext cx="0" cy="3592674"/>
          </a:xfrm>
          <a:prstGeom prst="line">
            <a:avLst/>
          </a:prstGeom>
          <a:ln w="12700">
            <a:solidFill>
              <a:srgbClr val="E74C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/>
          <p:cNvGrpSpPr>
            <a:grpSpLocks/>
          </p:cNvGrpSpPr>
          <p:nvPr/>
        </p:nvGrpSpPr>
        <p:grpSpPr bwMode="auto">
          <a:xfrm>
            <a:off x="1524000" y="1754188"/>
            <a:ext cx="2571750" cy="2519362"/>
            <a:chOff x="-4689792" y="3498062"/>
            <a:chExt cx="2730500" cy="2674937"/>
          </a:xfrm>
          <a:solidFill>
            <a:schemeClr val="accent1">
              <a:lumMod val="50000"/>
            </a:schemeClr>
          </a:solidFill>
        </p:grpSpPr>
        <p:sp>
          <p:nvSpPr>
            <p:cNvPr id="64" name="Donut 45"/>
            <p:cNvSpPr>
              <a:spLocks/>
            </p:cNvSpPr>
            <p:nvPr/>
          </p:nvSpPr>
          <p:spPr bwMode="auto">
            <a:xfrm rot="2119351">
              <a:off x="-4634171" y="4369481"/>
              <a:ext cx="2674879" cy="1080426"/>
            </a:xfrm>
            <a:custGeom>
              <a:avLst/>
              <a:gdLst>
                <a:gd name="T0" fmla="*/ 0 w 3560763"/>
                <a:gd name="T1" fmla="*/ 718344 h 1436688"/>
                <a:gd name="T2" fmla="*/ 1780382 w 3560763"/>
                <a:gd name="T3" fmla="*/ 0 h 1436688"/>
                <a:gd name="T4" fmla="*/ 3560764 w 3560763"/>
                <a:gd name="T5" fmla="*/ 718344 h 1436688"/>
                <a:gd name="T6" fmla="*/ 1780382 w 3560763"/>
                <a:gd name="T7" fmla="*/ 1436688 h 1436688"/>
                <a:gd name="T8" fmla="*/ 0 w 3560763"/>
                <a:gd name="T9" fmla="*/ 718344 h 1436688"/>
                <a:gd name="T10" fmla="*/ 52683 w 3560763"/>
                <a:gd name="T11" fmla="*/ 718344 h 1436688"/>
                <a:gd name="T12" fmla="*/ 1780381 w 3560763"/>
                <a:gd name="T13" fmla="*/ 1384005 h 1436688"/>
                <a:gd name="T14" fmla="*/ 3508079 w 3560763"/>
                <a:gd name="T15" fmla="*/ 718344 h 1436688"/>
                <a:gd name="T16" fmla="*/ 1780381 w 3560763"/>
                <a:gd name="T17" fmla="*/ 52683 h 1436688"/>
                <a:gd name="T18" fmla="*/ 52683 w 3560763"/>
                <a:gd name="T19" fmla="*/ 718344 h 14366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560763" h="1436688">
                  <a:moveTo>
                    <a:pt x="0" y="718344"/>
                  </a:moveTo>
                  <a:cubicBezTo>
                    <a:pt x="0" y="321614"/>
                    <a:pt x="797104" y="0"/>
                    <a:pt x="1780382" y="0"/>
                  </a:cubicBezTo>
                  <a:cubicBezTo>
                    <a:pt x="2763660" y="0"/>
                    <a:pt x="3560764" y="321614"/>
                    <a:pt x="3560764" y="718344"/>
                  </a:cubicBezTo>
                  <a:cubicBezTo>
                    <a:pt x="3560764" y="1115074"/>
                    <a:pt x="2763660" y="1436688"/>
                    <a:pt x="1780382" y="1436688"/>
                  </a:cubicBezTo>
                  <a:cubicBezTo>
                    <a:pt x="797104" y="1436688"/>
                    <a:pt x="0" y="1115074"/>
                    <a:pt x="0" y="718344"/>
                  </a:cubicBezTo>
                  <a:close/>
                  <a:moveTo>
                    <a:pt x="52683" y="718344"/>
                  </a:moveTo>
                  <a:cubicBezTo>
                    <a:pt x="52683" y="1085978"/>
                    <a:pt x="826200" y="1384005"/>
                    <a:pt x="1780381" y="1384005"/>
                  </a:cubicBezTo>
                  <a:cubicBezTo>
                    <a:pt x="2734562" y="1384005"/>
                    <a:pt x="3508079" y="1085978"/>
                    <a:pt x="3508079" y="718344"/>
                  </a:cubicBezTo>
                  <a:cubicBezTo>
                    <a:pt x="3508079" y="350710"/>
                    <a:pt x="2734562" y="52683"/>
                    <a:pt x="1780381" y="52683"/>
                  </a:cubicBezTo>
                  <a:cubicBezTo>
                    <a:pt x="826200" y="52683"/>
                    <a:pt x="52683" y="350710"/>
                    <a:pt x="52683" y="7183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5" name="Donut 46"/>
            <p:cNvSpPr>
              <a:spLocks/>
            </p:cNvSpPr>
            <p:nvPr/>
          </p:nvSpPr>
          <p:spPr bwMode="auto">
            <a:xfrm rot="20121127">
              <a:off x="-4689792" y="4357683"/>
              <a:ext cx="2674878" cy="1078740"/>
            </a:xfrm>
            <a:custGeom>
              <a:avLst/>
              <a:gdLst>
                <a:gd name="T0" fmla="*/ 0 w 3560763"/>
                <a:gd name="T1" fmla="*/ 718344 h 1436688"/>
                <a:gd name="T2" fmla="*/ 1780382 w 3560763"/>
                <a:gd name="T3" fmla="*/ 0 h 1436688"/>
                <a:gd name="T4" fmla="*/ 3560764 w 3560763"/>
                <a:gd name="T5" fmla="*/ 718344 h 1436688"/>
                <a:gd name="T6" fmla="*/ 1780382 w 3560763"/>
                <a:gd name="T7" fmla="*/ 1436688 h 1436688"/>
                <a:gd name="T8" fmla="*/ 0 w 3560763"/>
                <a:gd name="T9" fmla="*/ 718344 h 1436688"/>
                <a:gd name="T10" fmla="*/ 54953 w 3560763"/>
                <a:gd name="T11" fmla="*/ 718344 h 1436688"/>
                <a:gd name="T12" fmla="*/ 1780381 w 3560763"/>
                <a:gd name="T13" fmla="*/ 1381735 h 1436688"/>
                <a:gd name="T14" fmla="*/ 3505809 w 3560763"/>
                <a:gd name="T15" fmla="*/ 718344 h 1436688"/>
                <a:gd name="T16" fmla="*/ 1780381 w 3560763"/>
                <a:gd name="T17" fmla="*/ 54953 h 1436688"/>
                <a:gd name="T18" fmla="*/ 54953 w 3560763"/>
                <a:gd name="T19" fmla="*/ 718344 h 14366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560763" h="1436688">
                  <a:moveTo>
                    <a:pt x="0" y="718344"/>
                  </a:moveTo>
                  <a:cubicBezTo>
                    <a:pt x="0" y="321614"/>
                    <a:pt x="797104" y="0"/>
                    <a:pt x="1780382" y="0"/>
                  </a:cubicBezTo>
                  <a:cubicBezTo>
                    <a:pt x="2763660" y="0"/>
                    <a:pt x="3560764" y="321614"/>
                    <a:pt x="3560764" y="718344"/>
                  </a:cubicBezTo>
                  <a:cubicBezTo>
                    <a:pt x="3560764" y="1115074"/>
                    <a:pt x="2763660" y="1436688"/>
                    <a:pt x="1780382" y="1436688"/>
                  </a:cubicBezTo>
                  <a:cubicBezTo>
                    <a:pt x="797104" y="1436688"/>
                    <a:pt x="0" y="1115074"/>
                    <a:pt x="0" y="718344"/>
                  </a:cubicBezTo>
                  <a:close/>
                  <a:moveTo>
                    <a:pt x="54953" y="718344"/>
                  </a:moveTo>
                  <a:cubicBezTo>
                    <a:pt x="54953" y="1084725"/>
                    <a:pt x="827453" y="1381735"/>
                    <a:pt x="1780381" y="1381735"/>
                  </a:cubicBezTo>
                  <a:cubicBezTo>
                    <a:pt x="2733309" y="1381735"/>
                    <a:pt x="3505809" y="1084725"/>
                    <a:pt x="3505809" y="718344"/>
                  </a:cubicBezTo>
                  <a:cubicBezTo>
                    <a:pt x="3505809" y="351963"/>
                    <a:pt x="2733309" y="54953"/>
                    <a:pt x="1780381" y="54953"/>
                  </a:cubicBezTo>
                  <a:cubicBezTo>
                    <a:pt x="827453" y="54953"/>
                    <a:pt x="54953" y="351963"/>
                    <a:pt x="54953" y="7183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6" name="Donut 47"/>
            <p:cNvSpPr>
              <a:spLocks/>
            </p:cNvSpPr>
            <p:nvPr/>
          </p:nvSpPr>
          <p:spPr bwMode="auto">
            <a:xfrm rot="16154629">
              <a:off x="-4625773" y="4295329"/>
              <a:ext cx="2674937" cy="1080402"/>
            </a:xfrm>
            <a:custGeom>
              <a:avLst/>
              <a:gdLst>
                <a:gd name="T0" fmla="*/ 0 w 3559175"/>
                <a:gd name="T1" fmla="*/ 718344 h 1436687"/>
                <a:gd name="T2" fmla="*/ 1779588 w 3559175"/>
                <a:gd name="T3" fmla="*/ 0 h 1436687"/>
                <a:gd name="T4" fmla="*/ 3559176 w 3559175"/>
                <a:gd name="T5" fmla="*/ 718344 h 1436687"/>
                <a:gd name="T6" fmla="*/ 1779588 w 3559175"/>
                <a:gd name="T7" fmla="*/ 1436688 h 1436687"/>
                <a:gd name="T8" fmla="*/ 0 w 3559175"/>
                <a:gd name="T9" fmla="*/ 718344 h 1436687"/>
                <a:gd name="T10" fmla="*/ 59508 w 3559175"/>
                <a:gd name="T11" fmla="*/ 718344 h 1436687"/>
                <a:gd name="T12" fmla="*/ 1779588 w 3559175"/>
                <a:gd name="T13" fmla="*/ 1377180 h 1436687"/>
                <a:gd name="T14" fmla="*/ 3499668 w 3559175"/>
                <a:gd name="T15" fmla="*/ 718344 h 1436687"/>
                <a:gd name="T16" fmla="*/ 1779588 w 3559175"/>
                <a:gd name="T17" fmla="*/ 59508 h 1436687"/>
                <a:gd name="T18" fmla="*/ 59508 w 3559175"/>
                <a:gd name="T19" fmla="*/ 718344 h 143668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559175" h="1436687">
                  <a:moveTo>
                    <a:pt x="0" y="718344"/>
                  </a:moveTo>
                  <a:cubicBezTo>
                    <a:pt x="0" y="321614"/>
                    <a:pt x="796749" y="0"/>
                    <a:pt x="1779588" y="0"/>
                  </a:cubicBezTo>
                  <a:cubicBezTo>
                    <a:pt x="2762427" y="0"/>
                    <a:pt x="3559176" y="321614"/>
                    <a:pt x="3559176" y="718344"/>
                  </a:cubicBezTo>
                  <a:cubicBezTo>
                    <a:pt x="3559176" y="1115074"/>
                    <a:pt x="2762427" y="1436688"/>
                    <a:pt x="1779588" y="1436688"/>
                  </a:cubicBezTo>
                  <a:cubicBezTo>
                    <a:pt x="796749" y="1436688"/>
                    <a:pt x="0" y="1115074"/>
                    <a:pt x="0" y="718344"/>
                  </a:cubicBezTo>
                  <a:close/>
                  <a:moveTo>
                    <a:pt x="59508" y="718344"/>
                  </a:moveTo>
                  <a:cubicBezTo>
                    <a:pt x="59508" y="1082209"/>
                    <a:pt x="829614" y="1377180"/>
                    <a:pt x="1779588" y="1377180"/>
                  </a:cubicBezTo>
                  <a:cubicBezTo>
                    <a:pt x="2729562" y="1377180"/>
                    <a:pt x="3499668" y="1082209"/>
                    <a:pt x="3499668" y="718344"/>
                  </a:cubicBezTo>
                  <a:cubicBezTo>
                    <a:pt x="3499668" y="354479"/>
                    <a:pt x="2729562" y="59508"/>
                    <a:pt x="1779588" y="59508"/>
                  </a:cubicBezTo>
                  <a:cubicBezTo>
                    <a:pt x="829614" y="59508"/>
                    <a:pt x="59508" y="354479"/>
                    <a:pt x="59508" y="7183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67" name="Group 79"/>
            <p:cNvGrpSpPr>
              <a:grpSpLocks/>
            </p:cNvGrpSpPr>
            <p:nvPr/>
          </p:nvGrpSpPr>
          <p:grpSpPr bwMode="auto">
            <a:xfrm>
              <a:off x="-3703779" y="4470612"/>
              <a:ext cx="827579" cy="829281"/>
              <a:chOff x="2270931" y="2822212"/>
              <a:chExt cx="827464" cy="829010"/>
            </a:xfrm>
            <a:grpFill/>
          </p:grpSpPr>
          <p:sp>
            <p:nvSpPr>
              <p:cNvPr id="68" name="Freeform 6"/>
              <p:cNvSpPr>
                <a:spLocks/>
              </p:cNvSpPr>
              <p:nvPr/>
            </p:nvSpPr>
            <p:spPr bwMode="auto">
              <a:xfrm>
                <a:off x="2270931" y="2822212"/>
                <a:ext cx="827463" cy="829010"/>
              </a:xfrm>
              <a:custGeom>
                <a:avLst/>
                <a:gdLst>
                  <a:gd name="T0" fmla="*/ 160450729 w 3447"/>
                  <a:gd name="T1" fmla="*/ 762749 h 3447"/>
                  <a:gd name="T2" fmla="*/ 181996212 w 3447"/>
                  <a:gd name="T3" fmla="*/ 4577133 h 3447"/>
                  <a:gd name="T4" fmla="*/ 202274409 w 3447"/>
                  <a:gd name="T5" fmla="*/ 11527652 h 3447"/>
                  <a:gd name="T6" fmla="*/ 221116239 w 3447"/>
                  <a:gd name="T7" fmla="*/ 21105702 h 3447"/>
                  <a:gd name="T8" fmla="*/ 238183548 w 3447"/>
                  <a:gd name="T9" fmla="*/ 33396103 h 3447"/>
                  <a:gd name="T10" fmla="*/ 253392275 w 3447"/>
                  <a:gd name="T11" fmla="*/ 47890250 h 3447"/>
                  <a:gd name="T12" fmla="*/ 266319566 w 3447"/>
                  <a:gd name="T13" fmla="*/ 64503320 h 3447"/>
                  <a:gd name="T14" fmla="*/ 276881040 w 3447"/>
                  <a:gd name="T15" fmla="*/ 82727030 h 3447"/>
                  <a:gd name="T16" fmla="*/ 284654162 w 3447"/>
                  <a:gd name="T17" fmla="*/ 102645878 h 3447"/>
                  <a:gd name="T18" fmla="*/ 289554872 w 3447"/>
                  <a:gd name="T19" fmla="*/ 123921223 h 3447"/>
                  <a:gd name="T20" fmla="*/ 291244695 w 3447"/>
                  <a:gd name="T21" fmla="*/ 146043817 h 3447"/>
                  <a:gd name="T22" fmla="*/ 289554872 w 3447"/>
                  <a:gd name="T23" fmla="*/ 168336052 h 3447"/>
                  <a:gd name="T24" fmla="*/ 284654162 w 3447"/>
                  <a:gd name="T25" fmla="*/ 189526576 h 3447"/>
                  <a:gd name="T26" fmla="*/ 276881040 w 3447"/>
                  <a:gd name="T27" fmla="*/ 209360603 h 3447"/>
                  <a:gd name="T28" fmla="*/ 266319566 w 3447"/>
                  <a:gd name="T29" fmla="*/ 227753955 h 3447"/>
                  <a:gd name="T30" fmla="*/ 253392275 w 3447"/>
                  <a:gd name="T31" fmla="*/ 244282204 h 3447"/>
                  <a:gd name="T32" fmla="*/ 238183548 w 3447"/>
                  <a:gd name="T33" fmla="*/ 258776351 h 3447"/>
                  <a:gd name="T34" fmla="*/ 221116239 w 3447"/>
                  <a:gd name="T35" fmla="*/ 271066752 h 3447"/>
                  <a:gd name="T36" fmla="*/ 202274409 w 3447"/>
                  <a:gd name="T37" fmla="*/ 280729623 h 3447"/>
                  <a:gd name="T38" fmla="*/ 181996212 w 3447"/>
                  <a:gd name="T39" fmla="*/ 287595322 h 3447"/>
                  <a:gd name="T40" fmla="*/ 160450729 w 3447"/>
                  <a:gd name="T41" fmla="*/ 291409705 h 3447"/>
                  <a:gd name="T42" fmla="*/ 138060174 w 3447"/>
                  <a:gd name="T43" fmla="*/ 292002812 h 3447"/>
                  <a:gd name="T44" fmla="*/ 116261233 w 3447"/>
                  <a:gd name="T45" fmla="*/ 289121139 h 3447"/>
                  <a:gd name="T46" fmla="*/ 95560820 w 3447"/>
                  <a:gd name="T47" fmla="*/ 283272652 h 3447"/>
                  <a:gd name="T48" fmla="*/ 76212075 w 3447"/>
                  <a:gd name="T49" fmla="*/ 274457351 h 3447"/>
                  <a:gd name="T50" fmla="*/ 58468773 w 3447"/>
                  <a:gd name="T51" fmla="*/ 263099340 h 3447"/>
                  <a:gd name="T52" fmla="*/ 42668432 w 3447"/>
                  <a:gd name="T53" fmla="*/ 249367943 h 3447"/>
                  <a:gd name="T54" fmla="*/ 28896390 w 3447"/>
                  <a:gd name="T55" fmla="*/ 233432800 h 3447"/>
                  <a:gd name="T56" fmla="*/ 17574224 w 3447"/>
                  <a:gd name="T57" fmla="*/ 215717696 h 3447"/>
                  <a:gd name="T58" fmla="*/ 8787272 w 3447"/>
                  <a:gd name="T59" fmla="*/ 196307454 h 3447"/>
                  <a:gd name="T60" fmla="*/ 2957110 w 3447"/>
                  <a:gd name="T61" fmla="*/ 175540715 h 3447"/>
                  <a:gd name="T62" fmla="*/ 169078 w 3447"/>
                  <a:gd name="T63" fmla="*/ 153672264 h 3447"/>
                  <a:gd name="T64" fmla="*/ 760372 w 3447"/>
                  <a:gd name="T65" fmla="*/ 131125885 h 3447"/>
                  <a:gd name="T66" fmla="*/ 4562554 w 3447"/>
                  <a:gd name="T67" fmla="*/ 109596398 h 3447"/>
                  <a:gd name="T68" fmla="*/ 11490925 w 3447"/>
                  <a:gd name="T69" fmla="*/ 89253765 h 3447"/>
                  <a:gd name="T70" fmla="*/ 21038569 w 3447"/>
                  <a:gd name="T71" fmla="*/ 70351808 h 3447"/>
                  <a:gd name="T72" fmla="*/ 33289866 w 3447"/>
                  <a:gd name="T73" fmla="*/ 53230131 h 3447"/>
                  <a:gd name="T74" fmla="*/ 47653522 w 3447"/>
                  <a:gd name="T75" fmla="*/ 37973236 h 3447"/>
                  <a:gd name="T76" fmla="*/ 64214235 w 3447"/>
                  <a:gd name="T77" fmla="*/ 24919766 h 3447"/>
                  <a:gd name="T78" fmla="*/ 82464452 w 3447"/>
                  <a:gd name="T79" fmla="*/ 14494146 h 3447"/>
                  <a:gd name="T80" fmla="*/ 102320112 w 3447"/>
                  <a:gd name="T81" fmla="*/ 6526735 h 3447"/>
                  <a:gd name="T82" fmla="*/ 123443060 w 3447"/>
                  <a:gd name="T83" fmla="*/ 1695139 h 3447"/>
                  <a:gd name="T84" fmla="*/ 145580158 w 3447"/>
                  <a:gd name="T85" fmla="*/ 0 h 344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447" h="3447">
                    <a:moveTo>
                      <a:pt x="1723" y="0"/>
                    </a:moveTo>
                    <a:lnTo>
                      <a:pt x="1812" y="2"/>
                    </a:lnTo>
                    <a:lnTo>
                      <a:pt x="1899" y="9"/>
                    </a:lnTo>
                    <a:lnTo>
                      <a:pt x="1986" y="20"/>
                    </a:lnTo>
                    <a:lnTo>
                      <a:pt x="2071" y="36"/>
                    </a:lnTo>
                    <a:lnTo>
                      <a:pt x="2154" y="54"/>
                    </a:lnTo>
                    <a:lnTo>
                      <a:pt x="2235" y="77"/>
                    </a:lnTo>
                    <a:lnTo>
                      <a:pt x="2316" y="105"/>
                    </a:lnTo>
                    <a:lnTo>
                      <a:pt x="2394" y="136"/>
                    </a:lnTo>
                    <a:lnTo>
                      <a:pt x="2470" y="171"/>
                    </a:lnTo>
                    <a:lnTo>
                      <a:pt x="2545" y="208"/>
                    </a:lnTo>
                    <a:lnTo>
                      <a:pt x="2617" y="249"/>
                    </a:lnTo>
                    <a:lnTo>
                      <a:pt x="2687" y="294"/>
                    </a:lnTo>
                    <a:lnTo>
                      <a:pt x="2754" y="343"/>
                    </a:lnTo>
                    <a:lnTo>
                      <a:pt x="2819" y="394"/>
                    </a:lnTo>
                    <a:lnTo>
                      <a:pt x="2882" y="448"/>
                    </a:lnTo>
                    <a:lnTo>
                      <a:pt x="2942" y="505"/>
                    </a:lnTo>
                    <a:lnTo>
                      <a:pt x="2999" y="565"/>
                    </a:lnTo>
                    <a:lnTo>
                      <a:pt x="3053" y="628"/>
                    </a:lnTo>
                    <a:lnTo>
                      <a:pt x="3104" y="692"/>
                    </a:lnTo>
                    <a:lnTo>
                      <a:pt x="3152" y="761"/>
                    </a:lnTo>
                    <a:lnTo>
                      <a:pt x="3197" y="830"/>
                    </a:lnTo>
                    <a:lnTo>
                      <a:pt x="3238" y="902"/>
                    </a:lnTo>
                    <a:lnTo>
                      <a:pt x="3277" y="976"/>
                    </a:lnTo>
                    <a:lnTo>
                      <a:pt x="3312" y="1053"/>
                    </a:lnTo>
                    <a:lnTo>
                      <a:pt x="3342" y="1131"/>
                    </a:lnTo>
                    <a:lnTo>
                      <a:pt x="3369" y="1211"/>
                    </a:lnTo>
                    <a:lnTo>
                      <a:pt x="3392" y="1293"/>
                    </a:lnTo>
                    <a:lnTo>
                      <a:pt x="3411" y="1377"/>
                    </a:lnTo>
                    <a:lnTo>
                      <a:pt x="3427" y="1462"/>
                    </a:lnTo>
                    <a:lnTo>
                      <a:pt x="3437" y="1547"/>
                    </a:lnTo>
                    <a:lnTo>
                      <a:pt x="3445" y="1634"/>
                    </a:lnTo>
                    <a:lnTo>
                      <a:pt x="3447" y="1723"/>
                    </a:lnTo>
                    <a:lnTo>
                      <a:pt x="3445" y="1813"/>
                    </a:lnTo>
                    <a:lnTo>
                      <a:pt x="3437" y="1899"/>
                    </a:lnTo>
                    <a:lnTo>
                      <a:pt x="3427" y="1986"/>
                    </a:lnTo>
                    <a:lnTo>
                      <a:pt x="3411" y="2071"/>
                    </a:lnTo>
                    <a:lnTo>
                      <a:pt x="3392" y="2154"/>
                    </a:lnTo>
                    <a:lnTo>
                      <a:pt x="3369" y="2236"/>
                    </a:lnTo>
                    <a:lnTo>
                      <a:pt x="3342" y="2316"/>
                    </a:lnTo>
                    <a:lnTo>
                      <a:pt x="3312" y="2394"/>
                    </a:lnTo>
                    <a:lnTo>
                      <a:pt x="3277" y="2470"/>
                    </a:lnTo>
                    <a:lnTo>
                      <a:pt x="3238" y="2545"/>
                    </a:lnTo>
                    <a:lnTo>
                      <a:pt x="3197" y="2617"/>
                    </a:lnTo>
                    <a:lnTo>
                      <a:pt x="3152" y="2687"/>
                    </a:lnTo>
                    <a:lnTo>
                      <a:pt x="3104" y="2754"/>
                    </a:lnTo>
                    <a:lnTo>
                      <a:pt x="3053" y="2819"/>
                    </a:lnTo>
                    <a:lnTo>
                      <a:pt x="2999" y="2882"/>
                    </a:lnTo>
                    <a:lnTo>
                      <a:pt x="2942" y="2942"/>
                    </a:lnTo>
                    <a:lnTo>
                      <a:pt x="2882" y="3000"/>
                    </a:lnTo>
                    <a:lnTo>
                      <a:pt x="2819" y="3053"/>
                    </a:lnTo>
                    <a:lnTo>
                      <a:pt x="2754" y="3104"/>
                    </a:lnTo>
                    <a:lnTo>
                      <a:pt x="2687" y="3153"/>
                    </a:lnTo>
                    <a:lnTo>
                      <a:pt x="2617" y="3198"/>
                    </a:lnTo>
                    <a:lnTo>
                      <a:pt x="2545" y="3238"/>
                    </a:lnTo>
                    <a:lnTo>
                      <a:pt x="2470" y="3277"/>
                    </a:lnTo>
                    <a:lnTo>
                      <a:pt x="2394" y="3312"/>
                    </a:lnTo>
                    <a:lnTo>
                      <a:pt x="2316" y="3342"/>
                    </a:lnTo>
                    <a:lnTo>
                      <a:pt x="2235" y="3369"/>
                    </a:lnTo>
                    <a:lnTo>
                      <a:pt x="2154" y="3393"/>
                    </a:lnTo>
                    <a:lnTo>
                      <a:pt x="2071" y="3411"/>
                    </a:lnTo>
                    <a:lnTo>
                      <a:pt x="1986" y="3427"/>
                    </a:lnTo>
                    <a:lnTo>
                      <a:pt x="1899" y="3438"/>
                    </a:lnTo>
                    <a:lnTo>
                      <a:pt x="1812" y="3445"/>
                    </a:lnTo>
                    <a:lnTo>
                      <a:pt x="1723" y="3447"/>
                    </a:lnTo>
                    <a:lnTo>
                      <a:pt x="1634" y="3445"/>
                    </a:lnTo>
                    <a:lnTo>
                      <a:pt x="1547" y="3438"/>
                    </a:lnTo>
                    <a:lnTo>
                      <a:pt x="1461" y="3427"/>
                    </a:lnTo>
                    <a:lnTo>
                      <a:pt x="1376" y="3411"/>
                    </a:lnTo>
                    <a:lnTo>
                      <a:pt x="1292" y="3393"/>
                    </a:lnTo>
                    <a:lnTo>
                      <a:pt x="1211" y="3369"/>
                    </a:lnTo>
                    <a:lnTo>
                      <a:pt x="1131" y="3342"/>
                    </a:lnTo>
                    <a:lnTo>
                      <a:pt x="1053" y="3312"/>
                    </a:lnTo>
                    <a:lnTo>
                      <a:pt x="976" y="3277"/>
                    </a:lnTo>
                    <a:lnTo>
                      <a:pt x="902" y="3238"/>
                    </a:lnTo>
                    <a:lnTo>
                      <a:pt x="829" y="3198"/>
                    </a:lnTo>
                    <a:lnTo>
                      <a:pt x="760" y="3153"/>
                    </a:lnTo>
                    <a:lnTo>
                      <a:pt x="692" y="3104"/>
                    </a:lnTo>
                    <a:lnTo>
                      <a:pt x="627" y="3053"/>
                    </a:lnTo>
                    <a:lnTo>
                      <a:pt x="564" y="3000"/>
                    </a:lnTo>
                    <a:lnTo>
                      <a:pt x="505" y="2942"/>
                    </a:lnTo>
                    <a:lnTo>
                      <a:pt x="448" y="2882"/>
                    </a:lnTo>
                    <a:lnTo>
                      <a:pt x="394" y="2819"/>
                    </a:lnTo>
                    <a:lnTo>
                      <a:pt x="342" y="2754"/>
                    </a:lnTo>
                    <a:lnTo>
                      <a:pt x="294" y="2687"/>
                    </a:lnTo>
                    <a:lnTo>
                      <a:pt x="249" y="2617"/>
                    </a:lnTo>
                    <a:lnTo>
                      <a:pt x="208" y="2545"/>
                    </a:lnTo>
                    <a:lnTo>
                      <a:pt x="169" y="2470"/>
                    </a:lnTo>
                    <a:lnTo>
                      <a:pt x="136" y="2394"/>
                    </a:lnTo>
                    <a:lnTo>
                      <a:pt x="104" y="2316"/>
                    </a:lnTo>
                    <a:lnTo>
                      <a:pt x="77" y="2236"/>
                    </a:lnTo>
                    <a:lnTo>
                      <a:pt x="54" y="2154"/>
                    </a:lnTo>
                    <a:lnTo>
                      <a:pt x="35" y="2071"/>
                    </a:lnTo>
                    <a:lnTo>
                      <a:pt x="19" y="1986"/>
                    </a:lnTo>
                    <a:lnTo>
                      <a:pt x="9" y="1899"/>
                    </a:lnTo>
                    <a:lnTo>
                      <a:pt x="2" y="1813"/>
                    </a:lnTo>
                    <a:lnTo>
                      <a:pt x="0" y="1723"/>
                    </a:lnTo>
                    <a:lnTo>
                      <a:pt x="2" y="1634"/>
                    </a:lnTo>
                    <a:lnTo>
                      <a:pt x="9" y="1547"/>
                    </a:lnTo>
                    <a:lnTo>
                      <a:pt x="19" y="1462"/>
                    </a:lnTo>
                    <a:lnTo>
                      <a:pt x="35" y="1377"/>
                    </a:lnTo>
                    <a:lnTo>
                      <a:pt x="54" y="1293"/>
                    </a:lnTo>
                    <a:lnTo>
                      <a:pt x="77" y="1211"/>
                    </a:lnTo>
                    <a:lnTo>
                      <a:pt x="104" y="1131"/>
                    </a:lnTo>
                    <a:lnTo>
                      <a:pt x="136" y="1053"/>
                    </a:lnTo>
                    <a:lnTo>
                      <a:pt x="169" y="976"/>
                    </a:lnTo>
                    <a:lnTo>
                      <a:pt x="208" y="902"/>
                    </a:lnTo>
                    <a:lnTo>
                      <a:pt x="249" y="830"/>
                    </a:lnTo>
                    <a:lnTo>
                      <a:pt x="294" y="761"/>
                    </a:lnTo>
                    <a:lnTo>
                      <a:pt x="342" y="692"/>
                    </a:lnTo>
                    <a:lnTo>
                      <a:pt x="394" y="628"/>
                    </a:lnTo>
                    <a:lnTo>
                      <a:pt x="448" y="565"/>
                    </a:lnTo>
                    <a:lnTo>
                      <a:pt x="505" y="505"/>
                    </a:lnTo>
                    <a:lnTo>
                      <a:pt x="564" y="448"/>
                    </a:lnTo>
                    <a:lnTo>
                      <a:pt x="627" y="394"/>
                    </a:lnTo>
                    <a:lnTo>
                      <a:pt x="692" y="343"/>
                    </a:lnTo>
                    <a:lnTo>
                      <a:pt x="760" y="294"/>
                    </a:lnTo>
                    <a:lnTo>
                      <a:pt x="829" y="249"/>
                    </a:lnTo>
                    <a:lnTo>
                      <a:pt x="902" y="208"/>
                    </a:lnTo>
                    <a:lnTo>
                      <a:pt x="976" y="171"/>
                    </a:lnTo>
                    <a:lnTo>
                      <a:pt x="1053" y="136"/>
                    </a:lnTo>
                    <a:lnTo>
                      <a:pt x="1131" y="105"/>
                    </a:lnTo>
                    <a:lnTo>
                      <a:pt x="1211" y="77"/>
                    </a:lnTo>
                    <a:lnTo>
                      <a:pt x="1292" y="54"/>
                    </a:lnTo>
                    <a:lnTo>
                      <a:pt x="1376" y="36"/>
                    </a:lnTo>
                    <a:lnTo>
                      <a:pt x="1461" y="20"/>
                    </a:lnTo>
                    <a:lnTo>
                      <a:pt x="1547" y="9"/>
                    </a:lnTo>
                    <a:lnTo>
                      <a:pt x="1634" y="2"/>
                    </a:lnTo>
                    <a:lnTo>
                      <a:pt x="172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dash"/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69" name="Freeform 7"/>
              <p:cNvSpPr>
                <a:spLocks noEditPoints="1"/>
              </p:cNvSpPr>
              <p:nvPr/>
            </p:nvSpPr>
            <p:spPr bwMode="auto">
              <a:xfrm>
                <a:off x="2289470" y="2827268"/>
                <a:ext cx="808925" cy="820585"/>
              </a:xfrm>
              <a:custGeom>
                <a:avLst/>
                <a:gdLst>
                  <a:gd name="T0" fmla="*/ 2086 w 3368"/>
                  <a:gd name="T1" fmla="*/ 3009 h 3413"/>
                  <a:gd name="T2" fmla="*/ 1977 w 3368"/>
                  <a:gd name="T3" fmla="*/ 2658 h 3413"/>
                  <a:gd name="T4" fmla="*/ 1520 w 3368"/>
                  <a:gd name="T5" fmla="*/ 2419 h 3413"/>
                  <a:gd name="T6" fmla="*/ 1075 w 3368"/>
                  <a:gd name="T7" fmla="*/ 2019 h 3413"/>
                  <a:gd name="T8" fmla="*/ 1605 w 3368"/>
                  <a:gd name="T9" fmla="*/ 1705 h 3413"/>
                  <a:gd name="T10" fmla="*/ 1763 w 3368"/>
                  <a:gd name="T11" fmla="*/ 1480 h 3413"/>
                  <a:gd name="T12" fmla="*/ 1844 w 3368"/>
                  <a:gd name="T13" fmla="*/ 1308 h 3413"/>
                  <a:gd name="T14" fmla="*/ 1409 w 3368"/>
                  <a:gd name="T15" fmla="*/ 1104 h 3413"/>
                  <a:gd name="T16" fmla="*/ 1085 w 3368"/>
                  <a:gd name="T17" fmla="*/ 1192 h 3413"/>
                  <a:gd name="T18" fmla="*/ 1303 w 3368"/>
                  <a:gd name="T19" fmla="*/ 650 h 3413"/>
                  <a:gd name="T20" fmla="*/ 1544 w 3368"/>
                  <a:gd name="T21" fmla="*/ 928 h 3413"/>
                  <a:gd name="T22" fmla="*/ 1640 w 3368"/>
                  <a:gd name="T23" fmla="*/ 645 h 3413"/>
                  <a:gd name="T24" fmla="*/ 1432 w 3368"/>
                  <a:gd name="T25" fmla="*/ 528 h 3413"/>
                  <a:gd name="T26" fmla="*/ 1209 w 3368"/>
                  <a:gd name="T27" fmla="*/ 612 h 3413"/>
                  <a:gd name="T28" fmla="*/ 1225 w 3368"/>
                  <a:gd name="T29" fmla="*/ 449 h 3413"/>
                  <a:gd name="T30" fmla="*/ 1009 w 3368"/>
                  <a:gd name="T31" fmla="*/ 706 h 3413"/>
                  <a:gd name="T32" fmla="*/ 569 w 3368"/>
                  <a:gd name="T33" fmla="*/ 746 h 3413"/>
                  <a:gd name="T34" fmla="*/ 228 w 3368"/>
                  <a:gd name="T35" fmla="*/ 815 h 3413"/>
                  <a:gd name="T36" fmla="*/ 119 w 3368"/>
                  <a:gd name="T37" fmla="*/ 1252 h 3413"/>
                  <a:gd name="T38" fmla="*/ 172 w 3368"/>
                  <a:gd name="T39" fmla="*/ 1221 h 3413"/>
                  <a:gd name="T40" fmla="*/ 474 w 3368"/>
                  <a:gd name="T41" fmla="*/ 1471 h 3413"/>
                  <a:gd name="T42" fmla="*/ 745 w 3368"/>
                  <a:gd name="T43" fmla="*/ 2035 h 3413"/>
                  <a:gd name="T44" fmla="*/ 1382 w 3368"/>
                  <a:gd name="T45" fmla="*/ 2640 h 3413"/>
                  <a:gd name="T46" fmla="*/ 1525 w 3368"/>
                  <a:gd name="T47" fmla="*/ 3323 h 3413"/>
                  <a:gd name="T48" fmla="*/ 2841 w 3368"/>
                  <a:gd name="T49" fmla="*/ 474 h 3413"/>
                  <a:gd name="T50" fmla="*/ 3285 w 3368"/>
                  <a:gd name="T51" fmla="*/ 1962 h 3413"/>
                  <a:gd name="T52" fmla="*/ 2933 w 3368"/>
                  <a:gd name="T53" fmla="*/ 2751 h 3413"/>
                  <a:gd name="T54" fmla="*/ 2773 w 3368"/>
                  <a:gd name="T55" fmla="*/ 1997 h 3413"/>
                  <a:gd name="T56" fmla="*/ 3296 w 3368"/>
                  <a:gd name="T57" fmla="*/ 1809 h 3413"/>
                  <a:gd name="T58" fmla="*/ 3130 w 3368"/>
                  <a:gd name="T59" fmla="*/ 1786 h 3413"/>
                  <a:gd name="T60" fmla="*/ 2922 w 3368"/>
                  <a:gd name="T61" fmla="*/ 1623 h 3413"/>
                  <a:gd name="T62" fmla="*/ 2971 w 3368"/>
                  <a:gd name="T63" fmla="*/ 1157 h 3413"/>
                  <a:gd name="T64" fmla="*/ 3175 w 3368"/>
                  <a:gd name="T65" fmla="*/ 943 h 3413"/>
                  <a:gd name="T66" fmla="*/ 1384 w 3368"/>
                  <a:gd name="T67" fmla="*/ 1012 h 3413"/>
                  <a:gd name="T68" fmla="*/ 1282 w 3368"/>
                  <a:gd name="T69" fmla="*/ 186 h 3413"/>
                  <a:gd name="T70" fmla="*/ 1093 w 3368"/>
                  <a:gd name="T71" fmla="*/ 389 h 3413"/>
                  <a:gd name="T72" fmla="*/ 1146 w 3368"/>
                  <a:gd name="T73" fmla="*/ 424 h 3413"/>
                  <a:gd name="T74" fmla="*/ 1272 w 3368"/>
                  <a:gd name="T75" fmla="*/ 360 h 3413"/>
                  <a:gd name="T76" fmla="*/ 1441 w 3368"/>
                  <a:gd name="T77" fmla="*/ 230 h 3413"/>
                  <a:gd name="T78" fmla="*/ 1683 w 3368"/>
                  <a:gd name="T79" fmla="*/ 52 h 3413"/>
                  <a:gd name="T80" fmla="*/ 1399 w 3368"/>
                  <a:gd name="T81" fmla="*/ 32 h 3413"/>
                  <a:gd name="T82" fmla="*/ 1396 w 3368"/>
                  <a:gd name="T83" fmla="*/ 93 h 3413"/>
                  <a:gd name="T84" fmla="*/ 1390 w 3368"/>
                  <a:gd name="T85" fmla="*/ 176 h 3413"/>
                  <a:gd name="T86" fmla="*/ 1129 w 3368"/>
                  <a:gd name="T87" fmla="*/ 302 h 3413"/>
                  <a:gd name="T88" fmla="*/ 1006 w 3368"/>
                  <a:gd name="T89" fmla="*/ 220 h 3413"/>
                  <a:gd name="T90" fmla="*/ 867 w 3368"/>
                  <a:gd name="T91" fmla="*/ 311 h 3413"/>
                  <a:gd name="T92" fmla="*/ 809 w 3368"/>
                  <a:gd name="T93" fmla="*/ 483 h 3413"/>
                  <a:gd name="T94" fmla="*/ 766 w 3368"/>
                  <a:gd name="T95" fmla="*/ 454 h 3413"/>
                  <a:gd name="T96" fmla="*/ 651 w 3368"/>
                  <a:gd name="T97" fmla="*/ 536 h 3413"/>
                  <a:gd name="T98" fmla="*/ 883 w 3368"/>
                  <a:gd name="T99" fmla="*/ 602 h 3413"/>
                  <a:gd name="T100" fmla="*/ 727 w 3368"/>
                  <a:gd name="T101" fmla="*/ 693 h 3413"/>
                  <a:gd name="T102" fmla="*/ 1494 w 3368"/>
                  <a:gd name="T103" fmla="*/ 2238 h 3413"/>
                  <a:gd name="T104" fmla="*/ 2161 w 3368"/>
                  <a:gd name="T105" fmla="*/ 976 h 3413"/>
                  <a:gd name="T106" fmla="*/ 2422 w 3368"/>
                  <a:gd name="T107" fmla="*/ 545 h 3413"/>
                  <a:gd name="T108" fmla="*/ 2417 w 3368"/>
                  <a:gd name="T109" fmla="*/ 232 h 3413"/>
                  <a:gd name="T110" fmla="*/ 2251 w 3368"/>
                  <a:gd name="T111" fmla="*/ 126 h 3413"/>
                  <a:gd name="T112" fmla="*/ 1990 w 3368"/>
                  <a:gd name="T113" fmla="*/ 26 h 3413"/>
                  <a:gd name="T114" fmla="*/ 1793 w 3368"/>
                  <a:gd name="T115" fmla="*/ 52 h 3413"/>
                  <a:gd name="T116" fmla="*/ 1659 w 3368"/>
                  <a:gd name="T117" fmla="*/ 245 h 3413"/>
                  <a:gd name="T118" fmla="*/ 1931 w 3368"/>
                  <a:gd name="T119" fmla="*/ 549 h 3413"/>
                  <a:gd name="T120" fmla="*/ 1995 w 3368"/>
                  <a:gd name="T121" fmla="*/ 945 h 3413"/>
                  <a:gd name="T122" fmla="*/ 2491 w 3368"/>
                  <a:gd name="T123" fmla="*/ 915 h 3413"/>
                  <a:gd name="T124" fmla="*/ 2880 w 3368"/>
                  <a:gd name="T125" fmla="*/ 1232 h 3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68" h="3413">
                    <a:moveTo>
                      <a:pt x="1713" y="3405"/>
                    </a:moveTo>
                    <a:lnTo>
                      <a:pt x="1708" y="3404"/>
                    </a:lnTo>
                    <a:lnTo>
                      <a:pt x="1693" y="3404"/>
                    </a:lnTo>
                    <a:lnTo>
                      <a:pt x="1676" y="3403"/>
                    </a:lnTo>
                    <a:lnTo>
                      <a:pt x="1664" y="3402"/>
                    </a:lnTo>
                    <a:lnTo>
                      <a:pt x="1651" y="3399"/>
                    </a:lnTo>
                    <a:lnTo>
                      <a:pt x="1642" y="3394"/>
                    </a:lnTo>
                    <a:lnTo>
                      <a:pt x="1644" y="3393"/>
                    </a:lnTo>
                    <a:lnTo>
                      <a:pt x="1646" y="3392"/>
                    </a:lnTo>
                    <a:lnTo>
                      <a:pt x="1646" y="3391"/>
                    </a:lnTo>
                    <a:lnTo>
                      <a:pt x="1645" y="3390"/>
                    </a:lnTo>
                    <a:lnTo>
                      <a:pt x="1644" y="3389"/>
                    </a:lnTo>
                    <a:lnTo>
                      <a:pt x="1643" y="3387"/>
                    </a:lnTo>
                    <a:lnTo>
                      <a:pt x="1644" y="3386"/>
                    </a:lnTo>
                    <a:lnTo>
                      <a:pt x="1644" y="3384"/>
                    </a:lnTo>
                    <a:lnTo>
                      <a:pt x="1633" y="3380"/>
                    </a:lnTo>
                    <a:lnTo>
                      <a:pt x="1627" y="3375"/>
                    </a:lnTo>
                    <a:lnTo>
                      <a:pt x="1633" y="3373"/>
                    </a:lnTo>
                    <a:lnTo>
                      <a:pt x="1643" y="3371"/>
                    </a:lnTo>
                    <a:lnTo>
                      <a:pt x="1647" y="3369"/>
                    </a:lnTo>
                    <a:lnTo>
                      <a:pt x="1651" y="3368"/>
                    </a:lnTo>
                    <a:lnTo>
                      <a:pt x="1655" y="3367"/>
                    </a:lnTo>
                    <a:lnTo>
                      <a:pt x="1656" y="3365"/>
                    </a:lnTo>
                    <a:lnTo>
                      <a:pt x="1655" y="3363"/>
                    </a:lnTo>
                    <a:lnTo>
                      <a:pt x="1654" y="3360"/>
                    </a:lnTo>
                    <a:lnTo>
                      <a:pt x="1654" y="3359"/>
                    </a:lnTo>
                    <a:lnTo>
                      <a:pt x="1654" y="3359"/>
                    </a:lnTo>
                    <a:lnTo>
                      <a:pt x="1656" y="3358"/>
                    </a:lnTo>
                    <a:lnTo>
                      <a:pt x="1659" y="3357"/>
                    </a:lnTo>
                    <a:lnTo>
                      <a:pt x="1673" y="3352"/>
                    </a:lnTo>
                    <a:lnTo>
                      <a:pt x="1682" y="3348"/>
                    </a:lnTo>
                    <a:lnTo>
                      <a:pt x="1682" y="3347"/>
                    </a:lnTo>
                    <a:lnTo>
                      <a:pt x="1681" y="3344"/>
                    </a:lnTo>
                    <a:lnTo>
                      <a:pt x="1679" y="3341"/>
                    </a:lnTo>
                    <a:lnTo>
                      <a:pt x="1674" y="3338"/>
                    </a:lnTo>
                    <a:lnTo>
                      <a:pt x="1670" y="3337"/>
                    </a:lnTo>
                    <a:lnTo>
                      <a:pt x="1663" y="3334"/>
                    </a:lnTo>
                    <a:lnTo>
                      <a:pt x="1660" y="3333"/>
                    </a:lnTo>
                    <a:lnTo>
                      <a:pt x="1657" y="3330"/>
                    </a:lnTo>
                    <a:lnTo>
                      <a:pt x="1656" y="3329"/>
                    </a:lnTo>
                    <a:lnTo>
                      <a:pt x="1656" y="3328"/>
                    </a:lnTo>
                    <a:lnTo>
                      <a:pt x="1656" y="3325"/>
                    </a:lnTo>
                    <a:lnTo>
                      <a:pt x="1657" y="3323"/>
                    </a:lnTo>
                    <a:lnTo>
                      <a:pt x="1660" y="3321"/>
                    </a:lnTo>
                    <a:lnTo>
                      <a:pt x="1665" y="3321"/>
                    </a:lnTo>
                    <a:lnTo>
                      <a:pt x="1680" y="3319"/>
                    </a:lnTo>
                    <a:lnTo>
                      <a:pt x="1690" y="3316"/>
                    </a:lnTo>
                    <a:lnTo>
                      <a:pt x="1691" y="3314"/>
                    </a:lnTo>
                    <a:lnTo>
                      <a:pt x="1690" y="3309"/>
                    </a:lnTo>
                    <a:lnTo>
                      <a:pt x="1690" y="3306"/>
                    </a:lnTo>
                    <a:lnTo>
                      <a:pt x="1690" y="3304"/>
                    </a:lnTo>
                    <a:lnTo>
                      <a:pt x="1692" y="3301"/>
                    </a:lnTo>
                    <a:lnTo>
                      <a:pt x="1696" y="3300"/>
                    </a:lnTo>
                    <a:lnTo>
                      <a:pt x="1705" y="3297"/>
                    </a:lnTo>
                    <a:lnTo>
                      <a:pt x="1714" y="3296"/>
                    </a:lnTo>
                    <a:lnTo>
                      <a:pt x="1717" y="3295"/>
                    </a:lnTo>
                    <a:lnTo>
                      <a:pt x="1721" y="3294"/>
                    </a:lnTo>
                    <a:lnTo>
                      <a:pt x="1723" y="3292"/>
                    </a:lnTo>
                    <a:lnTo>
                      <a:pt x="1723" y="3290"/>
                    </a:lnTo>
                    <a:lnTo>
                      <a:pt x="1722" y="3286"/>
                    </a:lnTo>
                    <a:lnTo>
                      <a:pt x="1717" y="3284"/>
                    </a:lnTo>
                    <a:lnTo>
                      <a:pt x="1712" y="3282"/>
                    </a:lnTo>
                    <a:lnTo>
                      <a:pt x="1706" y="3281"/>
                    </a:lnTo>
                    <a:lnTo>
                      <a:pt x="1701" y="3279"/>
                    </a:lnTo>
                    <a:lnTo>
                      <a:pt x="1696" y="3278"/>
                    </a:lnTo>
                    <a:lnTo>
                      <a:pt x="1695" y="3278"/>
                    </a:lnTo>
                    <a:lnTo>
                      <a:pt x="1694" y="3277"/>
                    </a:lnTo>
                    <a:lnTo>
                      <a:pt x="1694" y="3277"/>
                    </a:lnTo>
                    <a:lnTo>
                      <a:pt x="1695" y="3276"/>
                    </a:lnTo>
                    <a:lnTo>
                      <a:pt x="1706" y="3274"/>
                    </a:lnTo>
                    <a:lnTo>
                      <a:pt x="1721" y="3273"/>
                    </a:lnTo>
                    <a:lnTo>
                      <a:pt x="1728" y="3272"/>
                    </a:lnTo>
                    <a:lnTo>
                      <a:pt x="1734" y="3271"/>
                    </a:lnTo>
                    <a:lnTo>
                      <a:pt x="1739" y="3270"/>
                    </a:lnTo>
                    <a:lnTo>
                      <a:pt x="1743" y="3268"/>
                    </a:lnTo>
                    <a:lnTo>
                      <a:pt x="1747" y="3255"/>
                    </a:lnTo>
                    <a:lnTo>
                      <a:pt x="1753" y="3246"/>
                    </a:lnTo>
                    <a:lnTo>
                      <a:pt x="1768" y="3243"/>
                    </a:lnTo>
                    <a:lnTo>
                      <a:pt x="1793" y="3241"/>
                    </a:lnTo>
                    <a:lnTo>
                      <a:pt x="1804" y="3239"/>
                    </a:lnTo>
                    <a:lnTo>
                      <a:pt x="1816" y="3237"/>
                    </a:lnTo>
                    <a:lnTo>
                      <a:pt x="1824" y="3236"/>
                    </a:lnTo>
                    <a:lnTo>
                      <a:pt x="1827" y="3234"/>
                    </a:lnTo>
                    <a:lnTo>
                      <a:pt x="1841" y="3219"/>
                    </a:lnTo>
                    <a:lnTo>
                      <a:pt x="1851" y="3210"/>
                    </a:lnTo>
                    <a:lnTo>
                      <a:pt x="1847" y="3208"/>
                    </a:lnTo>
                    <a:lnTo>
                      <a:pt x="1841" y="3204"/>
                    </a:lnTo>
                    <a:lnTo>
                      <a:pt x="1838" y="3200"/>
                    </a:lnTo>
                    <a:lnTo>
                      <a:pt x="1836" y="3198"/>
                    </a:lnTo>
                    <a:lnTo>
                      <a:pt x="1836" y="3197"/>
                    </a:lnTo>
                    <a:lnTo>
                      <a:pt x="1835" y="3196"/>
                    </a:lnTo>
                    <a:lnTo>
                      <a:pt x="1836" y="3195"/>
                    </a:lnTo>
                    <a:lnTo>
                      <a:pt x="1837" y="3194"/>
                    </a:lnTo>
                    <a:lnTo>
                      <a:pt x="1845" y="3192"/>
                    </a:lnTo>
                    <a:lnTo>
                      <a:pt x="1858" y="3190"/>
                    </a:lnTo>
                    <a:lnTo>
                      <a:pt x="1870" y="3188"/>
                    </a:lnTo>
                    <a:lnTo>
                      <a:pt x="1877" y="3187"/>
                    </a:lnTo>
                    <a:lnTo>
                      <a:pt x="1881" y="3186"/>
                    </a:lnTo>
                    <a:lnTo>
                      <a:pt x="1889" y="3183"/>
                    </a:lnTo>
                    <a:lnTo>
                      <a:pt x="1900" y="3177"/>
                    </a:lnTo>
                    <a:lnTo>
                      <a:pt x="1909" y="3172"/>
                    </a:lnTo>
                    <a:lnTo>
                      <a:pt x="1923" y="3161"/>
                    </a:lnTo>
                    <a:lnTo>
                      <a:pt x="1934" y="3148"/>
                    </a:lnTo>
                    <a:lnTo>
                      <a:pt x="1947" y="3138"/>
                    </a:lnTo>
                    <a:lnTo>
                      <a:pt x="1958" y="3128"/>
                    </a:lnTo>
                    <a:lnTo>
                      <a:pt x="1964" y="3123"/>
                    </a:lnTo>
                    <a:lnTo>
                      <a:pt x="1969" y="3117"/>
                    </a:lnTo>
                    <a:lnTo>
                      <a:pt x="1973" y="3110"/>
                    </a:lnTo>
                    <a:lnTo>
                      <a:pt x="1975" y="3105"/>
                    </a:lnTo>
                    <a:lnTo>
                      <a:pt x="1988" y="3099"/>
                    </a:lnTo>
                    <a:lnTo>
                      <a:pt x="1997" y="3093"/>
                    </a:lnTo>
                    <a:lnTo>
                      <a:pt x="1999" y="3085"/>
                    </a:lnTo>
                    <a:lnTo>
                      <a:pt x="2001" y="3078"/>
                    </a:lnTo>
                    <a:lnTo>
                      <a:pt x="2001" y="3070"/>
                    </a:lnTo>
                    <a:lnTo>
                      <a:pt x="2002" y="3059"/>
                    </a:lnTo>
                    <a:lnTo>
                      <a:pt x="2003" y="3054"/>
                    </a:lnTo>
                    <a:lnTo>
                      <a:pt x="2006" y="3049"/>
                    </a:lnTo>
                    <a:lnTo>
                      <a:pt x="2009" y="3045"/>
                    </a:lnTo>
                    <a:lnTo>
                      <a:pt x="2012" y="3043"/>
                    </a:lnTo>
                    <a:lnTo>
                      <a:pt x="2020" y="3039"/>
                    </a:lnTo>
                    <a:lnTo>
                      <a:pt x="2029" y="3033"/>
                    </a:lnTo>
                    <a:lnTo>
                      <a:pt x="2038" y="3026"/>
                    </a:lnTo>
                    <a:lnTo>
                      <a:pt x="2045" y="3020"/>
                    </a:lnTo>
                    <a:lnTo>
                      <a:pt x="2060" y="3016"/>
                    </a:lnTo>
                    <a:lnTo>
                      <a:pt x="2077" y="3013"/>
                    </a:lnTo>
                    <a:lnTo>
                      <a:pt x="2086" y="3009"/>
                    </a:lnTo>
                    <a:lnTo>
                      <a:pt x="2097" y="3005"/>
                    </a:lnTo>
                    <a:lnTo>
                      <a:pt x="2107" y="3001"/>
                    </a:lnTo>
                    <a:lnTo>
                      <a:pt x="2116" y="3000"/>
                    </a:lnTo>
                    <a:lnTo>
                      <a:pt x="2121" y="3000"/>
                    </a:lnTo>
                    <a:lnTo>
                      <a:pt x="2125" y="3000"/>
                    </a:lnTo>
                    <a:lnTo>
                      <a:pt x="2129" y="3000"/>
                    </a:lnTo>
                    <a:lnTo>
                      <a:pt x="2133" y="2997"/>
                    </a:lnTo>
                    <a:lnTo>
                      <a:pt x="2140" y="2992"/>
                    </a:lnTo>
                    <a:lnTo>
                      <a:pt x="2147" y="2985"/>
                    </a:lnTo>
                    <a:lnTo>
                      <a:pt x="2149" y="2982"/>
                    </a:lnTo>
                    <a:lnTo>
                      <a:pt x="2150" y="2978"/>
                    </a:lnTo>
                    <a:lnTo>
                      <a:pt x="2151" y="2974"/>
                    </a:lnTo>
                    <a:lnTo>
                      <a:pt x="2152" y="2971"/>
                    </a:lnTo>
                    <a:lnTo>
                      <a:pt x="2152" y="2967"/>
                    </a:lnTo>
                    <a:lnTo>
                      <a:pt x="2154" y="2964"/>
                    </a:lnTo>
                    <a:lnTo>
                      <a:pt x="2156" y="2961"/>
                    </a:lnTo>
                    <a:lnTo>
                      <a:pt x="2160" y="2957"/>
                    </a:lnTo>
                    <a:lnTo>
                      <a:pt x="2167" y="2953"/>
                    </a:lnTo>
                    <a:lnTo>
                      <a:pt x="2174" y="2949"/>
                    </a:lnTo>
                    <a:lnTo>
                      <a:pt x="2178" y="2945"/>
                    </a:lnTo>
                    <a:lnTo>
                      <a:pt x="2180" y="2941"/>
                    </a:lnTo>
                    <a:lnTo>
                      <a:pt x="2182" y="2934"/>
                    </a:lnTo>
                    <a:lnTo>
                      <a:pt x="2184" y="2926"/>
                    </a:lnTo>
                    <a:lnTo>
                      <a:pt x="2186" y="2918"/>
                    </a:lnTo>
                    <a:lnTo>
                      <a:pt x="2189" y="2912"/>
                    </a:lnTo>
                    <a:lnTo>
                      <a:pt x="2192" y="2897"/>
                    </a:lnTo>
                    <a:lnTo>
                      <a:pt x="2196" y="2869"/>
                    </a:lnTo>
                    <a:lnTo>
                      <a:pt x="2198" y="2855"/>
                    </a:lnTo>
                    <a:lnTo>
                      <a:pt x="2200" y="2842"/>
                    </a:lnTo>
                    <a:lnTo>
                      <a:pt x="2203" y="2834"/>
                    </a:lnTo>
                    <a:lnTo>
                      <a:pt x="2205" y="2830"/>
                    </a:lnTo>
                    <a:lnTo>
                      <a:pt x="2209" y="2829"/>
                    </a:lnTo>
                    <a:lnTo>
                      <a:pt x="2214" y="2826"/>
                    </a:lnTo>
                    <a:lnTo>
                      <a:pt x="2219" y="2823"/>
                    </a:lnTo>
                    <a:lnTo>
                      <a:pt x="2224" y="2820"/>
                    </a:lnTo>
                    <a:lnTo>
                      <a:pt x="2228" y="2815"/>
                    </a:lnTo>
                    <a:lnTo>
                      <a:pt x="2232" y="2808"/>
                    </a:lnTo>
                    <a:lnTo>
                      <a:pt x="2235" y="2803"/>
                    </a:lnTo>
                    <a:lnTo>
                      <a:pt x="2237" y="2801"/>
                    </a:lnTo>
                    <a:lnTo>
                      <a:pt x="2240" y="2798"/>
                    </a:lnTo>
                    <a:lnTo>
                      <a:pt x="2242" y="2797"/>
                    </a:lnTo>
                    <a:lnTo>
                      <a:pt x="2248" y="2795"/>
                    </a:lnTo>
                    <a:lnTo>
                      <a:pt x="2253" y="2791"/>
                    </a:lnTo>
                    <a:lnTo>
                      <a:pt x="2257" y="2787"/>
                    </a:lnTo>
                    <a:lnTo>
                      <a:pt x="2260" y="2783"/>
                    </a:lnTo>
                    <a:lnTo>
                      <a:pt x="2269" y="2776"/>
                    </a:lnTo>
                    <a:lnTo>
                      <a:pt x="2279" y="2769"/>
                    </a:lnTo>
                    <a:lnTo>
                      <a:pt x="2281" y="2767"/>
                    </a:lnTo>
                    <a:lnTo>
                      <a:pt x="2283" y="2765"/>
                    </a:lnTo>
                    <a:lnTo>
                      <a:pt x="2285" y="2760"/>
                    </a:lnTo>
                    <a:lnTo>
                      <a:pt x="2286" y="2751"/>
                    </a:lnTo>
                    <a:lnTo>
                      <a:pt x="2287" y="2739"/>
                    </a:lnTo>
                    <a:lnTo>
                      <a:pt x="2288" y="2730"/>
                    </a:lnTo>
                    <a:lnTo>
                      <a:pt x="2288" y="2722"/>
                    </a:lnTo>
                    <a:lnTo>
                      <a:pt x="2286" y="2717"/>
                    </a:lnTo>
                    <a:lnTo>
                      <a:pt x="2285" y="2715"/>
                    </a:lnTo>
                    <a:lnTo>
                      <a:pt x="2282" y="2713"/>
                    </a:lnTo>
                    <a:lnTo>
                      <a:pt x="2279" y="2711"/>
                    </a:lnTo>
                    <a:lnTo>
                      <a:pt x="2275" y="2709"/>
                    </a:lnTo>
                    <a:lnTo>
                      <a:pt x="2265" y="2706"/>
                    </a:lnTo>
                    <a:lnTo>
                      <a:pt x="2256" y="2702"/>
                    </a:lnTo>
                    <a:lnTo>
                      <a:pt x="2250" y="2700"/>
                    </a:lnTo>
                    <a:lnTo>
                      <a:pt x="2244" y="2699"/>
                    </a:lnTo>
                    <a:lnTo>
                      <a:pt x="2240" y="2697"/>
                    </a:lnTo>
                    <a:lnTo>
                      <a:pt x="2233" y="2691"/>
                    </a:lnTo>
                    <a:lnTo>
                      <a:pt x="2226" y="2684"/>
                    </a:lnTo>
                    <a:lnTo>
                      <a:pt x="2219" y="2678"/>
                    </a:lnTo>
                    <a:lnTo>
                      <a:pt x="2215" y="2676"/>
                    </a:lnTo>
                    <a:lnTo>
                      <a:pt x="2212" y="2673"/>
                    </a:lnTo>
                    <a:lnTo>
                      <a:pt x="2207" y="2671"/>
                    </a:lnTo>
                    <a:lnTo>
                      <a:pt x="2202" y="2671"/>
                    </a:lnTo>
                    <a:lnTo>
                      <a:pt x="2187" y="2671"/>
                    </a:lnTo>
                    <a:lnTo>
                      <a:pt x="2167" y="2673"/>
                    </a:lnTo>
                    <a:lnTo>
                      <a:pt x="2158" y="2675"/>
                    </a:lnTo>
                    <a:lnTo>
                      <a:pt x="2148" y="2675"/>
                    </a:lnTo>
                    <a:lnTo>
                      <a:pt x="2142" y="2675"/>
                    </a:lnTo>
                    <a:lnTo>
                      <a:pt x="2137" y="2673"/>
                    </a:lnTo>
                    <a:lnTo>
                      <a:pt x="2130" y="2669"/>
                    </a:lnTo>
                    <a:lnTo>
                      <a:pt x="2124" y="2666"/>
                    </a:lnTo>
                    <a:lnTo>
                      <a:pt x="2121" y="2664"/>
                    </a:lnTo>
                    <a:lnTo>
                      <a:pt x="2118" y="2664"/>
                    </a:lnTo>
                    <a:lnTo>
                      <a:pt x="2116" y="2664"/>
                    </a:lnTo>
                    <a:lnTo>
                      <a:pt x="2114" y="2666"/>
                    </a:lnTo>
                    <a:lnTo>
                      <a:pt x="2110" y="2670"/>
                    </a:lnTo>
                    <a:lnTo>
                      <a:pt x="2107" y="2672"/>
                    </a:lnTo>
                    <a:lnTo>
                      <a:pt x="2106" y="2672"/>
                    </a:lnTo>
                    <a:lnTo>
                      <a:pt x="2105" y="2672"/>
                    </a:lnTo>
                    <a:lnTo>
                      <a:pt x="2104" y="2671"/>
                    </a:lnTo>
                    <a:lnTo>
                      <a:pt x="2104" y="2670"/>
                    </a:lnTo>
                    <a:lnTo>
                      <a:pt x="2104" y="2664"/>
                    </a:lnTo>
                    <a:lnTo>
                      <a:pt x="2103" y="2658"/>
                    </a:lnTo>
                    <a:lnTo>
                      <a:pt x="2102" y="2653"/>
                    </a:lnTo>
                    <a:lnTo>
                      <a:pt x="2100" y="2649"/>
                    </a:lnTo>
                    <a:lnTo>
                      <a:pt x="2094" y="2646"/>
                    </a:lnTo>
                    <a:lnTo>
                      <a:pt x="2084" y="2641"/>
                    </a:lnTo>
                    <a:lnTo>
                      <a:pt x="2078" y="2638"/>
                    </a:lnTo>
                    <a:lnTo>
                      <a:pt x="2073" y="2636"/>
                    </a:lnTo>
                    <a:lnTo>
                      <a:pt x="2067" y="2636"/>
                    </a:lnTo>
                    <a:lnTo>
                      <a:pt x="2064" y="2636"/>
                    </a:lnTo>
                    <a:lnTo>
                      <a:pt x="2054" y="2646"/>
                    </a:lnTo>
                    <a:lnTo>
                      <a:pt x="2039" y="2661"/>
                    </a:lnTo>
                    <a:lnTo>
                      <a:pt x="2032" y="2668"/>
                    </a:lnTo>
                    <a:lnTo>
                      <a:pt x="2025" y="2675"/>
                    </a:lnTo>
                    <a:lnTo>
                      <a:pt x="2022" y="2676"/>
                    </a:lnTo>
                    <a:lnTo>
                      <a:pt x="2019" y="2678"/>
                    </a:lnTo>
                    <a:lnTo>
                      <a:pt x="2018" y="2678"/>
                    </a:lnTo>
                    <a:lnTo>
                      <a:pt x="2016" y="2677"/>
                    </a:lnTo>
                    <a:lnTo>
                      <a:pt x="2016" y="2673"/>
                    </a:lnTo>
                    <a:lnTo>
                      <a:pt x="2018" y="2669"/>
                    </a:lnTo>
                    <a:lnTo>
                      <a:pt x="2020" y="2664"/>
                    </a:lnTo>
                    <a:lnTo>
                      <a:pt x="2023" y="2659"/>
                    </a:lnTo>
                    <a:lnTo>
                      <a:pt x="2028" y="2654"/>
                    </a:lnTo>
                    <a:lnTo>
                      <a:pt x="2030" y="2649"/>
                    </a:lnTo>
                    <a:lnTo>
                      <a:pt x="2030" y="2646"/>
                    </a:lnTo>
                    <a:lnTo>
                      <a:pt x="2031" y="2645"/>
                    </a:lnTo>
                    <a:lnTo>
                      <a:pt x="2030" y="2643"/>
                    </a:lnTo>
                    <a:lnTo>
                      <a:pt x="2029" y="2642"/>
                    </a:lnTo>
                    <a:lnTo>
                      <a:pt x="2027" y="2640"/>
                    </a:lnTo>
                    <a:lnTo>
                      <a:pt x="2022" y="2640"/>
                    </a:lnTo>
                    <a:lnTo>
                      <a:pt x="2018" y="2641"/>
                    </a:lnTo>
                    <a:lnTo>
                      <a:pt x="2013" y="2642"/>
                    </a:lnTo>
                    <a:lnTo>
                      <a:pt x="2005" y="2646"/>
                    </a:lnTo>
                    <a:lnTo>
                      <a:pt x="1998" y="2650"/>
                    </a:lnTo>
                    <a:lnTo>
                      <a:pt x="1991" y="2654"/>
                    </a:lnTo>
                    <a:lnTo>
                      <a:pt x="1983" y="2657"/>
                    </a:lnTo>
                    <a:lnTo>
                      <a:pt x="1977" y="2658"/>
                    </a:lnTo>
                    <a:lnTo>
                      <a:pt x="1973" y="2659"/>
                    </a:lnTo>
                    <a:lnTo>
                      <a:pt x="1970" y="2659"/>
                    </a:lnTo>
                    <a:lnTo>
                      <a:pt x="1969" y="2658"/>
                    </a:lnTo>
                    <a:lnTo>
                      <a:pt x="1968" y="2656"/>
                    </a:lnTo>
                    <a:lnTo>
                      <a:pt x="1969" y="2654"/>
                    </a:lnTo>
                    <a:lnTo>
                      <a:pt x="1970" y="2651"/>
                    </a:lnTo>
                    <a:lnTo>
                      <a:pt x="1972" y="2648"/>
                    </a:lnTo>
                    <a:lnTo>
                      <a:pt x="1976" y="2642"/>
                    </a:lnTo>
                    <a:lnTo>
                      <a:pt x="1981" y="2639"/>
                    </a:lnTo>
                    <a:lnTo>
                      <a:pt x="1988" y="2635"/>
                    </a:lnTo>
                    <a:lnTo>
                      <a:pt x="1995" y="2627"/>
                    </a:lnTo>
                    <a:lnTo>
                      <a:pt x="1999" y="2623"/>
                    </a:lnTo>
                    <a:lnTo>
                      <a:pt x="2002" y="2620"/>
                    </a:lnTo>
                    <a:lnTo>
                      <a:pt x="2005" y="2616"/>
                    </a:lnTo>
                    <a:lnTo>
                      <a:pt x="2006" y="2613"/>
                    </a:lnTo>
                    <a:lnTo>
                      <a:pt x="2006" y="2611"/>
                    </a:lnTo>
                    <a:lnTo>
                      <a:pt x="2003" y="2607"/>
                    </a:lnTo>
                    <a:lnTo>
                      <a:pt x="2000" y="2605"/>
                    </a:lnTo>
                    <a:lnTo>
                      <a:pt x="1998" y="2602"/>
                    </a:lnTo>
                    <a:lnTo>
                      <a:pt x="1992" y="2597"/>
                    </a:lnTo>
                    <a:lnTo>
                      <a:pt x="1988" y="2593"/>
                    </a:lnTo>
                    <a:lnTo>
                      <a:pt x="1985" y="2583"/>
                    </a:lnTo>
                    <a:lnTo>
                      <a:pt x="1979" y="2568"/>
                    </a:lnTo>
                    <a:lnTo>
                      <a:pt x="1976" y="2560"/>
                    </a:lnTo>
                    <a:lnTo>
                      <a:pt x="1972" y="2555"/>
                    </a:lnTo>
                    <a:lnTo>
                      <a:pt x="1971" y="2553"/>
                    </a:lnTo>
                    <a:lnTo>
                      <a:pt x="1969" y="2553"/>
                    </a:lnTo>
                    <a:lnTo>
                      <a:pt x="1967" y="2553"/>
                    </a:lnTo>
                    <a:lnTo>
                      <a:pt x="1965" y="2554"/>
                    </a:lnTo>
                    <a:lnTo>
                      <a:pt x="1961" y="2559"/>
                    </a:lnTo>
                    <a:lnTo>
                      <a:pt x="1955" y="2567"/>
                    </a:lnTo>
                    <a:lnTo>
                      <a:pt x="1951" y="2575"/>
                    </a:lnTo>
                    <a:lnTo>
                      <a:pt x="1947" y="2583"/>
                    </a:lnTo>
                    <a:lnTo>
                      <a:pt x="1943" y="2592"/>
                    </a:lnTo>
                    <a:lnTo>
                      <a:pt x="1939" y="2598"/>
                    </a:lnTo>
                    <a:lnTo>
                      <a:pt x="1936" y="2600"/>
                    </a:lnTo>
                    <a:lnTo>
                      <a:pt x="1934" y="2602"/>
                    </a:lnTo>
                    <a:lnTo>
                      <a:pt x="1932" y="2603"/>
                    </a:lnTo>
                    <a:lnTo>
                      <a:pt x="1931" y="2603"/>
                    </a:lnTo>
                    <a:lnTo>
                      <a:pt x="1922" y="2598"/>
                    </a:lnTo>
                    <a:lnTo>
                      <a:pt x="1912" y="2593"/>
                    </a:lnTo>
                    <a:lnTo>
                      <a:pt x="1907" y="2591"/>
                    </a:lnTo>
                    <a:lnTo>
                      <a:pt x="1903" y="2590"/>
                    </a:lnTo>
                    <a:lnTo>
                      <a:pt x="1899" y="2590"/>
                    </a:lnTo>
                    <a:lnTo>
                      <a:pt x="1896" y="2591"/>
                    </a:lnTo>
                    <a:lnTo>
                      <a:pt x="1890" y="2597"/>
                    </a:lnTo>
                    <a:lnTo>
                      <a:pt x="1886" y="2604"/>
                    </a:lnTo>
                    <a:lnTo>
                      <a:pt x="1884" y="2606"/>
                    </a:lnTo>
                    <a:lnTo>
                      <a:pt x="1882" y="2609"/>
                    </a:lnTo>
                    <a:lnTo>
                      <a:pt x="1879" y="2610"/>
                    </a:lnTo>
                    <a:lnTo>
                      <a:pt x="1876" y="2609"/>
                    </a:lnTo>
                    <a:lnTo>
                      <a:pt x="1873" y="2604"/>
                    </a:lnTo>
                    <a:lnTo>
                      <a:pt x="1868" y="2598"/>
                    </a:lnTo>
                    <a:lnTo>
                      <a:pt x="1865" y="2591"/>
                    </a:lnTo>
                    <a:lnTo>
                      <a:pt x="1862" y="2581"/>
                    </a:lnTo>
                    <a:lnTo>
                      <a:pt x="1859" y="2572"/>
                    </a:lnTo>
                    <a:lnTo>
                      <a:pt x="1857" y="2563"/>
                    </a:lnTo>
                    <a:lnTo>
                      <a:pt x="1855" y="2555"/>
                    </a:lnTo>
                    <a:lnTo>
                      <a:pt x="1855" y="2550"/>
                    </a:lnTo>
                    <a:lnTo>
                      <a:pt x="1857" y="2539"/>
                    </a:lnTo>
                    <a:lnTo>
                      <a:pt x="1858" y="2530"/>
                    </a:lnTo>
                    <a:lnTo>
                      <a:pt x="1858" y="2526"/>
                    </a:lnTo>
                    <a:lnTo>
                      <a:pt x="1857" y="2521"/>
                    </a:lnTo>
                    <a:lnTo>
                      <a:pt x="1855" y="2516"/>
                    </a:lnTo>
                    <a:lnTo>
                      <a:pt x="1852" y="2511"/>
                    </a:lnTo>
                    <a:lnTo>
                      <a:pt x="1835" y="2497"/>
                    </a:lnTo>
                    <a:lnTo>
                      <a:pt x="1811" y="2480"/>
                    </a:lnTo>
                    <a:lnTo>
                      <a:pt x="1799" y="2471"/>
                    </a:lnTo>
                    <a:lnTo>
                      <a:pt x="1790" y="2463"/>
                    </a:lnTo>
                    <a:lnTo>
                      <a:pt x="1788" y="2460"/>
                    </a:lnTo>
                    <a:lnTo>
                      <a:pt x="1786" y="2457"/>
                    </a:lnTo>
                    <a:lnTo>
                      <a:pt x="1786" y="2454"/>
                    </a:lnTo>
                    <a:lnTo>
                      <a:pt x="1788" y="2452"/>
                    </a:lnTo>
                    <a:lnTo>
                      <a:pt x="1792" y="2448"/>
                    </a:lnTo>
                    <a:lnTo>
                      <a:pt x="1796" y="2443"/>
                    </a:lnTo>
                    <a:lnTo>
                      <a:pt x="1799" y="2437"/>
                    </a:lnTo>
                    <a:lnTo>
                      <a:pt x="1801" y="2430"/>
                    </a:lnTo>
                    <a:lnTo>
                      <a:pt x="1802" y="2425"/>
                    </a:lnTo>
                    <a:lnTo>
                      <a:pt x="1802" y="2421"/>
                    </a:lnTo>
                    <a:lnTo>
                      <a:pt x="1801" y="2419"/>
                    </a:lnTo>
                    <a:lnTo>
                      <a:pt x="1800" y="2419"/>
                    </a:lnTo>
                    <a:lnTo>
                      <a:pt x="1798" y="2419"/>
                    </a:lnTo>
                    <a:lnTo>
                      <a:pt x="1796" y="2420"/>
                    </a:lnTo>
                    <a:lnTo>
                      <a:pt x="1786" y="2426"/>
                    </a:lnTo>
                    <a:lnTo>
                      <a:pt x="1772" y="2432"/>
                    </a:lnTo>
                    <a:lnTo>
                      <a:pt x="1765" y="2435"/>
                    </a:lnTo>
                    <a:lnTo>
                      <a:pt x="1758" y="2436"/>
                    </a:lnTo>
                    <a:lnTo>
                      <a:pt x="1752" y="2436"/>
                    </a:lnTo>
                    <a:lnTo>
                      <a:pt x="1746" y="2432"/>
                    </a:lnTo>
                    <a:lnTo>
                      <a:pt x="1736" y="2426"/>
                    </a:lnTo>
                    <a:lnTo>
                      <a:pt x="1726" y="2420"/>
                    </a:lnTo>
                    <a:lnTo>
                      <a:pt x="1722" y="2418"/>
                    </a:lnTo>
                    <a:lnTo>
                      <a:pt x="1716" y="2417"/>
                    </a:lnTo>
                    <a:lnTo>
                      <a:pt x="1712" y="2418"/>
                    </a:lnTo>
                    <a:lnTo>
                      <a:pt x="1708" y="2420"/>
                    </a:lnTo>
                    <a:lnTo>
                      <a:pt x="1704" y="2423"/>
                    </a:lnTo>
                    <a:lnTo>
                      <a:pt x="1699" y="2425"/>
                    </a:lnTo>
                    <a:lnTo>
                      <a:pt x="1693" y="2425"/>
                    </a:lnTo>
                    <a:lnTo>
                      <a:pt x="1687" y="2425"/>
                    </a:lnTo>
                    <a:lnTo>
                      <a:pt x="1679" y="2423"/>
                    </a:lnTo>
                    <a:lnTo>
                      <a:pt x="1677" y="2422"/>
                    </a:lnTo>
                    <a:lnTo>
                      <a:pt x="1679" y="2421"/>
                    </a:lnTo>
                    <a:lnTo>
                      <a:pt x="1679" y="2420"/>
                    </a:lnTo>
                    <a:lnTo>
                      <a:pt x="1678" y="2417"/>
                    </a:lnTo>
                    <a:lnTo>
                      <a:pt x="1677" y="2415"/>
                    </a:lnTo>
                    <a:lnTo>
                      <a:pt x="1672" y="2410"/>
                    </a:lnTo>
                    <a:lnTo>
                      <a:pt x="1668" y="2407"/>
                    </a:lnTo>
                    <a:lnTo>
                      <a:pt x="1655" y="2406"/>
                    </a:lnTo>
                    <a:lnTo>
                      <a:pt x="1628" y="2405"/>
                    </a:lnTo>
                    <a:lnTo>
                      <a:pt x="1602" y="2404"/>
                    </a:lnTo>
                    <a:lnTo>
                      <a:pt x="1591" y="2404"/>
                    </a:lnTo>
                    <a:lnTo>
                      <a:pt x="1591" y="2407"/>
                    </a:lnTo>
                    <a:lnTo>
                      <a:pt x="1589" y="2415"/>
                    </a:lnTo>
                    <a:lnTo>
                      <a:pt x="1588" y="2418"/>
                    </a:lnTo>
                    <a:lnTo>
                      <a:pt x="1586" y="2420"/>
                    </a:lnTo>
                    <a:lnTo>
                      <a:pt x="1584" y="2422"/>
                    </a:lnTo>
                    <a:lnTo>
                      <a:pt x="1583" y="2421"/>
                    </a:lnTo>
                    <a:lnTo>
                      <a:pt x="1575" y="2406"/>
                    </a:lnTo>
                    <a:lnTo>
                      <a:pt x="1569" y="2394"/>
                    </a:lnTo>
                    <a:lnTo>
                      <a:pt x="1563" y="2399"/>
                    </a:lnTo>
                    <a:lnTo>
                      <a:pt x="1552" y="2408"/>
                    </a:lnTo>
                    <a:lnTo>
                      <a:pt x="1545" y="2413"/>
                    </a:lnTo>
                    <a:lnTo>
                      <a:pt x="1537" y="2417"/>
                    </a:lnTo>
                    <a:lnTo>
                      <a:pt x="1531" y="2420"/>
                    </a:lnTo>
                    <a:lnTo>
                      <a:pt x="1526" y="2420"/>
                    </a:lnTo>
                    <a:lnTo>
                      <a:pt x="1520" y="2419"/>
                    </a:lnTo>
                    <a:lnTo>
                      <a:pt x="1515" y="2418"/>
                    </a:lnTo>
                    <a:lnTo>
                      <a:pt x="1509" y="2418"/>
                    </a:lnTo>
                    <a:lnTo>
                      <a:pt x="1503" y="2420"/>
                    </a:lnTo>
                    <a:lnTo>
                      <a:pt x="1496" y="2422"/>
                    </a:lnTo>
                    <a:lnTo>
                      <a:pt x="1490" y="2427"/>
                    </a:lnTo>
                    <a:lnTo>
                      <a:pt x="1485" y="2435"/>
                    </a:lnTo>
                    <a:lnTo>
                      <a:pt x="1480" y="2444"/>
                    </a:lnTo>
                    <a:lnTo>
                      <a:pt x="1475" y="2453"/>
                    </a:lnTo>
                    <a:lnTo>
                      <a:pt x="1470" y="2462"/>
                    </a:lnTo>
                    <a:lnTo>
                      <a:pt x="1464" y="2467"/>
                    </a:lnTo>
                    <a:lnTo>
                      <a:pt x="1458" y="2470"/>
                    </a:lnTo>
                    <a:lnTo>
                      <a:pt x="1451" y="2472"/>
                    </a:lnTo>
                    <a:lnTo>
                      <a:pt x="1447" y="2472"/>
                    </a:lnTo>
                    <a:lnTo>
                      <a:pt x="1443" y="2472"/>
                    </a:lnTo>
                    <a:lnTo>
                      <a:pt x="1440" y="2470"/>
                    </a:lnTo>
                    <a:lnTo>
                      <a:pt x="1434" y="2466"/>
                    </a:lnTo>
                    <a:lnTo>
                      <a:pt x="1423" y="2462"/>
                    </a:lnTo>
                    <a:lnTo>
                      <a:pt x="1410" y="2458"/>
                    </a:lnTo>
                    <a:lnTo>
                      <a:pt x="1399" y="2456"/>
                    </a:lnTo>
                    <a:lnTo>
                      <a:pt x="1396" y="2456"/>
                    </a:lnTo>
                    <a:lnTo>
                      <a:pt x="1393" y="2458"/>
                    </a:lnTo>
                    <a:lnTo>
                      <a:pt x="1392" y="2460"/>
                    </a:lnTo>
                    <a:lnTo>
                      <a:pt x="1391" y="2463"/>
                    </a:lnTo>
                    <a:lnTo>
                      <a:pt x="1388" y="2465"/>
                    </a:lnTo>
                    <a:lnTo>
                      <a:pt x="1384" y="2466"/>
                    </a:lnTo>
                    <a:lnTo>
                      <a:pt x="1379" y="2466"/>
                    </a:lnTo>
                    <a:lnTo>
                      <a:pt x="1371" y="2463"/>
                    </a:lnTo>
                    <a:lnTo>
                      <a:pt x="1351" y="2453"/>
                    </a:lnTo>
                    <a:lnTo>
                      <a:pt x="1333" y="2445"/>
                    </a:lnTo>
                    <a:lnTo>
                      <a:pt x="1326" y="2441"/>
                    </a:lnTo>
                    <a:lnTo>
                      <a:pt x="1320" y="2437"/>
                    </a:lnTo>
                    <a:lnTo>
                      <a:pt x="1317" y="2432"/>
                    </a:lnTo>
                    <a:lnTo>
                      <a:pt x="1316" y="2428"/>
                    </a:lnTo>
                    <a:lnTo>
                      <a:pt x="1317" y="2414"/>
                    </a:lnTo>
                    <a:lnTo>
                      <a:pt x="1320" y="2391"/>
                    </a:lnTo>
                    <a:lnTo>
                      <a:pt x="1322" y="2370"/>
                    </a:lnTo>
                    <a:lnTo>
                      <a:pt x="1323" y="2356"/>
                    </a:lnTo>
                    <a:lnTo>
                      <a:pt x="1320" y="2353"/>
                    </a:lnTo>
                    <a:lnTo>
                      <a:pt x="1312" y="2349"/>
                    </a:lnTo>
                    <a:lnTo>
                      <a:pt x="1300" y="2344"/>
                    </a:lnTo>
                    <a:lnTo>
                      <a:pt x="1287" y="2339"/>
                    </a:lnTo>
                    <a:lnTo>
                      <a:pt x="1272" y="2334"/>
                    </a:lnTo>
                    <a:lnTo>
                      <a:pt x="1259" y="2329"/>
                    </a:lnTo>
                    <a:lnTo>
                      <a:pt x="1247" y="2325"/>
                    </a:lnTo>
                    <a:lnTo>
                      <a:pt x="1239" y="2319"/>
                    </a:lnTo>
                    <a:lnTo>
                      <a:pt x="1232" y="2315"/>
                    </a:lnTo>
                    <a:lnTo>
                      <a:pt x="1227" y="2309"/>
                    </a:lnTo>
                    <a:lnTo>
                      <a:pt x="1222" y="2303"/>
                    </a:lnTo>
                    <a:lnTo>
                      <a:pt x="1218" y="2296"/>
                    </a:lnTo>
                    <a:lnTo>
                      <a:pt x="1215" y="2290"/>
                    </a:lnTo>
                    <a:lnTo>
                      <a:pt x="1212" y="2285"/>
                    </a:lnTo>
                    <a:lnTo>
                      <a:pt x="1212" y="2283"/>
                    </a:lnTo>
                    <a:lnTo>
                      <a:pt x="1212" y="2282"/>
                    </a:lnTo>
                    <a:lnTo>
                      <a:pt x="1212" y="2281"/>
                    </a:lnTo>
                    <a:lnTo>
                      <a:pt x="1213" y="2280"/>
                    </a:lnTo>
                    <a:lnTo>
                      <a:pt x="1217" y="2276"/>
                    </a:lnTo>
                    <a:lnTo>
                      <a:pt x="1222" y="2268"/>
                    </a:lnTo>
                    <a:lnTo>
                      <a:pt x="1228" y="2256"/>
                    </a:lnTo>
                    <a:lnTo>
                      <a:pt x="1233" y="2243"/>
                    </a:lnTo>
                    <a:lnTo>
                      <a:pt x="1239" y="2228"/>
                    </a:lnTo>
                    <a:lnTo>
                      <a:pt x="1242" y="2216"/>
                    </a:lnTo>
                    <a:lnTo>
                      <a:pt x="1243" y="2210"/>
                    </a:lnTo>
                    <a:lnTo>
                      <a:pt x="1243" y="2205"/>
                    </a:lnTo>
                    <a:lnTo>
                      <a:pt x="1242" y="2201"/>
                    </a:lnTo>
                    <a:lnTo>
                      <a:pt x="1240" y="2199"/>
                    </a:lnTo>
                    <a:lnTo>
                      <a:pt x="1238" y="2198"/>
                    </a:lnTo>
                    <a:lnTo>
                      <a:pt x="1233" y="2196"/>
                    </a:lnTo>
                    <a:lnTo>
                      <a:pt x="1228" y="2195"/>
                    </a:lnTo>
                    <a:lnTo>
                      <a:pt x="1223" y="2195"/>
                    </a:lnTo>
                    <a:lnTo>
                      <a:pt x="1209" y="2194"/>
                    </a:lnTo>
                    <a:lnTo>
                      <a:pt x="1196" y="2195"/>
                    </a:lnTo>
                    <a:lnTo>
                      <a:pt x="1182" y="2197"/>
                    </a:lnTo>
                    <a:lnTo>
                      <a:pt x="1171" y="2200"/>
                    </a:lnTo>
                    <a:lnTo>
                      <a:pt x="1166" y="2201"/>
                    </a:lnTo>
                    <a:lnTo>
                      <a:pt x="1162" y="2203"/>
                    </a:lnTo>
                    <a:lnTo>
                      <a:pt x="1160" y="2205"/>
                    </a:lnTo>
                    <a:lnTo>
                      <a:pt x="1159" y="2207"/>
                    </a:lnTo>
                    <a:lnTo>
                      <a:pt x="1156" y="2222"/>
                    </a:lnTo>
                    <a:lnTo>
                      <a:pt x="1150" y="2242"/>
                    </a:lnTo>
                    <a:lnTo>
                      <a:pt x="1146" y="2252"/>
                    </a:lnTo>
                    <a:lnTo>
                      <a:pt x="1141" y="2261"/>
                    </a:lnTo>
                    <a:lnTo>
                      <a:pt x="1139" y="2264"/>
                    </a:lnTo>
                    <a:lnTo>
                      <a:pt x="1136" y="2266"/>
                    </a:lnTo>
                    <a:lnTo>
                      <a:pt x="1134" y="2267"/>
                    </a:lnTo>
                    <a:lnTo>
                      <a:pt x="1131" y="2268"/>
                    </a:lnTo>
                    <a:lnTo>
                      <a:pt x="1122" y="2267"/>
                    </a:lnTo>
                    <a:lnTo>
                      <a:pt x="1109" y="2267"/>
                    </a:lnTo>
                    <a:lnTo>
                      <a:pt x="1093" y="2265"/>
                    </a:lnTo>
                    <a:lnTo>
                      <a:pt x="1076" y="2261"/>
                    </a:lnTo>
                    <a:lnTo>
                      <a:pt x="1067" y="2258"/>
                    </a:lnTo>
                    <a:lnTo>
                      <a:pt x="1058" y="2253"/>
                    </a:lnTo>
                    <a:lnTo>
                      <a:pt x="1051" y="2248"/>
                    </a:lnTo>
                    <a:lnTo>
                      <a:pt x="1044" y="2242"/>
                    </a:lnTo>
                    <a:lnTo>
                      <a:pt x="1037" y="2234"/>
                    </a:lnTo>
                    <a:lnTo>
                      <a:pt x="1032" y="2225"/>
                    </a:lnTo>
                    <a:lnTo>
                      <a:pt x="1028" y="2214"/>
                    </a:lnTo>
                    <a:lnTo>
                      <a:pt x="1025" y="2202"/>
                    </a:lnTo>
                    <a:lnTo>
                      <a:pt x="1021" y="2159"/>
                    </a:lnTo>
                    <a:lnTo>
                      <a:pt x="1020" y="2135"/>
                    </a:lnTo>
                    <a:lnTo>
                      <a:pt x="1021" y="2129"/>
                    </a:lnTo>
                    <a:lnTo>
                      <a:pt x="1022" y="2123"/>
                    </a:lnTo>
                    <a:lnTo>
                      <a:pt x="1023" y="2119"/>
                    </a:lnTo>
                    <a:lnTo>
                      <a:pt x="1025" y="2116"/>
                    </a:lnTo>
                    <a:lnTo>
                      <a:pt x="1029" y="2111"/>
                    </a:lnTo>
                    <a:lnTo>
                      <a:pt x="1033" y="2106"/>
                    </a:lnTo>
                    <a:lnTo>
                      <a:pt x="1035" y="2104"/>
                    </a:lnTo>
                    <a:lnTo>
                      <a:pt x="1035" y="2101"/>
                    </a:lnTo>
                    <a:lnTo>
                      <a:pt x="1035" y="2100"/>
                    </a:lnTo>
                    <a:lnTo>
                      <a:pt x="1034" y="2098"/>
                    </a:lnTo>
                    <a:lnTo>
                      <a:pt x="1032" y="2095"/>
                    </a:lnTo>
                    <a:lnTo>
                      <a:pt x="1030" y="2090"/>
                    </a:lnTo>
                    <a:lnTo>
                      <a:pt x="1028" y="2085"/>
                    </a:lnTo>
                    <a:lnTo>
                      <a:pt x="1026" y="2077"/>
                    </a:lnTo>
                    <a:lnTo>
                      <a:pt x="1025" y="2070"/>
                    </a:lnTo>
                    <a:lnTo>
                      <a:pt x="1025" y="2064"/>
                    </a:lnTo>
                    <a:lnTo>
                      <a:pt x="1025" y="2057"/>
                    </a:lnTo>
                    <a:lnTo>
                      <a:pt x="1027" y="2052"/>
                    </a:lnTo>
                    <a:lnTo>
                      <a:pt x="1031" y="2049"/>
                    </a:lnTo>
                    <a:lnTo>
                      <a:pt x="1035" y="2045"/>
                    </a:lnTo>
                    <a:lnTo>
                      <a:pt x="1042" y="2041"/>
                    </a:lnTo>
                    <a:lnTo>
                      <a:pt x="1048" y="2037"/>
                    </a:lnTo>
                    <a:lnTo>
                      <a:pt x="1059" y="2032"/>
                    </a:lnTo>
                    <a:lnTo>
                      <a:pt x="1066" y="2030"/>
                    </a:lnTo>
                    <a:lnTo>
                      <a:pt x="1068" y="2027"/>
                    </a:lnTo>
                    <a:lnTo>
                      <a:pt x="1072" y="2022"/>
                    </a:lnTo>
                    <a:lnTo>
                      <a:pt x="1075" y="2019"/>
                    </a:lnTo>
                    <a:lnTo>
                      <a:pt x="1078" y="2017"/>
                    </a:lnTo>
                    <a:lnTo>
                      <a:pt x="1083" y="2015"/>
                    </a:lnTo>
                    <a:lnTo>
                      <a:pt x="1087" y="2017"/>
                    </a:lnTo>
                    <a:lnTo>
                      <a:pt x="1091" y="2019"/>
                    </a:lnTo>
                    <a:lnTo>
                      <a:pt x="1095" y="2019"/>
                    </a:lnTo>
                    <a:lnTo>
                      <a:pt x="1100" y="2019"/>
                    </a:lnTo>
                    <a:lnTo>
                      <a:pt x="1105" y="2019"/>
                    </a:lnTo>
                    <a:lnTo>
                      <a:pt x="1114" y="2018"/>
                    </a:lnTo>
                    <a:lnTo>
                      <a:pt x="1124" y="2019"/>
                    </a:lnTo>
                    <a:lnTo>
                      <a:pt x="1135" y="2023"/>
                    </a:lnTo>
                    <a:lnTo>
                      <a:pt x="1146" y="2027"/>
                    </a:lnTo>
                    <a:lnTo>
                      <a:pt x="1152" y="2029"/>
                    </a:lnTo>
                    <a:lnTo>
                      <a:pt x="1158" y="2031"/>
                    </a:lnTo>
                    <a:lnTo>
                      <a:pt x="1163" y="2032"/>
                    </a:lnTo>
                    <a:lnTo>
                      <a:pt x="1168" y="2032"/>
                    </a:lnTo>
                    <a:lnTo>
                      <a:pt x="1178" y="2029"/>
                    </a:lnTo>
                    <a:lnTo>
                      <a:pt x="1184" y="2026"/>
                    </a:lnTo>
                    <a:lnTo>
                      <a:pt x="1188" y="2023"/>
                    </a:lnTo>
                    <a:lnTo>
                      <a:pt x="1191" y="2020"/>
                    </a:lnTo>
                    <a:lnTo>
                      <a:pt x="1194" y="2015"/>
                    </a:lnTo>
                    <a:lnTo>
                      <a:pt x="1198" y="2009"/>
                    </a:lnTo>
                    <a:lnTo>
                      <a:pt x="1200" y="2007"/>
                    </a:lnTo>
                    <a:lnTo>
                      <a:pt x="1204" y="2005"/>
                    </a:lnTo>
                    <a:lnTo>
                      <a:pt x="1208" y="2004"/>
                    </a:lnTo>
                    <a:lnTo>
                      <a:pt x="1213" y="2005"/>
                    </a:lnTo>
                    <a:lnTo>
                      <a:pt x="1222" y="2007"/>
                    </a:lnTo>
                    <a:lnTo>
                      <a:pt x="1229" y="2007"/>
                    </a:lnTo>
                    <a:lnTo>
                      <a:pt x="1231" y="2007"/>
                    </a:lnTo>
                    <a:lnTo>
                      <a:pt x="1234" y="2008"/>
                    </a:lnTo>
                    <a:lnTo>
                      <a:pt x="1238" y="2010"/>
                    </a:lnTo>
                    <a:lnTo>
                      <a:pt x="1241" y="2015"/>
                    </a:lnTo>
                    <a:lnTo>
                      <a:pt x="1245" y="2020"/>
                    </a:lnTo>
                    <a:lnTo>
                      <a:pt x="1251" y="2023"/>
                    </a:lnTo>
                    <a:lnTo>
                      <a:pt x="1257" y="2025"/>
                    </a:lnTo>
                    <a:lnTo>
                      <a:pt x="1265" y="2026"/>
                    </a:lnTo>
                    <a:lnTo>
                      <a:pt x="1278" y="2027"/>
                    </a:lnTo>
                    <a:lnTo>
                      <a:pt x="1288" y="2027"/>
                    </a:lnTo>
                    <a:lnTo>
                      <a:pt x="1294" y="2028"/>
                    </a:lnTo>
                    <a:lnTo>
                      <a:pt x="1299" y="2028"/>
                    </a:lnTo>
                    <a:lnTo>
                      <a:pt x="1301" y="2028"/>
                    </a:lnTo>
                    <a:lnTo>
                      <a:pt x="1304" y="2029"/>
                    </a:lnTo>
                    <a:lnTo>
                      <a:pt x="1307" y="2030"/>
                    </a:lnTo>
                    <a:lnTo>
                      <a:pt x="1309" y="2033"/>
                    </a:lnTo>
                    <a:lnTo>
                      <a:pt x="1315" y="2039"/>
                    </a:lnTo>
                    <a:lnTo>
                      <a:pt x="1321" y="2044"/>
                    </a:lnTo>
                    <a:lnTo>
                      <a:pt x="1325" y="2047"/>
                    </a:lnTo>
                    <a:lnTo>
                      <a:pt x="1327" y="2050"/>
                    </a:lnTo>
                    <a:lnTo>
                      <a:pt x="1329" y="2054"/>
                    </a:lnTo>
                    <a:lnTo>
                      <a:pt x="1330" y="2057"/>
                    </a:lnTo>
                    <a:lnTo>
                      <a:pt x="1330" y="2065"/>
                    </a:lnTo>
                    <a:lnTo>
                      <a:pt x="1330" y="2072"/>
                    </a:lnTo>
                    <a:lnTo>
                      <a:pt x="1331" y="2079"/>
                    </a:lnTo>
                    <a:lnTo>
                      <a:pt x="1335" y="2090"/>
                    </a:lnTo>
                    <a:lnTo>
                      <a:pt x="1342" y="2101"/>
                    </a:lnTo>
                    <a:lnTo>
                      <a:pt x="1350" y="2111"/>
                    </a:lnTo>
                    <a:lnTo>
                      <a:pt x="1356" y="2119"/>
                    </a:lnTo>
                    <a:lnTo>
                      <a:pt x="1359" y="2123"/>
                    </a:lnTo>
                    <a:lnTo>
                      <a:pt x="1363" y="2127"/>
                    </a:lnTo>
                    <a:lnTo>
                      <a:pt x="1369" y="2129"/>
                    </a:lnTo>
                    <a:lnTo>
                      <a:pt x="1374" y="2130"/>
                    </a:lnTo>
                    <a:lnTo>
                      <a:pt x="1378" y="2130"/>
                    </a:lnTo>
                    <a:lnTo>
                      <a:pt x="1381" y="2124"/>
                    </a:lnTo>
                    <a:lnTo>
                      <a:pt x="1383" y="2115"/>
                    </a:lnTo>
                    <a:lnTo>
                      <a:pt x="1385" y="2105"/>
                    </a:lnTo>
                    <a:lnTo>
                      <a:pt x="1385" y="2093"/>
                    </a:lnTo>
                    <a:lnTo>
                      <a:pt x="1385" y="2084"/>
                    </a:lnTo>
                    <a:lnTo>
                      <a:pt x="1383" y="2072"/>
                    </a:lnTo>
                    <a:lnTo>
                      <a:pt x="1380" y="2062"/>
                    </a:lnTo>
                    <a:lnTo>
                      <a:pt x="1378" y="2052"/>
                    </a:lnTo>
                    <a:lnTo>
                      <a:pt x="1377" y="2047"/>
                    </a:lnTo>
                    <a:lnTo>
                      <a:pt x="1374" y="2042"/>
                    </a:lnTo>
                    <a:lnTo>
                      <a:pt x="1371" y="2036"/>
                    </a:lnTo>
                    <a:lnTo>
                      <a:pt x="1368" y="2031"/>
                    </a:lnTo>
                    <a:lnTo>
                      <a:pt x="1363" y="2025"/>
                    </a:lnTo>
                    <a:lnTo>
                      <a:pt x="1360" y="2020"/>
                    </a:lnTo>
                    <a:lnTo>
                      <a:pt x="1358" y="2013"/>
                    </a:lnTo>
                    <a:lnTo>
                      <a:pt x="1358" y="2007"/>
                    </a:lnTo>
                    <a:lnTo>
                      <a:pt x="1358" y="1992"/>
                    </a:lnTo>
                    <a:lnTo>
                      <a:pt x="1360" y="1976"/>
                    </a:lnTo>
                    <a:lnTo>
                      <a:pt x="1362" y="1968"/>
                    </a:lnTo>
                    <a:lnTo>
                      <a:pt x="1364" y="1962"/>
                    </a:lnTo>
                    <a:lnTo>
                      <a:pt x="1366" y="1958"/>
                    </a:lnTo>
                    <a:lnTo>
                      <a:pt x="1370" y="1955"/>
                    </a:lnTo>
                    <a:lnTo>
                      <a:pt x="1381" y="1945"/>
                    </a:lnTo>
                    <a:lnTo>
                      <a:pt x="1400" y="1929"/>
                    </a:lnTo>
                    <a:lnTo>
                      <a:pt x="1410" y="1919"/>
                    </a:lnTo>
                    <a:lnTo>
                      <a:pt x="1420" y="1911"/>
                    </a:lnTo>
                    <a:lnTo>
                      <a:pt x="1428" y="1904"/>
                    </a:lnTo>
                    <a:lnTo>
                      <a:pt x="1436" y="1900"/>
                    </a:lnTo>
                    <a:lnTo>
                      <a:pt x="1449" y="1894"/>
                    </a:lnTo>
                    <a:lnTo>
                      <a:pt x="1464" y="1886"/>
                    </a:lnTo>
                    <a:lnTo>
                      <a:pt x="1470" y="1880"/>
                    </a:lnTo>
                    <a:lnTo>
                      <a:pt x="1476" y="1876"/>
                    </a:lnTo>
                    <a:lnTo>
                      <a:pt x="1480" y="1873"/>
                    </a:lnTo>
                    <a:lnTo>
                      <a:pt x="1482" y="1870"/>
                    </a:lnTo>
                    <a:lnTo>
                      <a:pt x="1478" y="1855"/>
                    </a:lnTo>
                    <a:lnTo>
                      <a:pt x="1472" y="1841"/>
                    </a:lnTo>
                    <a:lnTo>
                      <a:pt x="1479" y="1826"/>
                    </a:lnTo>
                    <a:lnTo>
                      <a:pt x="1485" y="1810"/>
                    </a:lnTo>
                    <a:lnTo>
                      <a:pt x="1488" y="1803"/>
                    </a:lnTo>
                    <a:lnTo>
                      <a:pt x="1491" y="1795"/>
                    </a:lnTo>
                    <a:lnTo>
                      <a:pt x="1495" y="1789"/>
                    </a:lnTo>
                    <a:lnTo>
                      <a:pt x="1501" y="1782"/>
                    </a:lnTo>
                    <a:lnTo>
                      <a:pt x="1505" y="1773"/>
                    </a:lnTo>
                    <a:lnTo>
                      <a:pt x="1510" y="1761"/>
                    </a:lnTo>
                    <a:lnTo>
                      <a:pt x="1513" y="1756"/>
                    </a:lnTo>
                    <a:lnTo>
                      <a:pt x="1515" y="1750"/>
                    </a:lnTo>
                    <a:lnTo>
                      <a:pt x="1518" y="1746"/>
                    </a:lnTo>
                    <a:lnTo>
                      <a:pt x="1522" y="1743"/>
                    </a:lnTo>
                    <a:lnTo>
                      <a:pt x="1532" y="1739"/>
                    </a:lnTo>
                    <a:lnTo>
                      <a:pt x="1549" y="1733"/>
                    </a:lnTo>
                    <a:lnTo>
                      <a:pt x="1557" y="1729"/>
                    </a:lnTo>
                    <a:lnTo>
                      <a:pt x="1564" y="1725"/>
                    </a:lnTo>
                    <a:lnTo>
                      <a:pt x="1570" y="1722"/>
                    </a:lnTo>
                    <a:lnTo>
                      <a:pt x="1574" y="1719"/>
                    </a:lnTo>
                    <a:lnTo>
                      <a:pt x="1577" y="1717"/>
                    </a:lnTo>
                    <a:lnTo>
                      <a:pt x="1581" y="1716"/>
                    </a:lnTo>
                    <a:lnTo>
                      <a:pt x="1586" y="1715"/>
                    </a:lnTo>
                    <a:lnTo>
                      <a:pt x="1592" y="1714"/>
                    </a:lnTo>
                    <a:lnTo>
                      <a:pt x="1597" y="1714"/>
                    </a:lnTo>
                    <a:lnTo>
                      <a:pt x="1602" y="1713"/>
                    </a:lnTo>
                    <a:lnTo>
                      <a:pt x="1603" y="1712"/>
                    </a:lnTo>
                    <a:lnTo>
                      <a:pt x="1605" y="1711"/>
                    </a:lnTo>
                    <a:lnTo>
                      <a:pt x="1605" y="1708"/>
                    </a:lnTo>
                    <a:lnTo>
                      <a:pt x="1606" y="1707"/>
                    </a:lnTo>
                    <a:lnTo>
                      <a:pt x="1605" y="1705"/>
                    </a:lnTo>
                    <a:lnTo>
                      <a:pt x="1604" y="1703"/>
                    </a:lnTo>
                    <a:lnTo>
                      <a:pt x="1603" y="1702"/>
                    </a:lnTo>
                    <a:lnTo>
                      <a:pt x="1601" y="1701"/>
                    </a:lnTo>
                    <a:lnTo>
                      <a:pt x="1596" y="1699"/>
                    </a:lnTo>
                    <a:lnTo>
                      <a:pt x="1591" y="1698"/>
                    </a:lnTo>
                    <a:lnTo>
                      <a:pt x="1585" y="1697"/>
                    </a:lnTo>
                    <a:lnTo>
                      <a:pt x="1581" y="1695"/>
                    </a:lnTo>
                    <a:lnTo>
                      <a:pt x="1580" y="1694"/>
                    </a:lnTo>
                    <a:lnTo>
                      <a:pt x="1580" y="1692"/>
                    </a:lnTo>
                    <a:lnTo>
                      <a:pt x="1580" y="1690"/>
                    </a:lnTo>
                    <a:lnTo>
                      <a:pt x="1581" y="1688"/>
                    </a:lnTo>
                    <a:lnTo>
                      <a:pt x="1588" y="1677"/>
                    </a:lnTo>
                    <a:lnTo>
                      <a:pt x="1597" y="1666"/>
                    </a:lnTo>
                    <a:lnTo>
                      <a:pt x="1606" y="1654"/>
                    </a:lnTo>
                    <a:lnTo>
                      <a:pt x="1616" y="1644"/>
                    </a:lnTo>
                    <a:lnTo>
                      <a:pt x="1623" y="1637"/>
                    </a:lnTo>
                    <a:lnTo>
                      <a:pt x="1635" y="1630"/>
                    </a:lnTo>
                    <a:lnTo>
                      <a:pt x="1648" y="1620"/>
                    </a:lnTo>
                    <a:lnTo>
                      <a:pt x="1664" y="1612"/>
                    </a:lnTo>
                    <a:lnTo>
                      <a:pt x="1679" y="1605"/>
                    </a:lnTo>
                    <a:lnTo>
                      <a:pt x="1690" y="1598"/>
                    </a:lnTo>
                    <a:lnTo>
                      <a:pt x="1694" y="1596"/>
                    </a:lnTo>
                    <a:lnTo>
                      <a:pt x="1698" y="1595"/>
                    </a:lnTo>
                    <a:lnTo>
                      <a:pt x="1700" y="1595"/>
                    </a:lnTo>
                    <a:lnTo>
                      <a:pt x="1700" y="1596"/>
                    </a:lnTo>
                    <a:lnTo>
                      <a:pt x="1693" y="1603"/>
                    </a:lnTo>
                    <a:lnTo>
                      <a:pt x="1686" y="1611"/>
                    </a:lnTo>
                    <a:lnTo>
                      <a:pt x="1682" y="1615"/>
                    </a:lnTo>
                    <a:lnTo>
                      <a:pt x="1680" y="1619"/>
                    </a:lnTo>
                    <a:lnTo>
                      <a:pt x="1678" y="1625"/>
                    </a:lnTo>
                    <a:lnTo>
                      <a:pt x="1678" y="1631"/>
                    </a:lnTo>
                    <a:lnTo>
                      <a:pt x="1679" y="1641"/>
                    </a:lnTo>
                    <a:lnTo>
                      <a:pt x="1680" y="1649"/>
                    </a:lnTo>
                    <a:lnTo>
                      <a:pt x="1682" y="1652"/>
                    </a:lnTo>
                    <a:lnTo>
                      <a:pt x="1684" y="1654"/>
                    </a:lnTo>
                    <a:lnTo>
                      <a:pt x="1687" y="1654"/>
                    </a:lnTo>
                    <a:lnTo>
                      <a:pt x="1691" y="1654"/>
                    </a:lnTo>
                    <a:lnTo>
                      <a:pt x="1696" y="1652"/>
                    </a:lnTo>
                    <a:lnTo>
                      <a:pt x="1701" y="1650"/>
                    </a:lnTo>
                    <a:lnTo>
                      <a:pt x="1704" y="1647"/>
                    </a:lnTo>
                    <a:lnTo>
                      <a:pt x="1708" y="1642"/>
                    </a:lnTo>
                    <a:lnTo>
                      <a:pt x="1712" y="1638"/>
                    </a:lnTo>
                    <a:lnTo>
                      <a:pt x="1717" y="1634"/>
                    </a:lnTo>
                    <a:lnTo>
                      <a:pt x="1725" y="1629"/>
                    </a:lnTo>
                    <a:lnTo>
                      <a:pt x="1735" y="1624"/>
                    </a:lnTo>
                    <a:lnTo>
                      <a:pt x="1754" y="1613"/>
                    </a:lnTo>
                    <a:lnTo>
                      <a:pt x="1770" y="1606"/>
                    </a:lnTo>
                    <a:lnTo>
                      <a:pt x="1781" y="1600"/>
                    </a:lnTo>
                    <a:lnTo>
                      <a:pt x="1791" y="1594"/>
                    </a:lnTo>
                    <a:lnTo>
                      <a:pt x="1801" y="1590"/>
                    </a:lnTo>
                    <a:lnTo>
                      <a:pt x="1814" y="1586"/>
                    </a:lnTo>
                    <a:lnTo>
                      <a:pt x="1818" y="1584"/>
                    </a:lnTo>
                    <a:lnTo>
                      <a:pt x="1822" y="1581"/>
                    </a:lnTo>
                    <a:lnTo>
                      <a:pt x="1823" y="1579"/>
                    </a:lnTo>
                    <a:lnTo>
                      <a:pt x="1823" y="1576"/>
                    </a:lnTo>
                    <a:lnTo>
                      <a:pt x="1823" y="1574"/>
                    </a:lnTo>
                    <a:lnTo>
                      <a:pt x="1822" y="1572"/>
                    </a:lnTo>
                    <a:lnTo>
                      <a:pt x="1817" y="1560"/>
                    </a:lnTo>
                    <a:lnTo>
                      <a:pt x="1811" y="1545"/>
                    </a:lnTo>
                    <a:lnTo>
                      <a:pt x="1808" y="1539"/>
                    </a:lnTo>
                    <a:lnTo>
                      <a:pt x="1804" y="1535"/>
                    </a:lnTo>
                    <a:lnTo>
                      <a:pt x="1803" y="1534"/>
                    </a:lnTo>
                    <a:lnTo>
                      <a:pt x="1801" y="1532"/>
                    </a:lnTo>
                    <a:lnTo>
                      <a:pt x="1799" y="1534"/>
                    </a:lnTo>
                    <a:lnTo>
                      <a:pt x="1798" y="1535"/>
                    </a:lnTo>
                    <a:lnTo>
                      <a:pt x="1790" y="1543"/>
                    </a:lnTo>
                    <a:lnTo>
                      <a:pt x="1779" y="1554"/>
                    </a:lnTo>
                    <a:lnTo>
                      <a:pt x="1771" y="1563"/>
                    </a:lnTo>
                    <a:lnTo>
                      <a:pt x="1768" y="1567"/>
                    </a:lnTo>
                    <a:lnTo>
                      <a:pt x="1754" y="1561"/>
                    </a:lnTo>
                    <a:lnTo>
                      <a:pt x="1744" y="1556"/>
                    </a:lnTo>
                    <a:lnTo>
                      <a:pt x="1734" y="1551"/>
                    </a:lnTo>
                    <a:lnTo>
                      <a:pt x="1720" y="1544"/>
                    </a:lnTo>
                    <a:lnTo>
                      <a:pt x="1717" y="1546"/>
                    </a:lnTo>
                    <a:lnTo>
                      <a:pt x="1712" y="1550"/>
                    </a:lnTo>
                    <a:lnTo>
                      <a:pt x="1710" y="1551"/>
                    </a:lnTo>
                    <a:lnTo>
                      <a:pt x="1708" y="1551"/>
                    </a:lnTo>
                    <a:lnTo>
                      <a:pt x="1706" y="1548"/>
                    </a:lnTo>
                    <a:lnTo>
                      <a:pt x="1706" y="1543"/>
                    </a:lnTo>
                    <a:lnTo>
                      <a:pt x="1706" y="1537"/>
                    </a:lnTo>
                    <a:lnTo>
                      <a:pt x="1707" y="1531"/>
                    </a:lnTo>
                    <a:lnTo>
                      <a:pt x="1709" y="1526"/>
                    </a:lnTo>
                    <a:lnTo>
                      <a:pt x="1711" y="1522"/>
                    </a:lnTo>
                    <a:lnTo>
                      <a:pt x="1714" y="1517"/>
                    </a:lnTo>
                    <a:lnTo>
                      <a:pt x="1715" y="1515"/>
                    </a:lnTo>
                    <a:lnTo>
                      <a:pt x="1717" y="1517"/>
                    </a:lnTo>
                    <a:lnTo>
                      <a:pt x="1723" y="1520"/>
                    </a:lnTo>
                    <a:lnTo>
                      <a:pt x="1725" y="1521"/>
                    </a:lnTo>
                    <a:lnTo>
                      <a:pt x="1727" y="1520"/>
                    </a:lnTo>
                    <a:lnTo>
                      <a:pt x="1729" y="1518"/>
                    </a:lnTo>
                    <a:lnTo>
                      <a:pt x="1730" y="1514"/>
                    </a:lnTo>
                    <a:lnTo>
                      <a:pt x="1730" y="1501"/>
                    </a:lnTo>
                    <a:lnTo>
                      <a:pt x="1730" y="1492"/>
                    </a:lnTo>
                    <a:lnTo>
                      <a:pt x="1731" y="1483"/>
                    </a:lnTo>
                    <a:lnTo>
                      <a:pt x="1732" y="1477"/>
                    </a:lnTo>
                    <a:lnTo>
                      <a:pt x="1731" y="1476"/>
                    </a:lnTo>
                    <a:lnTo>
                      <a:pt x="1729" y="1475"/>
                    </a:lnTo>
                    <a:lnTo>
                      <a:pt x="1726" y="1475"/>
                    </a:lnTo>
                    <a:lnTo>
                      <a:pt x="1722" y="1474"/>
                    </a:lnTo>
                    <a:lnTo>
                      <a:pt x="1710" y="1474"/>
                    </a:lnTo>
                    <a:lnTo>
                      <a:pt x="1696" y="1473"/>
                    </a:lnTo>
                    <a:lnTo>
                      <a:pt x="1684" y="1472"/>
                    </a:lnTo>
                    <a:lnTo>
                      <a:pt x="1672" y="1471"/>
                    </a:lnTo>
                    <a:lnTo>
                      <a:pt x="1668" y="1470"/>
                    </a:lnTo>
                    <a:lnTo>
                      <a:pt x="1665" y="1468"/>
                    </a:lnTo>
                    <a:lnTo>
                      <a:pt x="1663" y="1466"/>
                    </a:lnTo>
                    <a:lnTo>
                      <a:pt x="1663" y="1464"/>
                    </a:lnTo>
                    <a:lnTo>
                      <a:pt x="1664" y="1462"/>
                    </a:lnTo>
                    <a:lnTo>
                      <a:pt x="1666" y="1460"/>
                    </a:lnTo>
                    <a:lnTo>
                      <a:pt x="1670" y="1458"/>
                    </a:lnTo>
                    <a:lnTo>
                      <a:pt x="1674" y="1456"/>
                    </a:lnTo>
                    <a:lnTo>
                      <a:pt x="1685" y="1453"/>
                    </a:lnTo>
                    <a:lnTo>
                      <a:pt x="1696" y="1451"/>
                    </a:lnTo>
                    <a:lnTo>
                      <a:pt x="1708" y="1449"/>
                    </a:lnTo>
                    <a:lnTo>
                      <a:pt x="1719" y="1448"/>
                    </a:lnTo>
                    <a:lnTo>
                      <a:pt x="1723" y="1448"/>
                    </a:lnTo>
                    <a:lnTo>
                      <a:pt x="1726" y="1448"/>
                    </a:lnTo>
                    <a:lnTo>
                      <a:pt x="1729" y="1449"/>
                    </a:lnTo>
                    <a:lnTo>
                      <a:pt x="1730" y="1450"/>
                    </a:lnTo>
                    <a:lnTo>
                      <a:pt x="1732" y="1455"/>
                    </a:lnTo>
                    <a:lnTo>
                      <a:pt x="1736" y="1459"/>
                    </a:lnTo>
                    <a:lnTo>
                      <a:pt x="1742" y="1465"/>
                    </a:lnTo>
                    <a:lnTo>
                      <a:pt x="1748" y="1471"/>
                    </a:lnTo>
                    <a:lnTo>
                      <a:pt x="1752" y="1474"/>
                    </a:lnTo>
                    <a:lnTo>
                      <a:pt x="1757" y="1477"/>
                    </a:lnTo>
                    <a:lnTo>
                      <a:pt x="1763" y="1480"/>
                    </a:lnTo>
                    <a:lnTo>
                      <a:pt x="1768" y="1482"/>
                    </a:lnTo>
                    <a:lnTo>
                      <a:pt x="1773" y="1482"/>
                    </a:lnTo>
                    <a:lnTo>
                      <a:pt x="1776" y="1482"/>
                    </a:lnTo>
                    <a:lnTo>
                      <a:pt x="1777" y="1481"/>
                    </a:lnTo>
                    <a:lnTo>
                      <a:pt x="1778" y="1480"/>
                    </a:lnTo>
                    <a:lnTo>
                      <a:pt x="1778" y="1479"/>
                    </a:lnTo>
                    <a:lnTo>
                      <a:pt x="1778" y="1477"/>
                    </a:lnTo>
                    <a:lnTo>
                      <a:pt x="1774" y="1472"/>
                    </a:lnTo>
                    <a:lnTo>
                      <a:pt x="1769" y="1465"/>
                    </a:lnTo>
                    <a:lnTo>
                      <a:pt x="1763" y="1459"/>
                    </a:lnTo>
                    <a:lnTo>
                      <a:pt x="1756" y="1453"/>
                    </a:lnTo>
                    <a:lnTo>
                      <a:pt x="1751" y="1448"/>
                    </a:lnTo>
                    <a:lnTo>
                      <a:pt x="1747" y="1443"/>
                    </a:lnTo>
                    <a:lnTo>
                      <a:pt x="1747" y="1442"/>
                    </a:lnTo>
                    <a:lnTo>
                      <a:pt x="1747" y="1441"/>
                    </a:lnTo>
                    <a:lnTo>
                      <a:pt x="1748" y="1441"/>
                    </a:lnTo>
                    <a:lnTo>
                      <a:pt x="1750" y="1441"/>
                    </a:lnTo>
                    <a:lnTo>
                      <a:pt x="1764" y="1446"/>
                    </a:lnTo>
                    <a:lnTo>
                      <a:pt x="1778" y="1450"/>
                    </a:lnTo>
                    <a:lnTo>
                      <a:pt x="1786" y="1451"/>
                    </a:lnTo>
                    <a:lnTo>
                      <a:pt x="1792" y="1452"/>
                    </a:lnTo>
                    <a:lnTo>
                      <a:pt x="1797" y="1451"/>
                    </a:lnTo>
                    <a:lnTo>
                      <a:pt x="1802" y="1449"/>
                    </a:lnTo>
                    <a:lnTo>
                      <a:pt x="1816" y="1436"/>
                    </a:lnTo>
                    <a:lnTo>
                      <a:pt x="1835" y="1417"/>
                    </a:lnTo>
                    <a:lnTo>
                      <a:pt x="1845" y="1410"/>
                    </a:lnTo>
                    <a:lnTo>
                      <a:pt x="1854" y="1404"/>
                    </a:lnTo>
                    <a:lnTo>
                      <a:pt x="1857" y="1403"/>
                    </a:lnTo>
                    <a:lnTo>
                      <a:pt x="1860" y="1402"/>
                    </a:lnTo>
                    <a:lnTo>
                      <a:pt x="1862" y="1403"/>
                    </a:lnTo>
                    <a:lnTo>
                      <a:pt x="1863" y="1405"/>
                    </a:lnTo>
                    <a:lnTo>
                      <a:pt x="1863" y="1408"/>
                    </a:lnTo>
                    <a:lnTo>
                      <a:pt x="1863" y="1413"/>
                    </a:lnTo>
                    <a:lnTo>
                      <a:pt x="1861" y="1419"/>
                    </a:lnTo>
                    <a:lnTo>
                      <a:pt x="1859" y="1427"/>
                    </a:lnTo>
                    <a:lnTo>
                      <a:pt x="1853" y="1443"/>
                    </a:lnTo>
                    <a:lnTo>
                      <a:pt x="1845" y="1461"/>
                    </a:lnTo>
                    <a:lnTo>
                      <a:pt x="1838" y="1479"/>
                    </a:lnTo>
                    <a:lnTo>
                      <a:pt x="1832" y="1495"/>
                    </a:lnTo>
                    <a:lnTo>
                      <a:pt x="1830" y="1501"/>
                    </a:lnTo>
                    <a:lnTo>
                      <a:pt x="1829" y="1506"/>
                    </a:lnTo>
                    <a:lnTo>
                      <a:pt x="1829" y="1510"/>
                    </a:lnTo>
                    <a:lnTo>
                      <a:pt x="1830" y="1514"/>
                    </a:lnTo>
                    <a:lnTo>
                      <a:pt x="1835" y="1516"/>
                    </a:lnTo>
                    <a:lnTo>
                      <a:pt x="1844" y="1519"/>
                    </a:lnTo>
                    <a:lnTo>
                      <a:pt x="1856" y="1521"/>
                    </a:lnTo>
                    <a:lnTo>
                      <a:pt x="1869" y="1524"/>
                    </a:lnTo>
                    <a:lnTo>
                      <a:pt x="1882" y="1526"/>
                    </a:lnTo>
                    <a:lnTo>
                      <a:pt x="1892" y="1528"/>
                    </a:lnTo>
                    <a:lnTo>
                      <a:pt x="1897" y="1529"/>
                    </a:lnTo>
                    <a:lnTo>
                      <a:pt x="1900" y="1530"/>
                    </a:lnTo>
                    <a:lnTo>
                      <a:pt x="1901" y="1531"/>
                    </a:lnTo>
                    <a:lnTo>
                      <a:pt x="1902" y="1532"/>
                    </a:lnTo>
                    <a:lnTo>
                      <a:pt x="1893" y="1536"/>
                    </a:lnTo>
                    <a:lnTo>
                      <a:pt x="1882" y="1539"/>
                    </a:lnTo>
                    <a:lnTo>
                      <a:pt x="1878" y="1541"/>
                    </a:lnTo>
                    <a:lnTo>
                      <a:pt x="1875" y="1543"/>
                    </a:lnTo>
                    <a:lnTo>
                      <a:pt x="1875" y="1545"/>
                    </a:lnTo>
                    <a:lnTo>
                      <a:pt x="1875" y="1547"/>
                    </a:lnTo>
                    <a:lnTo>
                      <a:pt x="1877" y="1549"/>
                    </a:lnTo>
                    <a:lnTo>
                      <a:pt x="1880" y="1552"/>
                    </a:lnTo>
                    <a:lnTo>
                      <a:pt x="1892" y="1562"/>
                    </a:lnTo>
                    <a:lnTo>
                      <a:pt x="1902" y="1567"/>
                    </a:lnTo>
                    <a:lnTo>
                      <a:pt x="1906" y="1568"/>
                    </a:lnTo>
                    <a:lnTo>
                      <a:pt x="1910" y="1567"/>
                    </a:lnTo>
                    <a:lnTo>
                      <a:pt x="1913" y="1565"/>
                    </a:lnTo>
                    <a:lnTo>
                      <a:pt x="1917" y="1561"/>
                    </a:lnTo>
                    <a:lnTo>
                      <a:pt x="1922" y="1551"/>
                    </a:lnTo>
                    <a:lnTo>
                      <a:pt x="1927" y="1543"/>
                    </a:lnTo>
                    <a:lnTo>
                      <a:pt x="1929" y="1541"/>
                    </a:lnTo>
                    <a:lnTo>
                      <a:pt x="1931" y="1539"/>
                    </a:lnTo>
                    <a:lnTo>
                      <a:pt x="1933" y="1539"/>
                    </a:lnTo>
                    <a:lnTo>
                      <a:pt x="1934" y="1541"/>
                    </a:lnTo>
                    <a:lnTo>
                      <a:pt x="1945" y="1549"/>
                    </a:lnTo>
                    <a:lnTo>
                      <a:pt x="1952" y="1553"/>
                    </a:lnTo>
                    <a:lnTo>
                      <a:pt x="1954" y="1553"/>
                    </a:lnTo>
                    <a:lnTo>
                      <a:pt x="1958" y="1552"/>
                    </a:lnTo>
                    <a:lnTo>
                      <a:pt x="1962" y="1550"/>
                    </a:lnTo>
                    <a:lnTo>
                      <a:pt x="1965" y="1549"/>
                    </a:lnTo>
                    <a:lnTo>
                      <a:pt x="1967" y="1546"/>
                    </a:lnTo>
                    <a:lnTo>
                      <a:pt x="1970" y="1543"/>
                    </a:lnTo>
                    <a:lnTo>
                      <a:pt x="1973" y="1536"/>
                    </a:lnTo>
                    <a:lnTo>
                      <a:pt x="1976" y="1527"/>
                    </a:lnTo>
                    <a:lnTo>
                      <a:pt x="1976" y="1522"/>
                    </a:lnTo>
                    <a:lnTo>
                      <a:pt x="1976" y="1517"/>
                    </a:lnTo>
                    <a:lnTo>
                      <a:pt x="1975" y="1512"/>
                    </a:lnTo>
                    <a:lnTo>
                      <a:pt x="1974" y="1504"/>
                    </a:lnTo>
                    <a:lnTo>
                      <a:pt x="1972" y="1501"/>
                    </a:lnTo>
                    <a:lnTo>
                      <a:pt x="1970" y="1497"/>
                    </a:lnTo>
                    <a:lnTo>
                      <a:pt x="1967" y="1494"/>
                    </a:lnTo>
                    <a:lnTo>
                      <a:pt x="1964" y="1490"/>
                    </a:lnTo>
                    <a:lnTo>
                      <a:pt x="1955" y="1482"/>
                    </a:lnTo>
                    <a:lnTo>
                      <a:pt x="1945" y="1475"/>
                    </a:lnTo>
                    <a:lnTo>
                      <a:pt x="1925" y="1462"/>
                    </a:lnTo>
                    <a:lnTo>
                      <a:pt x="1909" y="1455"/>
                    </a:lnTo>
                    <a:lnTo>
                      <a:pt x="1904" y="1452"/>
                    </a:lnTo>
                    <a:lnTo>
                      <a:pt x="1900" y="1449"/>
                    </a:lnTo>
                    <a:lnTo>
                      <a:pt x="1896" y="1446"/>
                    </a:lnTo>
                    <a:lnTo>
                      <a:pt x="1892" y="1442"/>
                    </a:lnTo>
                    <a:lnTo>
                      <a:pt x="1891" y="1439"/>
                    </a:lnTo>
                    <a:lnTo>
                      <a:pt x="1890" y="1436"/>
                    </a:lnTo>
                    <a:lnTo>
                      <a:pt x="1890" y="1433"/>
                    </a:lnTo>
                    <a:lnTo>
                      <a:pt x="1891" y="1430"/>
                    </a:lnTo>
                    <a:lnTo>
                      <a:pt x="1897" y="1424"/>
                    </a:lnTo>
                    <a:lnTo>
                      <a:pt x="1903" y="1415"/>
                    </a:lnTo>
                    <a:lnTo>
                      <a:pt x="1908" y="1407"/>
                    </a:lnTo>
                    <a:lnTo>
                      <a:pt x="1911" y="1400"/>
                    </a:lnTo>
                    <a:lnTo>
                      <a:pt x="1910" y="1393"/>
                    </a:lnTo>
                    <a:lnTo>
                      <a:pt x="1905" y="1382"/>
                    </a:lnTo>
                    <a:lnTo>
                      <a:pt x="1901" y="1370"/>
                    </a:lnTo>
                    <a:lnTo>
                      <a:pt x="1898" y="1364"/>
                    </a:lnTo>
                    <a:lnTo>
                      <a:pt x="1901" y="1359"/>
                    </a:lnTo>
                    <a:lnTo>
                      <a:pt x="1906" y="1348"/>
                    </a:lnTo>
                    <a:lnTo>
                      <a:pt x="1908" y="1342"/>
                    </a:lnTo>
                    <a:lnTo>
                      <a:pt x="1908" y="1335"/>
                    </a:lnTo>
                    <a:lnTo>
                      <a:pt x="1908" y="1332"/>
                    </a:lnTo>
                    <a:lnTo>
                      <a:pt x="1907" y="1329"/>
                    </a:lnTo>
                    <a:lnTo>
                      <a:pt x="1905" y="1326"/>
                    </a:lnTo>
                    <a:lnTo>
                      <a:pt x="1903" y="1324"/>
                    </a:lnTo>
                    <a:lnTo>
                      <a:pt x="1891" y="1315"/>
                    </a:lnTo>
                    <a:lnTo>
                      <a:pt x="1880" y="1305"/>
                    </a:lnTo>
                    <a:lnTo>
                      <a:pt x="1874" y="1302"/>
                    </a:lnTo>
                    <a:lnTo>
                      <a:pt x="1868" y="1299"/>
                    </a:lnTo>
                    <a:lnTo>
                      <a:pt x="1863" y="1299"/>
                    </a:lnTo>
                    <a:lnTo>
                      <a:pt x="1858" y="1300"/>
                    </a:lnTo>
                    <a:lnTo>
                      <a:pt x="1844" y="1308"/>
                    </a:lnTo>
                    <a:lnTo>
                      <a:pt x="1824" y="1320"/>
                    </a:lnTo>
                    <a:lnTo>
                      <a:pt x="1816" y="1324"/>
                    </a:lnTo>
                    <a:lnTo>
                      <a:pt x="1810" y="1327"/>
                    </a:lnTo>
                    <a:lnTo>
                      <a:pt x="1808" y="1328"/>
                    </a:lnTo>
                    <a:lnTo>
                      <a:pt x="1807" y="1327"/>
                    </a:lnTo>
                    <a:lnTo>
                      <a:pt x="1808" y="1327"/>
                    </a:lnTo>
                    <a:lnTo>
                      <a:pt x="1809" y="1325"/>
                    </a:lnTo>
                    <a:lnTo>
                      <a:pt x="1823" y="1316"/>
                    </a:lnTo>
                    <a:lnTo>
                      <a:pt x="1841" y="1305"/>
                    </a:lnTo>
                    <a:lnTo>
                      <a:pt x="1849" y="1300"/>
                    </a:lnTo>
                    <a:lnTo>
                      <a:pt x="1854" y="1295"/>
                    </a:lnTo>
                    <a:lnTo>
                      <a:pt x="1856" y="1291"/>
                    </a:lnTo>
                    <a:lnTo>
                      <a:pt x="1856" y="1288"/>
                    </a:lnTo>
                    <a:lnTo>
                      <a:pt x="1855" y="1285"/>
                    </a:lnTo>
                    <a:lnTo>
                      <a:pt x="1853" y="1282"/>
                    </a:lnTo>
                    <a:lnTo>
                      <a:pt x="1846" y="1276"/>
                    </a:lnTo>
                    <a:lnTo>
                      <a:pt x="1839" y="1272"/>
                    </a:lnTo>
                    <a:lnTo>
                      <a:pt x="1833" y="1268"/>
                    </a:lnTo>
                    <a:lnTo>
                      <a:pt x="1826" y="1265"/>
                    </a:lnTo>
                    <a:lnTo>
                      <a:pt x="1820" y="1263"/>
                    </a:lnTo>
                    <a:lnTo>
                      <a:pt x="1814" y="1260"/>
                    </a:lnTo>
                    <a:lnTo>
                      <a:pt x="1810" y="1257"/>
                    </a:lnTo>
                    <a:lnTo>
                      <a:pt x="1807" y="1253"/>
                    </a:lnTo>
                    <a:lnTo>
                      <a:pt x="1798" y="1239"/>
                    </a:lnTo>
                    <a:lnTo>
                      <a:pt x="1787" y="1222"/>
                    </a:lnTo>
                    <a:lnTo>
                      <a:pt x="1776" y="1208"/>
                    </a:lnTo>
                    <a:lnTo>
                      <a:pt x="1771" y="1201"/>
                    </a:lnTo>
                    <a:lnTo>
                      <a:pt x="1773" y="1199"/>
                    </a:lnTo>
                    <a:lnTo>
                      <a:pt x="1776" y="1193"/>
                    </a:lnTo>
                    <a:lnTo>
                      <a:pt x="1777" y="1190"/>
                    </a:lnTo>
                    <a:lnTo>
                      <a:pt x="1778" y="1186"/>
                    </a:lnTo>
                    <a:lnTo>
                      <a:pt x="1778" y="1181"/>
                    </a:lnTo>
                    <a:lnTo>
                      <a:pt x="1776" y="1178"/>
                    </a:lnTo>
                    <a:lnTo>
                      <a:pt x="1768" y="1163"/>
                    </a:lnTo>
                    <a:lnTo>
                      <a:pt x="1756" y="1137"/>
                    </a:lnTo>
                    <a:lnTo>
                      <a:pt x="1746" y="1113"/>
                    </a:lnTo>
                    <a:lnTo>
                      <a:pt x="1741" y="1103"/>
                    </a:lnTo>
                    <a:lnTo>
                      <a:pt x="1736" y="1095"/>
                    </a:lnTo>
                    <a:lnTo>
                      <a:pt x="1727" y="1077"/>
                    </a:lnTo>
                    <a:lnTo>
                      <a:pt x="1721" y="1068"/>
                    </a:lnTo>
                    <a:lnTo>
                      <a:pt x="1715" y="1062"/>
                    </a:lnTo>
                    <a:lnTo>
                      <a:pt x="1713" y="1061"/>
                    </a:lnTo>
                    <a:lnTo>
                      <a:pt x="1711" y="1061"/>
                    </a:lnTo>
                    <a:lnTo>
                      <a:pt x="1709" y="1061"/>
                    </a:lnTo>
                    <a:lnTo>
                      <a:pt x="1708" y="1064"/>
                    </a:lnTo>
                    <a:lnTo>
                      <a:pt x="1705" y="1073"/>
                    </a:lnTo>
                    <a:lnTo>
                      <a:pt x="1699" y="1085"/>
                    </a:lnTo>
                    <a:lnTo>
                      <a:pt x="1690" y="1100"/>
                    </a:lnTo>
                    <a:lnTo>
                      <a:pt x="1682" y="1115"/>
                    </a:lnTo>
                    <a:lnTo>
                      <a:pt x="1671" y="1129"/>
                    </a:lnTo>
                    <a:lnTo>
                      <a:pt x="1662" y="1140"/>
                    </a:lnTo>
                    <a:lnTo>
                      <a:pt x="1658" y="1143"/>
                    </a:lnTo>
                    <a:lnTo>
                      <a:pt x="1654" y="1146"/>
                    </a:lnTo>
                    <a:lnTo>
                      <a:pt x="1649" y="1146"/>
                    </a:lnTo>
                    <a:lnTo>
                      <a:pt x="1646" y="1145"/>
                    </a:lnTo>
                    <a:lnTo>
                      <a:pt x="1639" y="1141"/>
                    </a:lnTo>
                    <a:lnTo>
                      <a:pt x="1633" y="1135"/>
                    </a:lnTo>
                    <a:lnTo>
                      <a:pt x="1627" y="1130"/>
                    </a:lnTo>
                    <a:lnTo>
                      <a:pt x="1622" y="1125"/>
                    </a:lnTo>
                    <a:lnTo>
                      <a:pt x="1617" y="1120"/>
                    </a:lnTo>
                    <a:lnTo>
                      <a:pt x="1614" y="1114"/>
                    </a:lnTo>
                    <a:lnTo>
                      <a:pt x="1613" y="1110"/>
                    </a:lnTo>
                    <a:lnTo>
                      <a:pt x="1612" y="1106"/>
                    </a:lnTo>
                    <a:lnTo>
                      <a:pt x="1614" y="1093"/>
                    </a:lnTo>
                    <a:lnTo>
                      <a:pt x="1614" y="1075"/>
                    </a:lnTo>
                    <a:lnTo>
                      <a:pt x="1614" y="1065"/>
                    </a:lnTo>
                    <a:lnTo>
                      <a:pt x="1613" y="1057"/>
                    </a:lnTo>
                    <a:lnTo>
                      <a:pt x="1611" y="1051"/>
                    </a:lnTo>
                    <a:lnTo>
                      <a:pt x="1607" y="1046"/>
                    </a:lnTo>
                    <a:lnTo>
                      <a:pt x="1595" y="1040"/>
                    </a:lnTo>
                    <a:lnTo>
                      <a:pt x="1577" y="1034"/>
                    </a:lnTo>
                    <a:lnTo>
                      <a:pt x="1569" y="1031"/>
                    </a:lnTo>
                    <a:lnTo>
                      <a:pt x="1561" y="1026"/>
                    </a:lnTo>
                    <a:lnTo>
                      <a:pt x="1558" y="1024"/>
                    </a:lnTo>
                    <a:lnTo>
                      <a:pt x="1556" y="1022"/>
                    </a:lnTo>
                    <a:lnTo>
                      <a:pt x="1554" y="1020"/>
                    </a:lnTo>
                    <a:lnTo>
                      <a:pt x="1554" y="1018"/>
                    </a:lnTo>
                    <a:lnTo>
                      <a:pt x="1553" y="1013"/>
                    </a:lnTo>
                    <a:lnTo>
                      <a:pt x="1550" y="1008"/>
                    </a:lnTo>
                    <a:lnTo>
                      <a:pt x="1546" y="1000"/>
                    </a:lnTo>
                    <a:lnTo>
                      <a:pt x="1541" y="994"/>
                    </a:lnTo>
                    <a:lnTo>
                      <a:pt x="1533" y="983"/>
                    </a:lnTo>
                    <a:lnTo>
                      <a:pt x="1526" y="977"/>
                    </a:lnTo>
                    <a:lnTo>
                      <a:pt x="1519" y="974"/>
                    </a:lnTo>
                    <a:lnTo>
                      <a:pt x="1509" y="972"/>
                    </a:lnTo>
                    <a:lnTo>
                      <a:pt x="1504" y="971"/>
                    </a:lnTo>
                    <a:lnTo>
                      <a:pt x="1500" y="971"/>
                    </a:lnTo>
                    <a:lnTo>
                      <a:pt x="1497" y="972"/>
                    </a:lnTo>
                    <a:lnTo>
                      <a:pt x="1496" y="973"/>
                    </a:lnTo>
                    <a:lnTo>
                      <a:pt x="1496" y="978"/>
                    </a:lnTo>
                    <a:lnTo>
                      <a:pt x="1496" y="982"/>
                    </a:lnTo>
                    <a:lnTo>
                      <a:pt x="1495" y="985"/>
                    </a:lnTo>
                    <a:lnTo>
                      <a:pt x="1494" y="986"/>
                    </a:lnTo>
                    <a:lnTo>
                      <a:pt x="1493" y="986"/>
                    </a:lnTo>
                    <a:lnTo>
                      <a:pt x="1490" y="985"/>
                    </a:lnTo>
                    <a:lnTo>
                      <a:pt x="1483" y="981"/>
                    </a:lnTo>
                    <a:lnTo>
                      <a:pt x="1475" y="978"/>
                    </a:lnTo>
                    <a:lnTo>
                      <a:pt x="1469" y="976"/>
                    </a:lnTo>
                    <a:lnTo>
                      <a:pt x="1464" y="976"/>
                    </a:lnTo>
                    <a:lnTo>
                      <a:pt x="1457" y="976"/>
                    </a:lnTo>
                    <a:lnTo>
                      <a:pt x="1447" y="976"/>
                    </a:lnTo>
                    <a:lnTo>
                      <a:pt x="1442" y="977"/>
                    </a:lnTo>
                    <a:lnTo>
                      <a:pt x="1437" y="978"/>
                    </a:lnTo>
                    <a:lnTo>
                      <a:pt x="1432" y="981"/>
                    </a:lnTo>
                    <a:lnTo>
                      <a:pt x="1430" y="986"/>
                    </a:lnTo>
                    <a:lnTo>
                      <a:pt x="1429" y="992"/>
                    </a:lnTo>
                    <a:lnTo>
                      <a:pt x="1429" y="998"/>
                    </a:lnTo>
                    <a:lnTo>
                      <a:pt x="1429" y="1007"/>
                    </a:lnTo>
                    <a:lnTo>
                      <a:pt x="1430" y="1015"/>
                    </a:lnTo>
                    <a:lnTo>
                      <a:pt x="1430" y="1023"/>
                    </a:lnTo>
                    <a:lnTo>
                      <a:pt x="1430" y="1032"/>
                    </a:lnTo>
                    <a:lnTo>
                      <a:pt x="1429" y="1038"/>
                    </a:lnTo>
                    <a:lnTo>
                      <a:pt x="1427" y="1042"/>
                    </a:lnTo>
                    <a:lnTo>
                      <a:pt x="1423" y="1048"/>
                    </a:lnTo>
                    <a:lnTo>
                      <a:pt x="1421" y="1054"/>
                    </a:lnTo>
                    <a:lnTo>
                      <a:pt x="1422" y="1058"/>
                    </a:lnTo>
                    <a:lnTo>
                      <a:pt x="1426" y="1064"/>
                    </a:lnTo>
                    <a:lnTo>
                      <a:pt x="1429" y="1071"/>
                    </a:lnTo>
                    <a:lnTo>
                      <a:pt x="1431" y="1078"/>
                    </a:lnTo>
                    <a:lnTo>
                      <a:pt x="1432" y="1081"/>
                    </a:lnTo>
                    <a:lnTo>
                      <a:pt x="1432" y="1084"/>
                    </a:lnTo>
                    <a:lnTo>
                      <a:pt x="1431" y="1087"/>
                    </a:lnTo>
                    <a:lnTo>
                      <a:pt x="1430" y="1091"/>
                    </a:lnTo>
                    <a:lnTo>
                      <a:pt x="1422" y="1097"/>
                    </a:lnTo>
                    <a:lnTo>
                      <a:pt x="1412" y="1102"/>
                    </a:lnTo>
                    <a:lnTo>
                      <a:pt x="1409" y="1104"/>
                    </a:lnTo>
                    <a:lnTo>
                      <a:pt x="1408" y="1107"/>
                    </a:lnTo>
                    <a:lnTo>
                      <a:pt x="1407" y="1109"/>
                    </a:lnTo>
                    <a:lnTo>
                      <a:pt x="1408" y="1113"/>
                    </a:lnTo>
                    <a:lnTo>
                      <a:pt x="1409" y="1117"/>
                    </a:lnTo>
                    <a:lnTo>
                      <a:pt x="1413" y="1122"/>
                    </a:lnTo>
                    <a:lnTo>
                      <a:pt x="1417" y="1127"/>
                    </a:lnTo>
                    <a:lnTo>
                      <a:pt x="1423" y="1133"/>
                    </a:lnTo>
                    <a:lnTo>
                      <a:pt x="1435" y="1147"/>
                    </a:lnTo>
                    <a:lnTo>
                      <a:pt x="1444" y="1158"/>
                    </a:lnTo>
                    <a:lnTo>
                      <a:pt x="1450" y="1168"/>
                    </a:lnTo>
                    <a:lnTo>
                      <a:pt x="1453" y="1177"/>
                    </a:lnTo>
                    <a:lnTo>
                      <a:pt x="1456" y="1187"/>
                    </a:lnTo>
                    <a:lnTo>
                      <a:pt x="1456" y="1195"/>
                    </a:lnTo>
                    <a:lnTo>
                      <a:pt x="1453" y="1203"/>
                    </a:lnTo>
                    <a:lnTo>
                      <a:pt x="1451" y="1212"/>
                    </a:lnTo>
                    <a:lnTo>
                      <a:pt x="1448" y="1221"/>
                    </a:lnTo>
                    <a:lnTo>
                      <a:pt x="1443" y="1231"/>
                    </a:lnTo>
                    <a:lnTo>
                      <a:pt x="1437" y="1240"/>
                    </a:lnTo>
                    <a:lnTo>
                      <a:pt x="1430" y="1250"/>
                    </a:lnTo>
                    <a:lnTo>
                      <a:pt x="1418" y="1264"/>
                    </a:lnTo>
                    <a:lnTo>
                      <a:pt x="1408" y="1273"/>
                    </a:lnTo>
                    <a:lnTo>
                      <a:pt x="1402" y="1277"/>
                    </a:lnTo>
                    <a:lnTo>
                      <a:pt x="1396" y="1281"/>
                    </a:lnTo>
                    <a:lnTo>
                      <a:pt x="1394" y="1283"/>
                    </a:lnTo>
                    <a:lnTo>
                      <a:pt x="1393" y="1286"/>
                    </a:lnTo>
                    <a:lnTo>
                      <a:pt x="1392" y="1288"/>
                    </a:lnTo>
                    <a:lnTo>
                      <a:pt x="1393" y="1291"/>
                    </a:lnTo>
                    <a:lnTo>
                      <a:pt x="1394" y="1300"/>
                    </a:lnTo>
                    <a:lnTo>
                      <a:pt x="1394" y="1311"/>
                    </a:lnTo>
                    <a:lnTo>
                      <a:pt x="1394" y="1323"/>
                    </a:lnTo>
                    <a:lnTo>
                      <a:pt x="1394" y="1330"/>
                    </a:lnTo>
                    <a:lnTo>
                      <a:pt x="1398" y="1344"/>
                    </a:lnTo>
                    <a:lnTo>
                      <a:pt x="1401" y="1361"/>
                    </a:lnTo>
                    <a:lnTo>
                      <a:pt x="1401" y="1371"/>
                    </a:lnTo>
                    <a:lnTo>
                      <a:pt x="1400" y="1386"/>
                    </a:lnTo>
                    <a:lnTo>
                      <a:pt x="1398" y="1392"/>
                    </a:lnTo>
                    <a:lnTo>
                      <a:pt x="1395" y="1397"/>
                    </a:lnTo>
                    <a:lnTo>
                      <a:pt x="1393" y="1399"/>
                    </a:lnTo>
                    <a:lnTo>
                      <a:pt x="1391" y="1400"/>
                    </a:lnTo>
                    <a:lnTo>
                      <a:pt x="1388" y="1400"/>
                    </a:lnTo>
                    <a:lnTo>
                      <a:pt x="1385" y="1400"/>
                    </a:lnTo>
                    <a:lnTo>
                      <a:pt x="1379" y="1398"/>
                    </a:lnTo>
                    <a:lnTo>
                      <a:pt x="1374" y="1396"/>
                    </a:lnTo>
                    <a:lnTo>
                      <a:pt x="1370" y="1392"/>
                    </a:lnTo>
                    <a:lnTo>
                      <a:pt x="1366" y="1388"/>
                    </a:lnTo>
                    <a:lnTo>
                      <a:pt x="1359" y="1378"/>
                    </a:lnTo>
                    <a:lnTo>
                      <a:pt x="1353" y="1369"/>
                    </a:lnTo>
                    <a:lnTo>
                      <a:pt x="1346" y="1362"/>
                    </a:lnTo>
                    <a:lnTo>
                      <a:pt x="1338" y="1356"/>
                    </a:lnTo>
                    <a:lnTo>
                      <a:pt x="1336" y="1353"/>
                    </a:lnTo>
                    <a:lnTo>
                      <a:pt x="1334" y="1351"/>
                    </a:lnTo>
                    <a:lnTo>
                      <a:pt x="1333" y="1349"/>
                    </a:lnTo>
                    <a:lnTo>
                      <a:pt x="1333" y="1346"/>
                    </a:lnTo>
                    <a:lnTo>
                      <a:pt x="1336" y="1342"/>
                    </a:lnTo>
                    <a:lnTo>
                      <a:pt x="1340" y="1339"/>
                    </a:lnTo>
                    <a:lnTo>
                      <a:pt x="1342" y="1338"/>
                    </a:lnTo>
                    <a:lnTo>
                      <a:pt x="1343" y="1335"/>
                    </a:lnTo>
                    <a:lnTo>
                      <a:pt x="1343" y="1334"/>
                    </a:lnTo>
                    <a:lnTo>
                      <a:pt x="1341" y="1332"/>
                    </a:lnTo>
                    <a:lnTo>
                      <a:pt x="1337" y="1327"/>
                    </a:lnTo>
                    <a:lnTo>
                      <a:pt x="1334" y="1324"/>
                    </a:lnTo>
                    <a:lnTo>
                      <a:pt x="1333" y="1322"/>
                    </a:lnTo>
                    <a:lnTo>
                      <a:pt x="1332" y="1319"/>
                    </a:lnTo>
                    <a:lnTo>
                      <a:pt x="1332" y="1316"/>
                    </a:lnTo>
                    <a:lnTo>
                      <a:pt x="1333" y="1312"/>
                    </a:lnTo>
                    <a:lnTo>
                      <a:pt x="1334" y="1308"/>
                    </a:lnTo>
                    <a:lnTo>
                      <a:pt x="1337" y="1306"/>
                    </a:lnTo>
                    <a:lnTo>
                      <a:pt x="1339" y="1304"/>
                    </a:lnTo>
                    <a:lnTo>
                      <a:pt x="1341" y="1303"/>
                    </a:lnTo>
                    <a:lnTo>
                      <a:pt x="1343" y="1301"/>
                    </a:lnTo>
                    <a:lnTo>
                      <a:pt x="1344" y="1299"/>
                    </a:lnTo>
                    <a:lnTo>
                      <a:pt x="1343" y="1295"/>
                    </a:lnTo>
                    <a:lnTo>
                      <a:pt x="1341" y="1289"/>
                    </a:lnTo>
                    <a:lnTo>
                      <a:pt x="1335" y="1278"/>
                    </a:lnTo>
                    <a:lnTo>
                      <a:pt x="1329" y="1268"/>
                    </a:lnTo>
                    <a:lnTo>
                      <a:pt x="1326" y="1264"/>
                    </a:lnTo>
                    <a:lnTo>
                      <a:pt x="1321" y="1261"/>
                    </a:lnTo>
                    <a:lnTo>
                      <a:pt x="1317" y="1259"/>
                    </a:lnTo>
                    <a:lnTo>
                      <a:pt x="1312" y="1259"/>
                    </a:lnTo>
                    <a:lnTo>
                      <a:pt x="1308" y="1258"/>
                    </a:lnTo>
                    <a:lnTo>
                      <a:pt x="1304" y="1255"/>
                    </a:lnTo>
                    <a:lnTo>
                      <a:pt x="1298" y="1250"/>
                    </a:lnTo>
                    <a:lnTo>
                      <a:pt x="1293" y="1242"/>
                    </a:lnTo>
                    <a:lnTo>
                      <a:pt x="1282" y="1223"/>
                    </a:lnTo>
                    <a:lnTo>
                      <a:pt x="1269" y="1202"/>
                    </a:lnTo>
                    <a:lnTo>
                      <a:pt x="1256" y="1181"/>
                    </a:lnTo>
                    <a:lnTo>
                      <a:pt x="1245" y="1162"/>
                    </a:lnTo>
                    <a:lnTo>
                      <a:pt x="1237" y="1147"/>
                    </a:lnTo>
                    <a:lnTo>
                      <a:pt x="1230" y="1139"/>
                    </a:lnTo>
                    <a:lnTo>
                      <a:pt x="1224" y="1135"/>
                    </a:lnTo>
                    <a:lnTo>
                      <a:pt x="1217" y="1131"/>
                    </a:lnTo>
                    <a:lnTo>
                      <a:pt x="1206" y="1128"/>
                    </a:lnTo>
                    <a:lnTo>
                      <a:pt x="1196" y="1126"/>
                    </a:lnTo>
                    <a:lnTo>
                      <a:pt x="1185" y="1125"/>
                    </a:lnTo>
                    <a:lnTo>
                      <a:pt x="1175" y="1125"/>
                    </a:lnTo>
                    <a:lnTo>
                      <a:pt x="1169" y="1125"/>
                    </a:lnTo>
                    <a:lnTo>
                      <a:pt x="1165" y="1126"/>
                    </a:lnTo>
                    <a:lnTo>
                      <a:pt x="1162" y="1127"/>
                    </a:lnTo>
                    <a:lnTo>
                      <a:pt x="1159" y="1129"/>
                    </a:lnTo>
                    <a:lnTo>
                      <a:pt x="1154" y="1134"/>
                    </a:lnTo>
                    <a:lnTo>
                      <a:pt x="1150" y="1143"/>
                    </a:lnTo>
                    <a:lnTo>
                      <a:pt x="1146" y="1151"/>
                    </a:lnTo>
                    <a:lnTo>
                      <a:pt x="1143" y="1158"/>
                    </a:lnTo>
                    <a:lnTo>
                      <a:pt x="1141" y="1167"/>
                    </a:lnTo>
                    <a:lnTo>
                      <a:pt x="1139" y="1172"/>
                    </a:lnTo>
                    <a:lnTo>
                      <a:pt x="1138" y="1173"/>
                    </a:lnTo>
                    <a:lnTo>
                      <a:pt x="1137" y="1174"/>
                    </a:lnTo>
                    <a:lnTo>
                      <a:pt x="1135" y="1174"/>
                    </a:lnTo>
                    <a:lnTo>
                      <a:pt x="1134" y="1173"/>
                    </a:lnTo>
                    <a:lnTo>
                      <a:pt x="1132" y="1172"/>
                    </a:lnTo>
                    <a:lnTo>
                      <a:pt x="1131" y="1173"/>
                    </a:lnTo>
                    <a:lnTo>
                      <a:pt x="1129" y="1174"/>
                    </a:lnTo>
                    <a:lnTo>
                      <a:pt x="1127" y="1177"/>
                    </a:lnTo>
                    <a:lnTo>
                      <a:pt x="1123" y="1186"/>
                    </a:lnTo>
                    <a:lnTo>
                      <a:pt x="1119" y="1196"/>
                    </a:lnTo>
                    <a:lnTo>
                      <a:pt x="1115" y="1206"/>
                    </a:lnTo>
                    <a:lnTo>
                      <a:pt x="1111" y="1215"/>
                    </a:lnTo>
                    <a:lnTo>
                      <a:pt x="1108" y="1218"/>
                    </a:lnTo>
                    <a:lnTo>
                      <a:pt x="1106" y="1220"/>
                    </a:lnTo>
                    <a:lnTo>
                      <a:pt x="1103" y="1221"/>
                    </a:lnTo>
                    <a:lnTo>
                      <a:pt x="1100" y="1220"/>
                    </a:lnTo>
                    <a:lnTo>
                      <a:pt x="1098" y="1219"/>
                    </a:lnTo>
                    <a:lnTo>
                      <a:pt x="1095" y="1215"/>
                    </a:lnTo>
                    <a:lnTo>
                      <a:pt x="1093" y="1211"/>
                    </a:lnTo>
                    <a:lnTo>
                      <a:pt x="1090" y="1206"/>
                    </a:lnTo>
                    <a:lnTo>
                      <a:pt x="1085" y="1192"/>
                    </a:lnTo>
                    <a:lnTo>
                      <a:pt x="1079" y="1176"/>
                    </a:lnTo>
                    <a:lnTo>
                      <a:pt x="1075" y="1161"/>
                    </a:lnTo>
                    <a:lnTo>
                      <a:pt x="1073" y="1145"/>
                    </a:lnTo>
                    <a:lnTo>
                      <a:pt x="1071" y="1131"/>
                    </a:lnTo>
                    <a:lnTo>
                      <a:pt x="1072" y="1120"/>
                    </a:lnTo>
                    <a:lnTo>
                      <a:pt x="1075" y="1101"/>
                    </a:lnTo>
                    <a:lnTo>
                      <a:pt x="1080" y="1079"/>
                    </a:lnTo>
                    <a:lnTo>
                      <a:pt x="1084" y="1068"/>
                    </a:lnTo>
                    <a:lnTo>
                      <a:pt x="1087" y="1058"/>
                    </a:lnTo>
                    <a:lnTo>
                      <a:pt x="1092" y="1048"/>
                    </a:lnTo>
                    <a:lnTo>
                      <a:pt x="1099" y="1040"/>
                    </a:lnTo>
                    <a:lnTo>
                      <a:pt x="1119" y="1019"/>
                    </a:lnTo>
                    <a:lnTo>
                      <a:pt x="1143" y="993"/>
                    </a:lnTo>
                    <a:lnTo>
                      <a:pt x="1165" y="970"/>
                    </a:lnTo>
                    <a:lnTo>
                      <a:pt x="1174" y="960"/>
                    </a:lnTo>
                    <a:lnTo>
                      <a:pt x="1173" y="959"/>
                    </a:lnTo>
                    <a:lnTo>
                      <a:pt x="1173" y="955"/>
                    </a:lnTo>
                    <a:lnTo>
                      <a:pt x="1173" y="952"/>
                    </a:lnTo>
                    <a:lnTo>
                      <a:pt x="1174" y="950"/>
                    </a:lnTo>
                    <a:lnTo>
                      <a:pt x="1175" y="947"/>
                    </a:lnTo>
                    <a:lnTo>
                      <a:pt x="1179" y="944"/>
                    </a:lnTo>
                    <a:lnTo>
                      <a:pt x="1189" y="933"/>
                    </a:lnTo>
                    <a:lnTo>
                      <a:pt x="1197" y="928"/>
                    </a:lnTo>
                    <a:lnTo>
                      <a:pt x="1204" y="925"/>
                    </a:lnTo>
                    <a:lnTo>
                      <a:pt x="1215" y="921"/>
                    </a:lnTo>
                    <a:lnTo>
                      <a:pt x="1220" y="918"/>
                    </a:lnTo>
                    <a:lnTo>
                      <a:pt x="1224" y="915"/>
                    </a:lnTo>
                    <a:lnTo>
                      <a:pt x="1227" y="913"/>
                    </a:lnTo>
                    <a:lnTo>
                      <a:pt x="1229" y="911"/>
                    </a:lnTo>
                    <a:lnTo>
                      <a:pt x="1234" y="903"/>
                    </a:lnTo>
                    <a:lnTo>
                      <a:pt x="1242" y="891"/>
                    </a:lnTo>
                    <a:lnTo>
                      <a:pt x="1245" y="887"/>
                    </a:lnTo>
                    <a:lnTo>
                      <a:pt x="1249" y="884"/>
                    </a:lnTo>
                    <a:lnTo>
                      <a:pt x="1250" y="883"/>
                    </a:lnTo>
                    <a:lnTo>
                      <a:pt x="1252" y="883"/>
                    </a:lnTo>
                    <a:lnTo>
                      <a:pt x="1253" y="884"/>
                    </a:lnTo>
                    <a:lnTo>
                      <a:pt x="1253" y="885"/>
                    </a:lnTo>
                    <a:lnTo>
                      <a:pt x="1254" y="890"/>
                    </a:lnTo>
                    <a:lnTo>
                      <a:pt x="1252" y="896"/>
                    </a:lnTo>
                    <a:lnTo>
                      <a:pt x="1249" y="905"/>
                    </a:lnTo>
                    <a:lnTo>
                      <a:pt x="1245" y="913"/>
                    </a:lnTo>
                    <a:lnTo>
                      <a:pt x="1242" y="922"/>
                    </a:lnTo>
                    <a:lnTo>
                      <a:pt x="1239" y="929"/>
                    </a:lnTo>
                    <a:lnTo>
                      <a:pt x="1238" y="934"/>
                    </a:lnTo>
                    <a:lnTo>
                      <a:pt x="1238" y="937"/>
                    </a:lnTo>
                    <a:lnTo>
                      <a:pt x="1245" y="938"/>
                    </a:lnTo>
                    <a:lnTo>
                      <a:pt x="1255" y="939"/>
                    </a:lnTo>
                    <a:lnTo>
                      <a:pt x="1261" y="940"/>
                    </a:lnTo>
                    <a:lnTo>
                      <a:pt x="1266" y="943"/>
                    </a:lnTo>
                    <a:lnTo>
                      <a:pt x="1270" y="945"/>
                    </a:lnTo>
                    <a:lnTo>
                      <a:pt x="1273" y="949"/>
                    </a:lnTo>
                    <a:lnTo>
                      <a:pt x="1276" y="956"/>
                    </a:lnTo>
                    <a:lnTo>
                      <a:pt x="1278" y="961"/>
                    </a:lnTo>
                    <a:lnTo>
                      <a:pt x="1281" y="961"/>
                    </a:lnTo>
                    <a:lnTo>
                      <a:pt x="1283" y="960"/>
                    </a:lnTo>
                    <a:lnTo>
                      <a:pt x="1286" y="957"/>
                    </a:lnTo>
                    <a:lnTo>
                      <a:pt x="1291" y="953"/>
                    </a:lnTo>
                    <a:lnTo>
                      <a:pt x="1295" y="946"/>
                    </a:lnTo>
                    <a:lnTo>
                      <a:pt x="1299" y="938"/>
                    </a:lnTo>
                    <a:lnTo>
                      <a:pt x="1304" y="930"/>
                    </a:lnTo>
                    <a:lnTo>
                      <a:pt x="1307" y="922"/>
                    </a:lnTo>
                    <a:lnTo>
                      <a:pt x="1309" y="915"/>
                    </a:lnTo>
                    <a:lnTo>
                      <a:pt x="1312" y="911"/>
                    </a:lnTo>
                    <a:lnTo>
                      <a:pt x="1314" y="910"/>
                    </a:lnTo>
                    <a:lnTo>
                      <a:pt x="1316" y="910"/>
                    </a:lnTo>
                    <a:lnTo>
                      <a:pt x="1318" y="911"/>
                    </a:lnTo>
                    <a:lnTo>
                      <a:pt x="1320" y="913"/>
                    </a:lnTo>
                    <a:lnTo>
                      <a:pt x="1327" y="918"/>
                    </a:lnTo>
                    <a:lnTo>
                      <a:pt x="1335" y="923"/>
                    </a:lnTo>
                    <a:lnTo>
                      <a:pt x="1344" y="928"/>
                    </a:lnTo>
                    <a:lnTo>
                      <a:pt x="1355" y="931"/>
                    </a:lnTo>
                    <a:lnTo>
                      <a:pt x="1364" y="933"/>
                    </a:lnTo>
                    <a:lnTo>
                      <a:pt x="1373" y="934"/>
                    </a:lnTo>
                    <a:lnTo>
                      <a:pt x="1376" y="934"/>
                    </a:lnTo>
                    <a:lnTo>
                      <a:pt x="1378" y="934"/>
                    </a:lnTo>
                    <a:lnTo>
                      <a:pt x="1379" y="933"/>
                    </a:lnTo>
                    <a:lnTo>
                      <a:pt x="1380" y="932"/>
                    </a:lnTo>
                    <a:lnTo>
                      <a:pt x="1380" y="930"/>
                    </a:lnTo>
                    <a:lnTo>
                      <a:pt x="1379" y="926"/>
                    </a:lnTo>
                    <a:lnTo>
                      <a:pt x="1378" y="923"/>
                    </a:lnTo>
                    <a:lnTo>
                      <a:pt x="1375" y="917"/>
                    </a:lnTo>
                    <a:lnTo>
                      <a:pt x="1368" y="907"/>
                    </a:lnTo>
                    <a:lnTo>
                      <a:pt x="1355" y="893"/>
                    </a:lnTo>
                    <a:lnTo>
                      <a:pt x="1347" y="886"/>
                    </a:lnTo>
                    <a:lnTo>
                      <a:pt x="1337" y="880"/>
                    </a:lnTo>
                    <a:lnTo>
                      <a:pt x="1327" y="873"/>
                    </a:lnTo>
                    <a:lnTo>
                      <a:pt x="1317" y="869"/>
                    </a:lnTo>
                    <a:lnTo>
                      <a:pt x="1309" y="864"/>
                    </a:lnTo>
                    <a:lnTo>
                      <a:pt x="1303" y="860"/>
                    </a:lnTo>
                    <a:lnTo>
                      <a:pt x="1300" y="858"/>
                    </a:lnTo>
                    <a:lnTo>
                      <a:pt x="1299" y="857"/>
                    </a:lnTo>
                    <a:lnTo>
                      <a:pt x="1299" y="855"/>
                    </a:lnTo>
                    <a:lnTo>
                      <a:pt x="1300" y="852"/>
                    </a:lnTo>
                    <a:lnTo>
                      <a:pt x="1308" y="847"/>
                    </a:lnTo>
                    <a:lnTo>
                      <a:pt x="1317" y="843"/>
                    </a:lnTo>
                    <a:lnTo>
                      <a:pt x="1321" y="841"/>
                    </a:lnTo>
                    <a:lnTo>
                      <a:pt x="1325" y="838"/>
                    </a:lnTo>
                    <a:lnTo>
                      <a:pt x="1328" y="834"/>
                    </a:lnTo>
                    <a:lnTo>
                      <a:pt x="1329" y="828"/>
                    </a:lnTo>
                    <a:lnTo>
                      <a:pt x="1331" y="816"/>
                    </a:lnTo>
                    <a:lnTo>
                      <a:pt x="1334" y="804"/>
                    </a:lnTo>
                    <a:lnTo>
                      <a:pt x="1336" y="799"/>
                    </a:lnTo>
                    <a:lnTo>
                      <a:pt x="1339" y="796"/>
                    </a:lnTo>
                    <a:lnTo>
                      <a:pt x="1342" y="793"/>
                    </a:lnTo>
                    <a:lnTo>
                      <a:pt x="1347" y="791"/>
                    </a:lnTo>
                    <a:lnTo>
                      <a:pt x="1348" y="790"/>
                    </a:lnTo>
                    <a:lnTo>
                      <a:pt x="1350" y="788"/>
                    </a:lnTo>
                    <a:lnTo>
                      <a:pt x="1351" y="784"/>
                    </a:lnTo>
                    <a:lnTo>
                      <a:pt x="1352" y="780"/>
                    </a:lnTo>
                    <a:lnTo>
                      <a:pt x="1352" y="770"/>
                    </a:lnTo>
                    <a:lnTo>
                      <a:pt x="1352" y="759"/>
                    </a:lnTo>
                    <a:lnTo>
                      <a:pt x="1350" y="738"/>
                    </a:lnTo>
                    <a:lnTo>
                      <a:pt x="1349" y="729"/>
                    </a:lnTo>
                    <a:lnTo>
                      <a:pt x="1352" y="723"/>
                    </a:lnTo>
                    <a:lnTo>
                      <a:pt x="1358" y="707"/>
                    </a:lnTo>
                    <a:lnTo>
                      <a:pt x="1360" y="698"/>
                    </a:lnTo>
                    <a:lnTo>
                      <a:pt x="1361" y="690"/>
                    </a:lnTo>
                    <a:lnTo>
                      <a:pt x="1361" y="687"/>
                    </a:lnTo>
                    <a:lnTo>
                      <a:pt x="1360" y="684"/>
                    </a:lnTo>
                    <a:lnTo>
                      <a:pt x="1359" y="682"/>
                    </a:lnTo>
                    <a:lnTo>
                      <a:pt x="1357" y="680"/>
                    </a:lnTo>
                    <a:lnTo>
                      <a:pt x="1342" y="671"/>
                    </a:lnTo>
                    <a:lnTo>
                      <a:pt x="1322" y="662"/>
                    </a:lnTo>
                    <a:lnTo>
                      <a:pt x="1314" y="657"/>
                    </a:lnTo>
                    <a:lnTo>
                      <a:pt x="1307" y="653"/>
                    </a:lnTo>
                    <a:lnTo>
                      <a:pt x="1303" y="650"/>
                    </a:lnTo>
                    <a:lnTo>
                      <a:pt x="1303" y="648"/>
                    </a:lnTo>
                    <a:lnTo>
                      <a:pt x="1316" y="643"/>
                    </a:lnTo>
                    <a:lnTo>
                      <a:pt x="1342" y="634"/>
                    </a:lnTo>
                    <a:lnTo>
                      <a:pt x="1356" y="630"/>
                    </a:lnTo>
                    <a:lnTo>
                      <a:pt x="1369" y="628"/>
                    </a:lnTo>
                    <a:lnTo>
                      <a:pt x="1373" y="628"/>
                    </a:lnTo>
                    <a:lnTo>
                      <a:pt x="1377" y="629"/>
                    </a:lnTo>
                    <a:lnTo>
                      <a:pt x="1379" y="630"/>
                    </a:lnTo>
                    <a:lnTo>
                      <a:pt x="1380" y="634"/>
                    </a:lnTo>
                    <a:lnTo>
                      <a:pt x="1380" y="637"/>
                    </a:lnTo>
                    <a:lnTo>
                      <a:pt x="1381" y="640"/>
                    </a:lnTo>
                    <a:lnTo>
                      <a:pt x="1382" y="642"/>
                    </a:lnTo>
                    <a:lnTo>
                      <a:pt x="1384" y="645"/>
                    </a:lnTo>
                    <a:lnTo>
                      <a:pt x="1388" y="648"/>
                    </a:lnTo>
                    <a:lnTo>
                      <a:pt x="1393" y="651"/>
                    </a:lnTo>
                    <a:lnTo>
                      <a:pt x="1398" y="652"/>
                    </a:lnTo>
                    <a:lnTo>
                      <a:pt x="1402" y="652"/>
                    </a:lnTo>
                    <a:lnTo>
                      <a:pt x="1404" y="651"/>
                    </a:lnTo>
                    <a:lnTo>
                      <a:pt x="1405" y="650"/>
                    </a:lnTo>
                    <a:lnTo>
                      <a:pt x="1406" y="649"/>
                    </a:lnTo>
                    <a:lnTo>
                      <a:pt x="1406" y="646"/>
                    </a:lnTo>
                    <a:lnTo>
                      <a:pt x="1407" y="641"/>
                    </a:lnTo>
                    <a:lnTo>
                      <a:pt x="1409" y="636"/>
                    </a:lnTo>
                    <a:lnTo>
                      <a:pt x="1413" y="629"/>
                    </a:lnTo>
                    <a:lnTo>
                      <a:pt x="1417" y="625"/>
                    </a:lnTo>
                    <a:lnTo>
                      <a:pt x="1420" y="623"/>
                    </a:lnTo>
                    <a:lnTo>
                      <a:pt x="1422" y="622"/>
                    </a:lnTo>
                    <a:lnTo>
                      <a:pt x="1425" y="621"/>
                    </a:lnTo>
                    <a:lnTo>
                      <a:pt x="1427" y="621"/>
                    </a:lnTo>
                    <a:lnTo>
                      <a:pt x="1430" y="621"/>
                    </a:lnTo>
                    <a:lnTo>
                      <a:pt x="1434" y="623"/>
                    </a:lnTo>
                    <a:lnTo>
                      <a:pt x="1437" y="625"/>
                    </a:lnTo>
                    <a:lnTo>
                      <a:pt x="1440" y="628"/>
                    </a:lnTo>
                    <a:lnTo>
                      <a:pt x="1462" y="657"/>
                    </a:lnTo>
                    <a:lnTo>
                      <a:pt x="1493" y="698"/>
                    </a:lnTo>
                    <a:lnTo>
                      <a:pt x="1509" y="720"/>
                    </a:lnTo>
                    <a:lnTo>
                      <a:pt x="1522" y="740"/>
                    </a:lnTo>
                    <a:lnTo>
                      <a:pt x="1527" y="749"/>
                    </a:lnTo>
                    <a:lnTo>
                      <a:pt x="1530" y="756"/>
                    </a:lnTo>
                    <a:lnTo>
                      <a:pt x="1532" y="761"/>
                    </a:lnTo>
                    <a:lnTo>
                      <a:pt x="1532" y="766"/>
                    </a:lnTo>
                    <a:lnTo>
                      <a:pt x="1532" y="771"/>
                    </a:lnTo>
                    <a:lnTo>
                      <a:pt x="1532" y="775"/>
                    </a:lnTo>
                    <a:lnTo>
                      <a:pt x="1533" y="779"/>
                    </a:lnTo>
                    <a:lnTo>
                      <a:pt x="1535" y="782"/>
                    </a:lnTo>
                    <a:lnTo>
                      <a:pt x="1539" y="785"/>
                    </a:lnTo>
                    <a:lnTo>
                      <a:pt x="1541" y="788"/>
                    </a:lnTo>
                    <a:lnTo>
                      <a:pt x="1553" y="788"/>
                    </a:lnTo>
                    <a:lnTo>
                      <a:pt x="1578" y="791"/>
                    </a:lnTo>
                    <a:lnTo>
                      <a:pt x="1591" y="793"/>
                    </a:lnTo>
                    <a:lnTo>
                      <a:pt x="1600" y="795"/>
                    </a:lnTo>
                    <a:lnTo>
                      <a:pt x="1604" y="797"/>
                    </a:lnTo>
                    <a:lnTo>
                      <a:pt x="1606" y="799"/>
                    </a:lnTo>
                    <a:lnTo>
                      <a:pt x="1607" y="800"/>
                    </a:lnTo>
                    <a:lnTo>
                      <a:pt x="1606" y="803"/>
                    </a:lnTo>
                    <a:lnTo>
                      <a:pt x="1599" y="813"/>
                    </a:lnTo>
                    <a:lnTo>
                      <a:pt x="1592" y="821"/>
                    </a:lnTo>
                    <a:lnTo>
                      <a:pt x="1589" y="823"/>
                    </a:lnTo>
                    <a:lnTo>
                      <a:pt x="1585" y="825"/>
                    </a:lnTo>
                    <a:lnTo>
                      <a:pt x="1581" y="824"/>
                    </a:lnTo>
                    <a:lnTo>
                      <a:pt x="1578" y="822"/>
                    </a:lnTo>
                    <a:lnTo>
                      <a:pt x="1571" y="814"/>
                    </a:lnTo>
                    <a:lnTo>
                      <a:pt x="1561" y="804"/>
                    </a:lnTo>
                    <a:lnTo>
                      <a:pt x="1556" y="800"/>
                    </a:lnTo>
                    <a:lnTo>
                      <a:pt x="1550" y="797"/>
                    </a:lnTo>
                    <a:lnTo>
                      <a:pt x="1544" y="794"/>
                    </a:lnTo>
                    <a:lnTo>
                      <a:pt x="1537" y="793"/>
                    </a:lnTo>
                    <a:lnTo>
                      <a:pt x="1532" y="793"/>
                    </a:lnTo>
                    <a:lnTo>
                      <a:pt x="1527" y="793"/>
                    </a:lnTo>
                    <a:lnTo>
                      <a:pt x="1522" y="794"/>
                    </a:lnTo>
                    <a:lnTo>
                      <a:pt x="1518" y="796"/>
                    </a:lnTo>
                    <a:lnTo>
                      <a:pt x="1515" y="798"/>
                    </a:lnTo>
                    <a:lnTo>
                      <a:pt x="1513" y="802"/>
                    </a:lnTo>
                    <a:lnTo>
                      <a:pt x="1511" y="808"/>
                    </a:lnTo>
                    <a:lnTo>
                      <a:pt x="1510" y="816"/>
                    </a:lnTo>
                    <a:lnTo>
                      <a:pt x="1510" y="823"/>
                    </a:lnTo>
                    <a:lnTo>
                      <a:pt x="1512" y="829"/>
                    </a:lnTo>
                    <a:lnTo>
                      <a:pt x="1515" y="835"/>
                    </a:lnTo>
                    <a:lnTo>
                      <a:pt x="1517" y="839"/>
                    </a:lnTo>
                    <a:lnTo>
                      <a:pt x="1519" y="842"/>
                    </a:lnTo>
                    <a:lnTo>
                      <a:pt x="1518" y="843"/>
                    </a:lnTo>
                    <a:lnTo>
                      <a:pt x="1514" y="845"/>
                    </a:lnTo>
                    <a:lnTo>
                      <a:pt x="1507" y="845"/>
                    </a:lnTo>
                    <a:lnTo>
                      <a:pt x="1485" y="843"/>
                    </a:lnTo>
                    <a:lnTo>
                      <a:pt x="1465" y="842"/>
                    </a:lnTo>
                    <a:lnTo>
                      <a:pt x="1461" y="842"/>
                    </a:lnTo>
                    <a:lnTo>
                      <a:pt x="1457" y="842"/>
                    </a:lnTo>
                    <a:lnTo>
                      <a:pt x="1453" y="843"/>
                    </a:lnTo>
                    <a:lnTo>
                      <a:pt x="1449" y="845"/>
                    </a:lnTo>
                    <a:lnTo>
                      <a:pt x="1447" y="847"/>
                    </a:lnTo>
                    <a:lnTo>
                      <a:pt x="1445" y="850"/>
                    </a:lnTo>
                    <a:lnTo>
                      <a:pt x="1443" y="855"/>
                    </a:lnTo>
                    <a:lnTo>
                      <a:pt x="1442" y="860"/>
                    </a:lnTo>
                    <a:lnTo>
                      <a:pt x="1440" y="870"/>
                    </a:lnTo>
                    <a:lnTo>
                      <a:pt x="1436" y="879"/>
                    </a:lnTo>
                    <a:lnTo>
                      <a:pt x="1431" y="887"/>
                    </a:lnTo>
                    <a:lnTo>
                      <a:pt x="1427" y="894"/>
                    </a:lnTo>
                    <a:lnTo>
                      <a:pt x="1423" y="901"/>
                    </a:lnTo>
                    <a:lnTo>
                      <a:pt x="1421" y="906"/>
                    </a:lnTo>
                    <a:lnTo>
                      <a:pt x="1421" y="908"/>
                    </a:lnTo>
                    <a:lnTo>
                      <a:pt x="1421" y="910"/>
                    </a:lnTo>
                    <a:lnTo>
                      <a:pt x="1422" y="911"/>
                    </a:lnTo>
                    <a:lnTo>
                      <a:pt x="1423" y="913"/>
                    </a:lnTo>
                    <a:lnTo>
                      <a:pt x="1426" y="913"/>
                    </a:lnTo>
                    <a:lnTo>
                      <a:pt x="1429" y="913"/>
                    </a:lnTo>
                    <a:lnTo>
                      <a:pt x="1434" y="911"/>
                    </a:lnTo>
                    <a:lnTo>
                      <a:pt x="1439" y="909"/>
                    </a:lnTo>
                    <a:lnTo>
                      <a:pt x="1450" y="903"/>
                    </a:lnTo>
                    <a:lnTo>
                      <a:pt x="1464" y="895"/>
                    </a:lnTo>
                    <a:lnTo>
                      <a:pt x="1476" y="889"/>
                    </a:lnTo>
                    <a:lnTo>
                      <a:pt x="1489" y="884"/>
                    </a:lnTo>
                    <a:lnTo>
                      <a:pt x="1494" y="883"/>
                    </a:lnTo>
                    <a:lnTo>
                      <a:pt x="1498" y="883"/>
                    </a:lnTo>
                    <a:lnTo>
                      <a:pt x="1502" y="884"/>
                    </a:lnTo>
                    <a:lnTo>
                      <a:pt x="1505" y="886"/>
                    </a:lnTo>
                    <a:lnTo>
                      <a:pt x="1513" y="896"/>
                    </a:lnTo>
                    <a:lnTo>
                      <a:pt x="1522" y="904"/>
                    </a:lnTo>
                    <a:lnTo>
                      <a:pt x="1525" y="907"/>
                    </a:lnTo>
                    <a:lnTo>
                      <a:pt x="1527" y="909"/>
                    </a:lnTo>
                    <a:lnTo>
                      <a:pt x="1529" y="912"/>
                    </a:lnTo>
                    <a:lnTo>
                      <a:pt x="1529" y="916"/>
                    </a:lnTo>
                    <a:lnTo>
                      <a:pt x="1530" y="921"/>
                    </a:lnTo>
                    <a:lnTo>
                      <a:pt x="1532" y="923"/>
                    </a:lnTo>
                    <a:lnTo>
                      <a:pt x="1535" y="925"/>
                    </a:lnTo>
                    <a:lnTo>
                      <a:pt x="1539" y="927"/>
                    </a:lnTo>
                    <a:lnTo>
                      <a:pt x="1544" y="928"/>
                    </a:lnTo>
                    <a:lnTo>
                      <a:pt x="1547" y="929"/>
                    </a:lnTo>
                    <a:lnTo>
                      <a:pt x="1550" y="931"/>
                    </a:lnTo>
                    <a:lnTo>
                      <a:pt x="1552" y="933"/>
                    </a:lnTo>
                    <a:lnTo>
                      <a:pt x="1557" y="942"/>
                    </a:lnTo>
                    <a:lnTo>
                      <a:pt x="1563" y="954"/>
                    </a:lnTo>
                    <a:lnTo>
                      <a:pt x="1568" y="960"/>
                    </a:lnTo>
                    <a:lnTo>
                      <a:pt x="1572" y="966"/>
                    </a:lnTo>
                    <a:lnTo>
                      <a:pt x="1576" y="971"/>
                    </a:lnTo>
                    <a:lnTo>
                      <a:pt x="1580" y="973"/>
                    </a:lnTo>
                    <a:lnTo>
                      <a:pt x="1589" y="974"/>
                    </a:lnTo>
                    <a:lnTo>
                      <a:pt x="1598" y="974"/>
                    </a:lnTo>
                    <a:lnTo>
                      <a:pt x="1602" y="974"/>
                    </a:lnTo>
                    <a:lnTo>
                      <a:pt x="1606" y="974"/>
                    </a:lnTo>
                    <a:lnTo>
                      <a:pt x="1610" y="976"/>
                    </a:lnTo>
                    <a:lnTo>
                      <a:pt x="1614" y="978"/>
                    </a:lnTo>
                    <a:lnTo>
                      <a:pt x="1619" y="981"/>
                    </a:lnTo>
                    <a:lnTo>
                      <a:pt x="1628" y="985"/>
                    </a:lnTo>
                    <a:lnTo>
                      <a:pt x="1641" y="987"/>
                    </a:lnTo>
                    <a:lnTo>
                      <a:pt x="1654" y="989"/>
                    </a:lnTo>
                    <a:lnTo>
                      <a:pt x="1676" y="992"/>
                    </a:lnTo>
                    <a:lnTo>
                      <a:pt x="1684" y="991"/>
                    </a:lnTo>
                    <a:lnTo>
                      <a:pt x="1670" y="978"/>
                    </a:lnTo>
                    <a:lnTo>
                      <a:pt x="1645" y="954"/>
                    </a:lnTo>
                    <a:lnTo>
                      <a:pt x="1634" y="942"/>
                    </a:lnTo>
                    <a:lnTo>
                      <a:pt x="1624" y="930"/>
                    </a:lnTo>
                    <a:lnTo>
                      <a:pt x="1621" y="926"/>
                    </a:lnTo>
                    <a:lnTo>
                      <a:pt x="1620" y="923"/>
                    </a:lnTo>
                    <a:lnTo>
                      <a:pt x="1620" y="922"/>
                    </a:lnTo>
                    <a:lnTo>
                      <a:pt x="1620" y="921"/>
                    </a:lnTo>
                    <a:lnTo>
                      <a:pt x="1620" y="921"/>
                    </a:lnTo>
                    <a:lnTo>
                      <a:pt x="1621" y="921"/>
                    </a:lnTo>
                    <a:lnTo>
                      <a:pt x="1629" y="924"/>
                    </a:lnTo>
                    <a:lnTo>
                      <a:pt x="1641" y="933"/>
                    </a:lnTo>
                    <a:lnTo>
                      <a:pt x="1657" y="945"/>
                    </a:lnTo>
                    <a:lnTo>
                      <a:pt x="1672" y="958"/>
                    </a:lnTo>
                    <a:lnTo>
                      <a:pt x="1688" y="971"/>
                    </a:lnTo>
                    <a:lnTo>
                      <a:pt x="1702" y="980"/>
                    </a:lnTo>
                    <a:lnTo>
                      <a:pt x="1707" y="985"/>
                    </a:lnTo>
                    <a:lnTo>
                      <a:pt x="1711" y="986"/>
                    </a:lnTo>
                    <a:lnTo>
                      <a:pt x="1713" y="987"/>
                    </a:lnTo>
                    <a:lnTo>
                      <a:pt x="1714" y="987"/>
                    </a:lnTo>
                    <a:lnTo>
                      <a:pt x="1715" y="986"/>
                    </a:lnTo>
                    <a:lnTo>
                      <a:pt x="1715" y="985"/>
                    </a:lnTo>
                    <a:lnTo>
                      <a:pt x="1716" y="979"/>
                    </a:lnTo>
                    <a:lnTo>
                      <a:pt x="1714" y="973"/>
                    </a:lnTo>
                    <a:lnTo>
                      <a:pt x="1712" y="968"/>
                    </a:lnTo>
                    <a:lnTo>
                      <a:pt x="1709" y="961"/>
                    </a:lnTo>
                    <a:lnTo>
                      <a:pt x="1706" y="956"/>
                    </a:lnTo>
                    <a:lnTo>
                      <a:pt x="1704" y="952"/>
                    </a:lnTo>
                    <a:lnTo>
                      <a:pt x="1703" y="949"/>
                    </a:lnTo>
                    <a:lnTo>
                      <a:pt x="1704" y="948"/>
                    </a:lnTo>
                    <a:lnTo>
                      <a:pt x="1711" y="945"/>
                    </a:lnTo>
                    <a:lnTo>
                      <a:pt x="1722" y="940"/>
                    </a:lnTo>
                    <a:lnTo>
                      <a:pt x="1727" y="937"/>
                    </a:lnTo>
                    <a:lnTo>
                      <a:pt x="1730" y="934"/>
                    </a:lnTo>
                    <a:lnTo>
                      <a:pt x="1731" y="932"/>
                    </a:lnTo>
                    <a:lnTo>
                      <a:pt x="1732" y="931"/>
                    </a:lnTo>
                    <a:lnTo>
                      <a:pt x="1732" y="929"/>
                    </a:lnTo>
                    <a:lnTo>
                      <a:pt x="1731" y="927"/>
                    </a:lnTo>
                    <a:lnTo>
                      <a:pt x="1721" y="915"/>
                    </a:lnTo>
                    <a:lnTo>
                      <a:pt x="1703" y="901"/>
                    </a:lnTo>
                    <a:lnTo>
                      <a:pt x="1684" y="884"/>
                    </a:lnTo>
                    <a:lnTo>
                      <a:pt x="1671" y="872"/>
                    </a:lnTo>
                    <a:lnTo>
                      <a:pt x="1667" y="865"/>
                    </a:lnTo>
                    <a:lnTo>
                      <a:pt x="1662" y="855"/>
                    </a:lnTo>
                    <a:lnTo>
                      <a:pt x="1657" y="841"/>
                    </a:lnTo>
                    <a:lnTo>
                      <a:pt x="1652" y="827"/>
                    </a:lnTo>
                    <a:lnTo>
                      <a:pt x="1649" y="815"/>
                    </a:lnTo>
                    <a:lnTo>
                      <a:pt x="1647" y="804"/>
                    </a:lnTo>
                    <a:lnTo>
                      <a:pt x="1648" y="800"/>
                    </a:lnTo>
                    <a:lnTo>
                      <a:pt x="1648" y="798"/>
                    </a:lnTo>
                    <a:lnTo>
                      <a:pt x="1650" y="797"/>
                    </a:lnTo>
                    <a:lnTo>
                      <a:pt x="1654" y="798"/>
                    </a:lnTo>
                    <a:lnTo>
                      <a:pt x="1667" y="806"/>
                    </a:lnTo>
                    <a:lnTo>
                      <a:pt x="1683" y="814"/>
                    </a:lnTo>
                    <a:lnTo>
                      <a:pt x="1690" y="818"/>
                    </a:lnTo>
                    <a:lnTo>
                      <a:pt x="1696" y="822"/>
                    </a:lnTo>
                    <a:lnTo>
                      <a:pt x="1699" y="825"/>
                    </a:lnTo>
                    <a:lnTo>
                      <a:pt x="1701" y="827"/>
                    </a:lnTo>
                    <a:lnTo>
                      <a:pt x="1702" y="830"/>
                    </a:lnTo>
                    <a:lnTo>
                      <a:pt x="1703" y="834"/>
                    </a:lnTo>
                    <a:lnTo>
                      <a:pt x="1703" y="843"/>
                    </a:lnTo>
                    <a:lnTo>
                      <a:pt x="1704" y="848"/>
                    </a:lnTo>
                    <a:lnTo>
                      <a:pt x="1707" y="852"/>
                    </a:lnTo>
                    <a:lnTo>
                      <a:pt x="1711" y="857"/>
                    </a:lnTo>
                    <a:lnTo>
                      <a:pt x="1719" y="864"/>
                    </a:lnTo>
                    <a:lnTo>
                      <a:pt x="1728" y="873"/>
                    </a:lnTo>
                    <a:lnTo>
                      <a:pt x="1732" y="878"/>
                    </a:lnTo>
                    <a:lnTo>
                      <a:pt x="1736" y="880"/>
                    </a:lnTo>
                    <a:lnTo>
                      <a:pt x="1737" y="880"/>
                    </a:lnTo>
                    <a:lnTo>
                      <a:pt x="1739" y="879"/>
                    </a:lnTo>
                    <a:lnTo>
                      <a:pt x="1741" y="878"/>
                    </a:lnTo>
                    <a:lnTo>
                      <a:pt x="1742" y="876"/>
                    </a:lnTo>
                    <a:lnTo>
                      <a:pt x="1745" y="862"/>
                    </a:lnTo>
                    <a:lnTo>
                      <a:pt x="1747" y="844"/>
                    </a:lnTo>
                    <a:lnTo>
                      <a:pt x="1748" y="835"/>
                    </a:lnTo>
                    <a:lnTo>
                      <a:pt x="1749" y="827"/>
                    </a:lnTo>
                    <a:lnTo>
                      <a:pt x="1751" y="821"/>
                    </a:lnTo>
                    <a:lnTo>
                      <a:pt x="1754" y="817"/>
                    </a:lnTo>
                    <a:lnTo>
                      <a:pt x="1761" y="811"/>
                    </a:lnTo>
                    <a:lnTo>
                      <a:pt x="1769" y="803"/>
                    </a:lnTo>
                    <a:lnTo>
                      <a:pt x="1772" y="800"/>
                    </a:lnTo>
                    <a:lnTo>
                      <a:pt x="1773" y="797"/>
                    </a:lnTo>
                    <a:lnTo>
                      <a:pt x="1773" y="793"/>
                    </a:lnTo>
                    <a:lnTo>
                      <a:pt x="1771" y="789"/>
                    </a:lnTo>
                    <a:lnTo>
                      <a:pt x="1766" y="783"/>
                    </a:lnTo>
                    <a:lnTo>
                      <a:pt x="1759" y="779"/>
                    </a:lnTo>
                    <a:lnTo>
                      <a:pt x="1752" y="774"/>
                    </a:lnTo>
                    <a:lnTo>
                      <a:pt x="1743" y="769"/>
                    </a:lnTo>
                    <a:lnTo>
                      <a:pt x="1727" y="760"/>
                    </a:lnTo>
                    <a:lnTo>
                      <a:pt x="1715" y="753"/>
                    </a:lnTo>
                    <a:lnTo>
                      <a:pt x="1701" y="741"/>
                    </a:lnTo>
                    <a:lnTo>
                      <a:pt x="1674" y="722"/>
                    </a:lnTo>
                    <a:lnTo>
                      <a:pt x="1647" y="702"/>
                    </a:lnTo>
                    <a:lnTo>
                      <a:pt x="1633" y="690"/>
                    </a:lnTo>
                    <a:lnTo>
                      <a:pt x="1629" y="687"/>
                    </a:lnTo>
                    <a:lnTo>
                      <a:pt x="1627" y="683"/>
                    </a:lnTo>
                    <a:lnTo>
                      <a:pt x="1625" y="679"/>
                    </a:lnTo>
                    <a:lnTo>
                      <a:pt x="1623" y="674"/>
                    </a:lnTo>
                    <a:lnTo>
                      <a:pt x="1622" y="670"/>
                    </a:lnTo>
                    <a:lnTo>
                      <a:pt x="1622" y="665"/>
                    </a:lnTo>
                    <a:lnTo>
                      <a:pt x="1622" y="660"/>
                    </a:lnTo>
                    <a:lnTo>
                      <a:pt x="1624" y="656"/>
                    </a:lnTo>
                    <a:lnTo>
                      <a:pt x="1628" y="651"/>
                    </a:lnTo>
                    <a:lnTo>
                      <a:pt x="1634" y="647"/>
                    </a:lnTo>
                    <a:lnTo>
                      <a:pt x="1640" y="645"/>
                    </a:lnTo>
                    <a:lnTo>
                      <a:pt x="1646" y="642"/>
                    </a:lnTo>
                    <a:lnTo>
                      <a:pt x="1651" y="640"/>
                    </a:lnTo>
                    <a:lnTo>
                      <a:pt x="1654" y="638"/>
                    </a:lnTo>
                    <a:lnTo>
                      <a:pt x="1655" y="636"/>
                    </a:lnTo>
                    <a:lnTo>
                      <a:pt x="1654" y="635"/>
                    </a:lnTo>
                    <a:lnTo>
                      <a:pt x="1652" y="632"/>
                    </a:lnTo>
                    <a:lnTo>
                      <a:pt x="1649" y="630"/>
                    </a:lnTo>
                    <a:lnTo>
                      <a:pt x="1643" y="627"/>
                    </a:lnTo>
                    <a:lnTo>
                      <a:pt x="1637" y="627"/>
                    </a:lnTo>
                    <a:lnTo>
                      <a:pt x="1630" y="627"/>
                    </a:lnTo>
                    <a:lnTo>
                      <a:pt x="1624" y="629"/>
                    </a:lnTo>
                    <a:lnTo>
                      <a:pt x="1616" y="634"/>
                    </a:lnTo>
                    <a:lnTo>
                      <a:pt x="1613" y="636"/>
                    </a:lnTo>
                    <a:lnTo>
                      <a:pt x="1608" y="637"/>
                    </a:lnTo>
                    <a:lnTo>
                      <a:pt x="1600" y="639"/>
                    </a:lnTo>
                    <a:lnTo>
                      <a:pt x="1597" y="639"/>
                    </a:lnTo>
                    <a:lnTo>
                      <a:pt x="1594" y="638"/>
                    </a:lnTo>
                    <a:lnTo>
                      <a:pt x="1594" y="637"/>
                    </a:lnTo>
                    <a:lnTo>
                      <a:pt x="1594" y="635"/>
                    </a:lnTo>
                    <a:lnTo>
                      <a:pt x="1594" y="634"/>
                    </a:lnTo>
                    <a:lnTo>
                      <a:pt x="1596" y="630"/>
                    </a:lnTo>
                    <a:lnTo>
                      <a:pt x="1599" y="626"/>
                    </a:lnTo>
                    <a:lnTo>
                      <a:pt x="1604" y="624"/>
                    </a:lnTo>
                    <a:lnTo>
                      <a:pt x="1610" y="622"/>
                    </a:lnTo>
                    <a:lnTo>
                      <a:pt x="1614" y="621"/>
                    </a:lnTo>
                    <a:lnTo>
                      <a:pt x="1617" y="620"/>
                    </a:lnTo>
                    <a:lnTo>
                      <a:pt x="1618" y="618"/>
                    </a:lnTo>
                    <a:lnTo>
                      <a:pt x="1618" y="616"/>
                    </a:lnTo>
                    <a:lnTo>
                      <a:pt x="1615" y="613"/>
                    </a:lnTo>
                    <a:lnTo>
                      <a:pt x="1608" y="609"/>
                    </a:lnTo>
                    <a:lnTo>
                      <a:pt x="1602" y="606"/>
                    </a:lnTo>
                    <a:lnTo>
                      <a:pt x="1596" y="604"/>
                    </a:lnTo>
                    <a:lnTo>
                      <a:pt x="1590" y="603"/>
                    </a:lnTo>
                    <a:lnTo>
                      <a:pt x="1583" y="602"/>
                    </a:lnTo>
                    <a:lnTo>
                      <a:pt x="1578" y="602"/>
                    </a:lnTo>
                    <a:lnTo>
                      <a:pt x="1574" y="603"/>
                    </a:lnTo>
                    <a:lnTo>
                      <a:pt x="1571" y="604"/>
                    </a:lnTo>
                    <a:lnTo>
                      <a:pt x="1568" y="604"/>
                    </a:lnTo>
                    <a:lnTo>
                      <a:pt x="1562" y="604"/>
                    </a:lnTo>
                    <a:lnTo>
                      <a:pt x="1556" y="602"/>
                    </a:lnTo>
                    <a:lnTo>
                      <a:pt x="1551" y="600"/>
                    </a:lnTo>
                    <a:lnTo>
                      <a:pt x="1546" y="597"/>
                    </a:lnTo>
                    <a:lnTo>
                      <a:pt x="1542" y="594"/>
                    </a:lnTo>
                    <a:lnTo>
                      <a:pt x="1542" y="593"/>
                    </a:lnTo>
                    <a:lnTo>
                      <a:pt x="1542" y="591"/>
                    </a:lnTo>
                    <a:lnTo>
                      <a:pt x="1544" y="588"/>
                    </a:lnTo>
                    <a:lnTo>
                      <a:pt x="1547" y="587"/>
                    </a:lnTo>
                    <a:lnTo>
                      <a:pt x="1557" y="582"/>
                    </a:lnTo>
                    <a:lnTo>
                      <a:pt x="1566" y="580"/>
                    </a:lnTo>
                    <a:lnTo>
                      <a:pt x="1568" y="579"/>
                    </a:lnTo>
                    <a:lnTo>
                      <a:pt x="1569" y="578"/>
                    </a:lnTo>
                    <a:lnTo>
                      <a:pt x="1569" y="576"/>
                    </a:lnTo>
                    <a:lnTo>
                      <a:pt x="1568" y="573"/>
                    </a:lnTo>
                    <a:lnTo>
                      <a:pt x="1562" y="562"/>
                    </a:lnTo>
                    <a:lnTo>
                      <a:pt x="1554" y="550"/>
                    </a:lnTo>
                    <a:lnTo>
                      <a:pt x="1552" y="548"/>
                    </a:lnTo>
                    <a:lnTo>
                      <a:pt x="1549" y="547"/>
                    </a:lnTo>
                    <a:lnTo>
                      <a:pt x="1547" y="545"/>
                    </a:lnTo>
                    <a:lnTo>
                      <a:pt x="1545" y="545"/>
                    </a:lnTo>
                    <a:lnTo>
                      <a:pt x="1542" y="547"/>
                    </a:lnTo>
                    <a:lnTo>
                      <a:pt x="1540" y="548"/>
                    </a:lnTo>
                    <a:lnTo>
                      <a:pt x="1539" y="551"/>
                    </a:lnTo>
                    <a:lnTo>
                      <a:pt x="1537" y="556"/>
                    </a:lnTo>
                    <a:lnTo>
                      <a:pt x="1535" y="564"/>
                    </a:lnTo>
                    <a:lnTo>
                      <a:pt x="1532" y="571"/>
                    </a:lnTo>
                    <a:lnTo>
                      <a:pt x="1529" y="574"/>
                    </a:lnTo>
                    <a:lnTo>
                      <a:pt x="1525" y="576"/>
                    </a:lnTo>
                    <a:lnTo>
                      <a:pt x="1522" y="575"/>
                    </a:lnTo>
                    <a:lnTo>
                      <a:pt x="1518" y="574"/>
                    </a:lnTo>
                    <a:lnTo>
                      <a:pt x="1515" y="573"/>
                    </a:lnTo>
                    <a:lnTo>
                      <a:pt x="1512" y="571"/>
                    </a:lnTo>
                    <a:lnTo>
                      <a:pt x="1508" y="566"/>
                    </a:lnTo>
                    <a:lnTo>
                      <a:pt x="1502" y="563"/>
                    </a:lnTo>
                    <a:lnTo>
                      <a:pt x="1498" y="561"/>
                    </a:lnTo>
                    <a:lnTo>
                      <a:pt x="1496" y="558"/>
                    </a:lnTo>
                    <a:lnTo>
                      <a:pt x="1494" y="555"/>
                    </a:lnTo>
                    <a:lnTo>
                      <a:pt x="1493" y="551"/>
                    </a:lnTo>
                    <a:lnTo>
                      <a:pt x="1492" y="543"/>
                    </a:lnTo>
                    <a:lnTo>
                      <a:pt x="1494" y="535"/>
                    </a:lnTo>
                    <a:lnTo>
                      <a:pt x="1494" y="532"/>
                    </a:lnTo>
                    <a:lnTo>
                      <a:pt x="1494" y="529"/>
                    </a:lnTo>
                    <a:lnTo>
                      <a:pt x="1493" y="526"/>
                    </a:lnTo>
                    <a:lnTo>
                      <a:pt x="1490" y="523"/>
                    </a:lnTo>
                    <a:lnTo>
                      <a:pt x="1476" y="511"/>
                    </a:lnTo>
                    <a:lnTo>
                      <a:pt x="1466" y="504"/>
                    </a:lnTo>
                    <a:lnTo>
                      <a:pt x="1464" y="503"/>
                    </a:lnTo>
                    <a:lnTo>
                      <a:pt x="1463" y="500"/>
                    </a:lnTo>
                    <a:lnTo>
                      <a:pt x="1463" y="499"/>
                    </a:lnTo>
                    <a:lnTo>
                      <a:pt x="1463" y="497"/>
                    </a:lnTo>
                    <a:lnTo>
                      <a:pt x="1465" y="493"/>
                    </a:lnTo>
                    <a:lnTo>
                      <a:pt x="1468" y="489"/>
                    </a:lnTo>
                    <a:lnTo>
                      <a:pt x="1470" y="487"/>
                    </a:lnTo>
                    <a:lnTo>
                      <a:pt x="1469" y="483"/>
                    </a:lnTo>
                    <a:lnTo>
                      <a:pt x="1468" y="478"/>
                    </a:lnTo>
                    <a:lnTo>
                      <a:pt x="1466" y="473"/>
                    </a:lnTo>
                    <a:lnTo>
                      <a:pt x="1462" y="469"/>
                    </a:lnTo>
                    <a:lnTo>
                      <a:pt x="1458" y="465"/>
                    </a:lnTo>
                    <a:lnTo>
                      <a:pt x="1453" y="462"/>
                    </a:lnTo>
                    <a:lnTo>
                      <a:pt x="1448" y="461"/>
                    </a:lnTo>
                    <a:lnTo>
                      <a:pt x="1432" y="461"/>
                    </a:lnTo>
                    <a:lnTo>
                      <a:pt x="1413" y="462"/>
                    </a:lnTo>
                    <a:lnTo>
                      <a:pt x="1404" y="463"/>
                    </a:lnTo>
                    <a:lnTo>
                      <a:pt x="1397" y="464"/>
                    </a:lnTo>
                    <a:lnTo>
                      <a:pt x="1395" y="465"/>
                    </a:lnTo>
                    <a:lnTo>
                      <a:pt x="1393" y="465"/>
                    </a:lnTo>
                    <a:lnTo>
                      <a:pt x="1393" y="466"/>
                    </a:lnTo>
                    <a:lnTo>
                      <a:pt x="1393" y="467"/>
                    </a:lnTo>
                    <a:lnTo>
                      <a:pt x="1401" y="473"/>
                    </a:lnTo>
                    <a:lnTo>
                      <a:pt x="1416" y="482"/>
                    </a:lnTo>
                    <a:lnTo>
                      <a:pt x="1430" y="489"/>
                    </a:lnTo>
                    <a:lnTo>
                      <a:pt x="1437" y="492"/>
                    </a:lnTo>
                    <a:lnTo>
                      <a:pt x="1441" y="492"/>
                    </a:lnTo>
                    <a:lnTo>
                      <a:pt x="1449" y="492"/>
                    </a:lnTo>
                    <a:lnTo>
                      <a:pt x="1453" y="493"/>
                    </a:lnTo>
                    <a:lnTo>
                      <a:pt x="1457" y="493"/>
                    </a:lnTo>
                    <a:lnTo>
                      <a:pt x="1458" y="494"/>
                    </a:lnTo>
                    <a:lnTo>
                      <a:pt x="1458" y="495"/>
                    </a:lnTo>
                    <a:lnTo>
                      <a:pt x="1458" y="496"/>
                    </a:lnTo>
                    <a:lnTo>
                      <a:pt x="1458" y="497"/>
                    </a:lnTo>
                    <a:lnTo>
                      <a:pt x="1452" y="501"/>
                    </a:lnTo>
                    <a:lnTo>
                      <a:pt x="1445" y="506"/>
                    </a:lnTo>
                    <a:lnTo>
                      <a:pt x="1442" y="509"/>
                    </a:lnTo>
                    <a:lnTo>
                      <a:pt x="1439" y="511"/>
                    </a:lnTo>
                    <a:lnTo>
                      <a:pt x="1437" y="514"/>
                    </a:lnTo>
                    <a:lnTo>
                      <a:pt x="1435" y="518"/>
                    </a:lnTo>
                    <a:lnTo>
                      <a:pt x="1432" y="528"/>
                    </a:lnTo>
                    <a:lnTo>
                      <a:pt x="1429" y="537"/>
                    </a:lnTo>
                    <a:lnTo>
                      <a:pt x="1426" y="540"/>
                    </a:lnTo>
                    <a:lnTo>
                      <a:pt x="1423" y="542"/>
                    </a:lnTo>
                    <a:lnTo>
                      <a:pt x="1422" y="542"/>
                    </a:lnTo>
                    <a:lnTo>
                      <a:pt x="1420" y="542"/>
                    </a:lnTo>
                    <a:lnTo>
                      <a:pt x="1418" y="541"/>
                    </a:lnTo>
                    <a:lnTo>
                      <a:pt x="1416" y="539"/>
                    </a:lnTo>
                    <a:lnTo>
                      <a:pt x="1408" y="531"/>
                    </a:lnTo>
                    <a:lnTo>
                      <a:pt x="1403" y="525"/>
                    </a:lnTo>
                    <a:lnTo>
                      <a:pt x="1402" y="523"/>
                    </a:lnTo>
                    <a:lnTo>
                      <a:pt x="1400" y="522"/>
                    </a:lnTo>
                    <a:lnTo>
                      <a:pt x="1399" y="523"/>
                    </a:lnTo>
                    <a:lnTo>
                      <a:pt x="1397" y="527"/>
                    </a:lnTo>
                    <a:lnTo>
                      <a:pt x="1393" y="535"/>
                    </a:lnTo>
                    <a:lnTo>
                      <a:pt x="1386" y="543"/>
                    </a:lnTo>
                    <a:lnTo>
                      <a:pt x="1383" y="547"/>
                    </a:lnTo>
                    <a:lnTo>
                      <a:pt x="1381" y="548"/>
                    </a:lnTo>
                    <a:lnTo>
                      <a:pt x="1380" y="549"/>
                    </a:lnTo>
                    <a:lnTo>
                      <a:pt x="1379" y="548"/>
                    </a:lnTo>
                    <a:lnTo>
                      <a:pt x="1378" y="548"/>
                    </a:lnTo>
                    <a:lnTo>
                      <a:pt x="1378" y="547"/>
                    </a:lnTo>
                    <a:lnTo>
                      <a:pt x="1380" y="538"/>
                    </a:lnTo>
                    <a:lnTo>
                      <a:pt x="1383" y="527"/>
                    </a:lnTo>
                    <a:lnTo>
                      <a:pt x="1385" y="520"/>
                    </a:lnTo>
                    <a:lnTo>
                      <a:pt x="1387" y="514"/>
                    </a:lnTo>
                    <a:lnTo>
                      <a:pt x="1387" y="509"/>
                    </a:lnTo>
                    <a:lnTo>
                      <a:pt x="1386" y="506"/>
                    </a:lnTo>
                    <a:lnTo>
                      <a:pt x="1382" y="494"/>
                    </a:lnTo>
                    <a:lnTo>
                      <a:pt x="1378" y="477"/>
                    </a:lnTo>
                    <a:lnTo>
                      <a:pt x="1375" y="469"/>
                    </a:lnTo>
                    <a:lnTo>
                      <a:pt x="1373" y="462"/>
                    </a:lnTo>
                    <a:lnTo>
                      <a:pt x="1371" y="457"/>
                    </a:lnTo>
                    <a:lnTo>
                      <a:pt x="1369" y="455"/>
                    </a:lnTo>
                    <a:lnTo>
                      <a:pt x="1364" y="456"/>
                    </a:lnTo>
                    <a:lnTo>
                      <a:pt x="1355" y="462"/>
                    </a:lnTo>
                    <a:lnTo>
                      <a:pt x="1342" y="470"/>
                    </a:lnTo>
                    <a:lnTo>
                      <a:pt x="1330" y="479"/>
                    </a:lnTo>
                    <a:lnTo>
                      <a:pt x="1316" y="489"/>
                    </a:lnTo>
                    <a:lnTo>
                      <a:pt x="1306" y="498"/>
                    </a:lnTo>
                    <a:lnTo>
                      <a:pt x="1303" y="501"/>
                    </a:lnTo>
                    <a:lnTo>
                      <a:pt x="1299" y="506"/>
                    </a:lnTo>
                    <a:lnTo>
                      <a:pt x="1298" y="508"/>
                    </a:lnTo>
                    <a:lnTo>
                      <a:pt x="1298" y="510"/>
                    </a:lnTo>
                    <a:lnTo>
                      <a:pt x="1305" y="517"/>
                    </a:lnTo>
                    <a:lnTo>
                      <a:pt x="1311" y="526"/>
                    </a:lnTo>
                    <a:lnTo>
                      <a:pt x="1314" y="529"/>
                    </a:lnTo>
                    <a:lnTo>
                      <a:pt x="1315" y="533"/>
                    </a:lnTo>
                    <a:lnTo>
                      <a:pt x="1316" y="535"/>
                    </a:lnTo>
                    <a:lnTo>
                      <a:pt x="1315" y="538"/>
                    </a:lnTo>
                    <a:lnTo>
                      <a:pt x="1312" y="541"/>
                    </a:lnTo>
                    <a:lnTo>
                      <a:pt x="1308" y="544"/>
                    </a:lnTo>
                    <a:lnTo>
                      <a:pt x="1306" y="548"/>
                    </a:lnTo>
                    <a:lnTo>
                      <a:pt x="1305" y="551"/>
                    </a:lnTo>
                    <a:lnTo>
                      <a:pt x="1307" y="554"/>
                    </a:lnTo>
                    <a:lnTo>
                      <a:pt x="1309" y="559"/>
                    </a:lnTo>
                    <a:lnTo>
                      <a:pt x="1311" y="564"/>
                    </a:lnTo>
                    <a:lnTo>
                      <a:pt x="1311" y="571"/>
                    </a:lnTo>
                    <a:lnTo>
                      <a:pt x="1310" y="578"/>
                    </a:lnTo>
                    <a:lnTo>
                      <a:pt x="1309" y="587"/>
                    </a:lnTo>
                    <a:lnTo>
                      <a:pt x="1307" y="595"/>
                    </a:lnTo>
                    <a:lnTo>
                      <a:pt x="1305" y="599"/>
                    </a:lnTo>
                    <a:lnTo>
                      <a:pt x="1299" y="597"/>
                    </a:lnTo>
                    <a:lnTo>
                      <a:pt x="1292" y="594"/>
                    </a:lnTo>
                    <a:lnTo>
                      <a:pt x="1288" y="591"/>
                    </a:lnTo>
                    <a:lnTo>
                      <a:pt x="1285" y="587"/>
                    </a:lnTo>
                    <a:lnTo>
                      <a:pt x="1283" y="584"/>
                    </a:lnTo>
                    <a:lnTo>
                      <a:pt x="1282" y="580"/>
                    </a:lnTo>
                    <a:lnTo>
                      <a:pt x="1279" y="571"/>
                    </a:lnTo>
                    <a:lnTo>
                      <a:pt x="1274" y="557"/>
                    </a:lnTo>
                    <a:lnTo>
                      <a:pt x="1269" y="544"/>
                    </a:lnTo>
                    <a:lnTo>
                      <a:pt x="1266" y="536"/>
                    </a:lnTo>
                    <a:lnTo>
                      <a:pt x="1266" y="534"/>
                    </a:lnTo>
                    <a:lnTo>
                      <a:pt x="1267" y="532"/>
                    </a:lnTo>
                    <a:lnTo>
                      <a:pt x="1268" y="530"/>
                    </a:lnTo>
                    <a:lnTo>
                      <a:pt x="1270" y="529"/>
                    </a:lnTo>
                    <a:lnTo>
                      <a:pt x="1273" y="526"/>
                    </a:lnTo>
                    <a:lnTo>
                      <a:pt x="1275" y="523"/>
                    </a:lnTo>
                    <a:lnTo>
                      <a:pt x="1273" y="520"/>
                    </a:lnTo>
                    <a:lnTo>
                      <a:pt x="1269" y="516"/>
                    </a:lnTo>
                    <a:lnTo>
                      <a:pt x="1267" y="513"/>
                    </a:lnTo>
                    <a:lnTo>
                      <a:pt x="1266" y="511"/>
                    </a:lnTo>
                    <a:lnTo>
                      <a:pt x="1266" y="509"/>
                    </a:lnTo>
                    <a:lnTo>
                      <a:pt x="1268" y="506"/>
                    </a:lnTo>
                    <a:lnTo>
                      <a:pt x="1279" y="495"/>
                    </a:lnTo>
                    <a:lnTo>
                      <a:pt x="1296" y="478"/>
                    </a:lnTo>
                    <a:lnTo>
                      <a:pt x="1305" y="469"/>
                    </a:lnTo>
                    <a:lnTo>
                      <a:pt x="1311" y="462"/>
                    </a:lnTo>
                    <a:lnTo>
                      <a:pt x="1313" y="459"/>
                    </a:lnTo>
                    <a:lnTo>
                      <a:pt x="1314" y="455"/>
                    </a:lnTo>
                    <a:lnTo>
                      <a:pt x="1315" y="454"/>
                    </a:lnTo>
                    <a:lnTo>
                      <a:pt x="1314" y="453"/>
                    </a:lnTo>
                    <a:lnTo>
                      <a:pt x="1310" y="453"/>
                    </a:lnTo>
                    <a:lnTo>
                      <a:pt x="1301" y="453"/>
                    </a:lnTo>
                    <a:lnTo>
                      <a:pt x="1290" y="455"/>
                    </a:lnTo>
                    <a:lnTo>
                      <a:pt x="1277" y="459"/>
                    </a:lnTo>
                    <a:lnTo>
                      <a:pt x="1265" y="462"/>
                    </a:lnTo>
                    <a:lnTo>
                      <a:pt x="1253" y="465"/>
                    </a:lnTo>
                    <a:lnTo>
                      <a:pt x="1245" y="469"/>
                    </a:lnTo>
                    <a:lnTo>
                      <a:pt x="1241" y="473"/>
                    </a:lnTo>
                    <a:lnTo>
                      <a:pt x="1232" y="485"/>
                    </a:lnTo>
                    <a:lnTo>
                      <a:pt x="1221" y="501"/>
                    </a:lnTo>
                    <a:lnTo>
                      <a:pt x="1215" y="510"/>
                    </a:lnTo>
                    <a:lnTo>
                      <a:pt x="1209" y="519"/>
                    </a:lnTo>
                    <a:lnTo>
                      <a:pt x="1205" y="529"/>
                    </a:lnTo>
                    <a:lnTo>
                      <a:pt x="1203" y="537"/>
                    </a:lnTo>
                    <a:lnTo>
                      <a:pt x="1202" y="553"/>
                    </a:lnTo>
                    <a:lnTo>
                      <a:pt x="1203" y="567"/>
                    </a:lnTo>
                    <a:lnTo>
                      <a:pt x="1203" y="574"/>
                    </a:lnTo>
                    <a:lnTo>
                      <a:pt x="1205" y="579"/>
                    </a:lnTo>
                    <a:lnTo>
                      <a:pt x="1207" y="583"/>
                    </a:lnTo>
                    <a:lnTo>
                      <a:pt x="1210" y="586"/>
                    </a:lnTo>
                    <a:lnTo>
                      <a:pt x="1223" y="590"/>
                    </a:lnTo>
                    <a:lnTo>
                      <a:pt x="1241" y="592"/>
                    </a:lnTo>
                    <a:lnTo>
                      <a:pt x="1248" y="593"/>
                    </a:lnTo>
                    <a:lnTo>
                      <a:pt x="1253" y="595"/>
                    </a:lnTo>
                    <a:lnTo>
                      <a:pt x="1255" y="595"/>
                    </a:lnTo>
                    <a:lnTo>
                      <a:pt x="1255" y="596"/>
                    </a:lnTo>
                    <a:lnTo>
                      <a:pt x="1255" y="597"/>
                    </a:lnTo>
                    <a:lnTo>
                      <a:pt x="1253" y="598"/>
                    </a:lnTo>
                    <a:lnTo>
                      <a:pt x="1241" y="602"/>
                    </a:lnTo>
                    <a:lnTo>
                      <a:pt x="1224" y="606"/>
                    </a:lnTo>
                    <a:lnTo>
                      <a:pt x="1217" y="607"/>
                    </a:lnTo>
                    <a:lnTo>
                      <a:pt x="1211" y="609"/>
                    </a:lnTo>
                    <a:lnTo>
                      <a:pt x="1210" y="610"/>
                    </a:lnTo>
                    <a:lnTo>
                      <a:pt x="1209" y="612"/>
                    </a:lnTo>
                    <a:lnTo>
                      <a:pt x="1209" y="612"/>
                    </a:lnTo>
                    <a:lnTo>
                      <a:pt x="1210" y="613"/>
                    </a:lnTo>
                    <a:lnTo>
                      <a:pt x="1227" y="620"/>
                    </a:lnTo>
                    <a:lnTo>
                      <a:pt x="1254" y="635"/>
                    </a:lnTo>
                    <a:lnTo>
                      <a:pt x="1279" y="648"/>
                    </a:lnTo>
                    <a:lnTo>
                      <a:pt x="1291" y="653"/>
                    </a:lnTo>
                    <a:lnTo>
                      <a:pt x="1290" y="659"/>
                    </a:lnTo>
                    <a:lnTo>
                      <a:pt x="1288" y="670"/>
                    </a:lnTo>
                    <a:lnTo>
                      <a:pt x="1287" y="676"/>
                    </a:lnTo>
                    <a:lnTo>
                      <a:pt x="1287" y="683"/>
                    </a:lnTo>
                    <a:lnTo>
                      <a:pt x="1287" y="687"/>
                    </a:lnTo>
                    <a:lnTo>
                      <a:pt x="1289" y="690"/>
                    </a:lnTo>
                    <a:lnTo>
                      <a:pt x="1292" y="692"/>
                    </a:lnTo>
                    <a:lnTo>
                      <a:pt x="1297" y="693"/>
                    </a:lnTo>
                    <a:lnTo>
                      <a:pt x="1298" y="694"/>
                    </a:lnTo>
                    <a:lnTo>
                      <a:pt x="1299" y="696"/>
                    </a:lnTo>
                    <a:lnTo>
                      <a:pt x="1300" y="697"/>
                    </a:lnTo>
                    <a:lnTo>
                      <a:pt x="1299" y="700"/>
                    </a:lnTo>
                    <a:lnTo>
                      <a:pt x="1287" y="707"/>
                    </a:lnTo>
                    <a:lnTo>
                      <a:pt x="1272" y="717"/>
                    </a:lnTo>
                    <a:lnTo>
                      <a:pt x="1271" y="725"/>
                    </a:lnTo>
                    <a:lnTo>
                      <a:pt x="1270" y="733"/>
                    </a:lnTo>
                    <a:lnTo>
                      <a:pt x="1270" y="737"/>
                    </a:lnTo>
                    <a:lnTo>
                      <a:pt x="1268" y="741"/>
                    </a:lnTo>
                    <a:lnTo>
                      <a:pt x="1267" y="746"/>
                    </a:lnTo>
                    <a:lnTo>
                      <a:pt x="1264" y="750"/>
                    </a:lnTo>
                    <a:lnTo>
                      <a:pt x="1254" y="763"/>
                    </a:lnTo>
                    <a:lnTo>
                      <a:pt x="1248" y="774"/>
                    </a:lnTo>
                    <a:lnTo>
                      <a:pt x="1245" y="774"/>
                    </a:lnTo>
                    <a:lnTo>
                      <a:pt x="1240" y="771"/>
                    </a:lnTo>
                    <a:lnTo>
                      <a:pt x="1235" y="767"/>
                    </a:lnTo>
                    <a:lnTo>
                      <a:pt x="1230" y="760"/>
                    </a:lnTo>
                    <a:lnTo>
                      <a:pt x="1227" y="754"/>
                    </a:lnTo>
                    <a:lnTo>
                      <a:pt x="1225" y="748"/>
                    </a:lnTo>
                    <a:lnTo>
                      <a:pt x="1224" y="744"/>
                    </a:lnTo>
                    <a:lnTo>
                      <a:pt x="1224" y="740"/>
                    </a:lnTo>
                    <a:lnTo>
                      <a:pt x="1225" y="738"/>
                    </a:lnTo>
                    <a:lnTo>
                      <a:pt x="1226" y="735"/>
                    </a:lnTo>
                    <a:lnTo>
                      <a:pt x="1232" y="726"/>
                    </a:lnTo>
                    <a:lnTo>
                      <a:pt x="1237" y="717"/>
                    </a:lnTo>
                    <a:lnTo>
                      <a:pt x="1238" y="709"/>
                    </a:lnTo>
                    <a:lnTo>
                      <a:pt x="1239" y="702"/>
                    </a:lnTo>
                    <a:lnTo>
                      <a:pt x="1237" y="697"/>
                    </a:lnTo>
                    <a:lnTo>
                      <a:pt x="1233" y="694"/>
                    </a:lnTo>
                    <a:lnTo>
                      <a:pt x="1228" y="691"/>
                    </a:lnTo>
                    <a:lnTo>
                      <a:pt x="1222" y="689"/>
                    </a:lnTo>
                    <a:lnTo>
                      <a:pt x="1210" y="686"/>
                    </a:lnTo>
                    <a:lnTo>
                      <a:pt x="1205" y="686"/>
                    </a:lnTo>
                    <a:lnTo>
                      <a:pt x="1203" y="694"/>
                    </a:lnTo>
                    <a:lnTo>
                      <a:pt x="1200" y="712"/>
                    </a:lnTo>
                    <a:lnTo>
                      <a:pt x="1199" y="720"/>
                    </a:lnTo>
                    <a:lnTo>
                      <a:pt x="1197" y="728"/>
                    </a:lnTo>
                    <a:lnTo>
                      <a:pt x="1196" y="730"/>
                    </a:lnTo>
                    <a:lnTo>
                      <a:pt x="1194" y="732"/>
                    </a:lnTo>
                    <a:lnTo>
                      <a:pt x="1193" y="733"/>
                    </a:lnTo>
                    <a:lnTo>
                      <a:pt x="1190" y="732"/>
                    </a:lnTo>
                    <a:lnTo>
                      <a:pt x="1185" y="731"/>
                    </a:lnTo>
                    <a:lnTo>
                      <a:pt x="1181" y="729"/>
                    </a:lnTo>
                    <a:lnTo>
                      <a:pt x="1179" y="728"/>
                    </a:lnTo>
                    <a:lnTo>
                      <a:pt x="1179" y="726"/>
                    </a:lnTo>
                    <a:lnTo>
                      <a:pt x="1179" y="723"/>
                    </a:lnTo>
                    <a:lnTo>
                      <a:pt x="1179" y="718"/>
                    </a:lnTo>
                    <a:lnTo>
                      <a:pt x="1182" y="707"/>
                    </a:lnTo>
                    <a:lnTo>
                      <a:pt x="1184" y="696"/>
                    </a:lnTo>
                    <a:lnTo>
                      <a:pt x="1185" y="691"/>
                    </a:lnTo>
                    <a:lnTo>
                      <a:pt x="1184" y="686"/>
                    </a:lnTo>
                    <a:lnTo>
                      <a:pt x="1183" y="682"/>
                    </a:lnTo>
                    <a:lnTo>
                      <a:pt x="1181" y="679"/>
                    </a:lnTo>
                    <a:lnTo>
                      <a:pt x="1177" y="676"/>
                    </a:lnTo>
                    <a:lnTo>
                      <a:pt x="1171" y="674"/>
                    </a:lnTo>
                    <a:lnTo>
                      <a:pt x="1163" y="673"/>
                    </a:lnTo>
                    <a:lnTo>
                      <a:pt x="1156" y="671"/>
                    </a:lnTo>
                    <a:lnTo>
                      <a:pt x="1150" y="669"/>
                    </a:lnTo>
                    <a:lnTo>
                      <a:pt x="1145" y="667"/>
                    </a:lnTo>
                    <a:lnTo>
                      <a:pt x="1144" y="665"/>
                    </a:lnTo>
                    <a:lnTo>
                      <a:pt x="1143" y="664"/>
                    </a:lnTo>
                    <a:lnTo>
                      <a:pt x="1143" y="661"/>
                    </a:lnTo>
                    <a:lnTo>
                      <a:pt x="1144" y="659"/>
                    </a:lnTo>
                    <a:lnTo>
                      <a:pt x="1151" y="648"/>
                    </a:lnTo>
                    <a:lnTo>
                      <a:pt x="1154" y="640"/>
                    </a:lnTo>
                    <a:lnTo>
                      <a:pt x="1156" y="635"/>
                    </a:lnTo>
                    <a:lnTo>
                      <a:pt x="1155" y="629"/>
                    </a:lnTo>
                    <a:lnTo>
                      <a:pt x="1145" y="621"/>
                    </a:lnTo>
                    <a:lnTo>
                      <a:pt x="1131" y="603"/>
                    </a:lnTo>
                    <a:lnTo>
                      <a:pt x="1128" y="599"/>
                    </a:lnTo>
                    <a:lnTo>
                      <a:pt x="1124" y="594"/>
                    </a:lnTo>
                    <a:lnTo>
                      <a:pt x="1122" y="588"/>
                    </a:lnTo>
                    <a:lnTo>
                      <a:pt x="1121" y="583"/>
                    </a:lnTo>
                    <a:lnTo>
                      <a:pt x="1120" y="578"/>
                    </a:lnTo>
                    <a:lnTo>
                      <a:pt x="1120" y="574"/>
                    </a:lnTo>
                    <a:lnTo>
                      <a:pt x="1122" y="569"/>
                    </a:lnTo>
                    <a:lnTo>
                      <a:pt x="1125" y="564"/>
                    </a:lnTo>
                    <a:lnTo>
                      <a:pt x="1138" y="552"/>
                    </a:lnTo>
                    <a:lnTo>
                      <a:pt x="1145" y="545"/>
                    </a:lnTo>
                    <a:lnTo>
                      <a:pt x="1147" y="542"/>
                    </a:lnTo>
                    <a:lnTo>
                      <a:pt x="1149" y="540"/>
                    </a:lnTo>
                    <a:lnTo>
                      <a:pt x="1147" y="538"/>
                    </a:lnTo>
                    <a:lnTo>
                      <a:pt x="1145" y="535"/>
                    </a:lnTo>
                    <a:lnTo>
                      <a:pt x="1136" y="530"/>
                    </a:lnTo>
                    <a:lnTo>
                      <a:pt x="1124" y="526"/>
                    </a:lnTo>
                    <a:lnTo>
                      <a:pt x="1122" y="525"/>
                    </a:lnTo>
                    <a:lnTo>
                      <a:pt x="1121" y="523"/>
                    </a:lnTo>
                    <a:lnTo>
                      <a:pt x="1121" y="522"/>
                    </a:lnTo>
                    <a:lnTo>
                      <a:pt x="1121" y="521"/>
                    </a:lnTo>
                    <a:lnTo>
                      <a:pt x="1125" y="519"/>
                    </a:lnTo>
                    <a:lnTo>
                      <a:pt x="1135" y="516"/>
                    </a:lnTo>
                    <a:lnTo>
                      <a:pt x="1145" y="514"/>
                    </a:lnTo>
                    <a:lnTo>
                      <a:pt x="1152" y="513"/>
                    </a:lnTo>
                    <a:lnTo>
                      <a:pt x="1156" y="513"/>
                    </a:lnTo>
                    <a:lnTo>
                      <a:pt x="1158" y="514"/>
                    </a:lnTo>
                    <a:lnTo>
                      <a:pt x="1161" y="518"/>
                    </a:lnTo>
                    <a:lnTo>
                      <a:pt x="1166" y="522"/>
                    </a:lnTo>
                    <a:lnTo>
                      <a:pt x="1171" y="523"/>
                    </a:lnTo>
                    <a:lnTo>
                      <a:pt x="1174" y="523"/>
                    </a:lnTo>
                    <a:lnTo>
                      <a:pt x="1176" y="521"/>
                    </a:lnTo>
                    <a:lnTo>
                      <a:pt x="1178" y="518"/>
                    </a:lnTo>
                    <a:lnTo>
                      <a:pt x="1181" y="511"/>
                    </a:lnTo>
                    <a:lnTo>
                      <a:pt x="1183" y="505"/>
                    </a:lnTo>
                    <a:lnTo>
                      <a:pt x="1185" y="498"/>
                    </a:lnTo>
                    <a:lnTo>
                      <a:pt x="1190" y="487"/>
                    </a:lnTo>
                    <a:lnTo>
                      <a:pt x="1197" y="475"/>
                    </a:lnTo>
                    <a:lnTo>
                      <a:pt x="1202" y="469"/>
                    </a:lnTo>
                    <a:lnTo>
                      <a:pt x="1208" y="465"/>
                    </a:lnTo>
                    <a:lnTo>
                      <a:pt x="1218" y="459"/>
                    </a:lnTo>
                    <a:lnTo>
                      <a:pt x="1222" y="454"/>
                    </a:lnTo>
                    <a:lnTo>
                      <a:pt x="1224" y="451"/>
                    </a:lnTo>
                    <a:lnTo>
                      <a:pt x="1225" y="449"/>
                    </a:lnTo>
                    <a:lnTo>
                      <a:pt x="1225" y="448"/>
                    </a:lnTo>
                    <a:lnTo>
                      <a:pt x="1224" y="446"/>
                    </a:lnTo>
                    <a:lnTo>
                      <a:pt x="1223" y="445"/>
                    </a:lnTo>
                    <a:lnTo>
                      <a:pt x="1219" y="443"/>
                    </a:lnTo>
                    <a:lnTo>
                      <a:pt x="1213" y="443"/>
                    </a:lnTo>
                    <a:lnTo>
                      <a:pt x="1207" y="444"/>
                    </a:lnTo>
                    <a:lnTo>
                      <a:pt x="1201" y="445"/>
                    </a:lnTo>
                    <a:lnTo>
                      <a:pt x="1188" y="448"/>
                    </a:lnTo>
                    <a:lnTo>
                      <a:pt x="1179" y="448"/>
                    </a:lnTo>
                    <a:lnTo>
                      <a:pt x="1172" y="448"/>
                    </a:lnTo>
                    <a:lnTo>
                      <a:pt x="1165" y="448"/>
                    </a:lnTo>
                    <a:lnTo>
                      <a:pt x="1160" y="449"/>
                    </a:lnTo>
                    <a:lnTo>
                      <a:pt x="1155" y="451"/>
                    </a:lnTo>
                    <a:lnTo>
                      <a:pt x="1147" y="454"/>
                    </a:lnTo>
                    <a:lnTo>
                      <a:pt x="1135" y="460"/>
                    </a:lnTo>
                    <a:lnTo>
                      <a:pt x="1130" y="463"/>
                    </a:lnTo>
                    <a:lnTo>
                      <a:pt x="1123" y="466"/>
                    </a:lnTo>
                    <a:lnTo>
                      <a:pt x="1119" y="470"/>
                    </a:lnTo>
                    <a:lnTo>
                      <a:pt x="1117" y="473"/>
                    </a:lnTo>
                    <a:lnTo>
                      <a:pt x="1120" y="482"/>
                    </a:lnTo>
                    <a:lnTo>
                      <a:pt x="1121" y="492"/>
                    </a:lnTo>
                    <a:lnTo>
                      <a:pt x="1118" y="501"/>
                    </a:lnTo>
                    <a:lnTo>
                      <a:pt x="1115" y="511"/>
                    </a:lnTo>
                    <a:lnTo>
                      <a:pt x="1114" y="519"/>
                    </a:lnTo>
                    <a:lnTo>
                      <a:pt x="1113" y="525"/>
                    </a:lnTo>
                    <a:lnTo>
                      <a:pt x="1114" y="530"/>
                    </a:lnTo>
                    <a:lnTo>
                      <a:pt x="1117" y="537"/>
                    </a:lnTo>
                    <a:lnTo>
                      <a:pt x="1118" y="541"/>
                    </a:lnTo>
                    <a:lnTo>
                      <a:pt x="1118" y="545"/>
                    </a:lnTo>
                    <a:lnTo>
                      <a:pt x="1118" y="550"/>
                    </a:lnTo>
                    <a:lnTo>
                      <a:pt x="1116" y="555"/>
                    </a:lnTo>
                    <a:lnTo>
                      <a:pt x="1106" y="572"/>
                    </a:lnTo>
                    <a:lnTo>
                      <a:pt x="1098" y="583"/>
                    </a:lnTo>
                    <a:lnTo>
                      <a:pt x="1094" y="586"/>
                    </a:lnTo>
                    <a:lnTo>
                      <a:pt x="1089" y="590"/>
                    </a:lnTo>
                    <a:lnTo>
                      <a:pt x="1087" y="592"/>
                    </a:lnTo>
                    <a:lnTo>
                      <a:pt x="1084" y="594"/>
                    </a:lnTo>
                    <a:lnTo>
                      <a:pt x="1083" y="598"/>
                    </a:lnTo>
                    <a:lnTo>
                      <a:pt x="1083" y="603"/>
                    </a:lnTo>
                    <a:lnTo>
                      <a:pt x="1084" y="607"/>
                    </a:lnTo>
                    <a:lnTo>
                      <a:pt x="1085" y="610"/>
                    </a:lnTo>
                    <a:lnTo>
                      <a:pt x="1087" y="614"/>
                    </a:lnTo>
                    <a:lnTo>
                      <a:pt x="1088" y="616"/>
                    </a:lnTo>
                    <a:lnTo>
                      <a:pt x="1090" y="618"/>
                    </a:lnTo>
                    <a:lnTo>
                      <a:pt x="1090" y="620"/>
                    </a:lnTo>
                    <a:lnTo>
                      <a:pt x="1090" y="623"/>
                    </a:lnTo>
                    <a:lnTo>
                      <a:pt x="1088" y="627"/>
                    </a:lnTo>
                    <a:lnTo>
                      <a:pt x="1083" y="638"/>
                    </a:lnTo>
                    <a:lnTo>
                      <a:pt x="1080" y="645"/>
                    </a:lnTo>
                    <a:lnTo>
                      <a:pt x="1081" y="648"/>
                    </a:lnTo>
                    <a:lnTo>
                      <a:pt x="1087" y="652"/>
                    </a:lnTo>
                    <a:lnTo>
                      <a:pt x="1094" y="658"/>
                    </a:lnTo>
                    <a:lnTo>
                      <a:pt x="1102" y="663"/>
                    </a:lnTo>
                    <a:lnTo>
                      <a:pt x="1111" y="668"/>
                    </a:lnTo>
                    <a:lnTo>
                      <a:pt x="1118" y="673"/>
                    </a:lnTo>
                    <a:lnTo>
                      <a:pt x="1121" y="675"/>
                    </a:lnTo>
                    <a:lnTo>
                      <a:pt x="1122" y="678"/>
                    </a:lnTo>
                    <a:lnTo>
                      <a:pt x="1123" y="680"/>
                    </a:lnTo>
                    <a:lnTo>
                      <a:pt x="1123" y="681"/>
                    </a:lnTo>
                    <a:lnTo>
                      <a:pt x="1121" y="692"/>
                    </a:lnTo>
                    <a:lnTo>
                      <a:pt x="1119" y="709"/>
                    </a:lnTo>
                    <a:lnTo>
                      <a:pt x="1118" y="718"/>
                    </a:lnTo>
                    <a:lnTo>
                      <a:pt x="1116" y="727"/>
                    </a:lnTo>
                    <a:lnTo>
                      <a:pt x="1113" y="734"/>
                    </a:lnTo>
                    <a:lnTo>
                      <a:pt x="1110" y="739"/>
                    </a:lnTo>
                    <a:lnTo>
                      <a:pt x="1100" y="747"/>
                    </a:lnTo>
                    <a:lnTo>
                      <a:pt x="1090" y="753"/>
                    </a:lnTo>
                    <a:lnTo>
                      <a:pt x="1086" y="756"/>
                    </a:lnTo>
                    <a:lnTo>
                      <a:pt x="1083" y="759"/>
                    </a:lnTo>
                    <a:lnTo>
                      <a:pt x="1080" y="762"/>
                    </a:lnTo>
                    <a:lnTo>
                      <a:pt x="1080" y="764"/>
                    </a:lnTo>
                    <a:lnTo>
                      <a:pt x="1083" y="771"/>
                    </a:lnTo>
                    <a:lnTo>
                      <a:pt x="1087" y="778"/>
                    </a:lnTo>
                    <a:lnTo>
                      <a:pt x="1088" y="781"/>
                    </a:lnTo>
                    <a:lnTo>
                      <a:pt x="1088" y="783"/>
                    </a:lnTo>
                    <a:lnTo>
                      <a:pt x="1087" y="785"/>
                    </a:lnTo>
                    <a:lnTo>
                      <a:pt x="1085" y="786"/>
                    </a:lnTo>
                    <a:lnTo>
                      <a:pt x="1080" y="786"/>
                    </a:lnTo>
                    <a:lnTo>
                      <a:pt x="1076" y="785"/>
                    </a:lnTo>
                    <a:lnTo>
                      <a:pt x="1072" y="783"/>
                    </a:lnTo>
                    <a:lnTo>
                      <a:pt x="1069" y="781"/>
                    </a:lnTo>
                    <a:lnTo>
                      <a:pt x="1066" y="779"/>
                    </a:lnTo>
                    <a:lnTo>
                      <a:pt x="1064" y="776"/>
                    </a:lnTo>
                    <a:lnTo>
                      <a:pt x="1062" y="774"/>
                    </a:lnTo>
                    <a:lnTo>
                      <a:pt x="1062" y="771"/>
                    </a:lnTo>
                    <a:lnTo>
                      <a:pt x="1064" y="764"/>
                    </a:lnTo>
                    <a:lnTo>
                      <a:pt x="1068" y="755"/>
                    </a:lnTo>
                    <a:lnTo>
                      <a:pt x="1070" y="751"/>
                    </a:lnTo>
                    <a:lnTo>
                      <a:pt x="1070" y="747"/>
                    </a:lnTo>
                    <a:lnTo>
                      <a:pt x="1070" y="745"/>
                    </a:lnTo>
                    <a:lnTo>
                      <a:pt x="1069" y="742"/>
                    </a:lnTo>
                    <a:lnTo>
                      <a:pt x="1067" y="740"/>
                    </a:lnTo>
                    <a:lnTo>
                      <a:pt x="1065" y="739"/>
                    </a:lnTo>
                    <a:lnTo>
                      <a:pt x="1062" y="737"/>
                    </a:lnTo>
                    <a:lnTo>
                      <a:pt x="1058" y="734"/>
                    </a:lnTo>
                    <a:lnTo>
                      <a:pt x="1057" y="732"/>
                    </a:lnTo>
                    <a:lnTo>
                      <a:pt x="1057" y="730"/>
                    </a:lnTo>
                    <a:lnTo>
                      <a:pt x="1057" y="728"/>
                    </a:lnTo>
                    <a:lnTo>
                      <a:pt x="1059" y="727"/>
                    </a:lnTo>
                    <a:lnTo>
                      <a:pt x="1062" y="726"/>
                    </a:lnTo>
                    <a:lnTo>
                      <a:pt x="1065" y="726"/>
                    </a:lnTo>
                    <a:lnTo>
                      <a:pt x="1068" y="725"/>
                    </a:lnTo>
                    <a:lnTo>
                      <a:pt x="1071" y="723"/>
                    </a:lnTo>
                    <a:lnTo>
                      <a:pt x="1074" y="719"/>
                    </a:lnTo>
                    <a:lnTo>
                      <a:pt x="1077" y="715"/>
                    </a:lnTo>
                    <a:lnTo>
                      <a:pt x="1079" y="710"/>
                    </a:lnTo>
                    <a:lnTo>
                      <a:pt x="1081" y="705"/>
                    </a:lnTo>
                    <a:lnTo>
                      <a:pt x="1083" y="700"/>
                    </a:lnTo>
                    <a:lnTo>
                      <a:pt x="1084" y="694"/>
                    </a:lnTo>
                    <a:lnTo>
                      <a:pt x="1084" y="688"/>
                    </a:lnTo>
                    <a:lnTo>
                      <a:pt x="1083" y="682"/>
                    </a:lnTo>
                    <a:lnTo>
                      <a:pt x="1079" y="674"/>
                    </a:lnTo>
                    <a:lnTo>
                      <a:pt x="1076" y="668"/>
                    </a:lnTo>
                    <a:lnTo>
                      <a:pt x="1071" y="664"/>
                    </a:lnTo>
                    <a:lnTo>
                      <a:pt x="1067" y="661"/>
                    </a:lnTo>
                    <a:lnTo>
                      <a:pt x="1064" y="661"/>
                    </a:lnTo>
                    <a:lnTo>
                      <a:pt x="1062" y="661"/>
                    </a:lnTo>
                    <a:lnTo>
                      <a:pt x="1058" y="662"/>
                    </a:lnTo>
                    <a:lnTo>
                      <a:pt x="1056" y="664"/>
                    </a:lnTo>
                    <a:lnTo>
                      <a:pt x="1043" y="679"/>
                    </a:lnTo>
                    <a:lnTo>
                      <a:pt x="1040" y="681"/>
                    </a:lnTo>
                    <a:lnTo>
                      <a:pt x="1033" y="684"/>
                    </a:lnTo>
                    <a:lnTo>
                      <a:pt x="1020" y="691"/>
                    </a:lnTo>
                    <a:lnTo>
                      <a:pt x="1014" y="696"/>
                    </a:lnTo>
                    <a:lnTo>
                      <a:pt x="1010" y="703"/>
                    </a:lnTo>
                    <a:lnTo>
                      <a:pt x="1009" y="706"/>
                    </a:lnTo>
                    <a:lnTo>
                      <a:pt x="1010" y="708"/>
                    </a:lnTo>
                    <a:lnTo>
                      <a:pt x="1011" y="711"/>
                    </a:lnTo>
                    <a:lnTo>
                      <a:pt x="1014" y="714"/>
                    </a:lnTo>
                    <a:lnTo>
                      <a:pt x="1022" y="719"/>
                    </a:lnTo>
                    <a:lnTo>
                      <a:pt x="1027" y="724"/>
                    </a:lnTo>
                    <a:lnTo>
                      <a:pt x="1032" y="725"/>
                    </a:lnTo>
                    <a:lnTo>
                      <a:pt x="1036" y="726"/>
                    </a:lnTo>
                    <a:lnTo>
                      <a:pt x="1042" y="726"/>
                    </a:lnTo>
                    <a:lnTo>
                      <a:pt x="1043" y="727"/>
                    </a:lnTo>
                    <a:lnTo>
                      <a:pt x="1045" y="729"/>
                    </a:lnTo>
                    <a:lnTo>
                      <a:pt x="1050" y="729"/>
                    </a:lnTo>
                    <a:lnTo>
                      <a:pt x="1052" y="730"/>
                    </a:lnTo>
                    <a:lnTo>
                      <a:pt x="1053" y="730"/>
                    </a:lnTo>
                    <a:lnTo>
                      <a:pt x="1053" y="732"/>
                    </a:lnTo>
                    <a:lnTo>
                      <a:pt x="1051" y="733"/>
                    </a:lnTo>
                    <a:lnTo>
                      <a:pt x="1043" y="738"/>
                    </a:lnTo>
                    <a:lnTo>
                      <a:pt x="1033" y="742"/>
                    </a:lnTo>
                    <a:lnTo>
                      <a:pt x="1029" y="745"/>
                    </a:lnTo>
                    <a:lnTo>
                      <a:pt x="1025" y="747"/>
                    </a:lnTo>
                    <a:lnTo>
                      <a:pt x="1024" y="749"/>
                    </a:lnTo>
                    <a:lnTo>
                      <a:pt x="1023" y="751"/>
                    </a:lnTo>
                    <a:lnTo>
                      <a:pt x="1024" y="757"/>
                    </a:lnTo>
                    <a:lnTo>
                      <a:pt x="1025" y="764"/>
                    </a:lnTo>
                    <a:lnTo>
                      <a:pt x="1025" y="767"/>
                    </a:lnTo>
                    <a:lnTo>
                      <a:pt x="1025" y="769"/>
                    </a:lnTo>
                    <a:lnTo>
                      <a:pt x="1024" y="770"/>
                    </a:lnTo>
                    <a:lnTo>
                      <a:pt x="1022" y="770"/>
                    </a:lnTo>
                    <a:lnTo>
                      <a:pt x="1006" y="769"/>
                    </a:lnTo>
                    <a:lnTo>
                      <a:pt x="980" y="769"/>
                    </a:lnTo>
                    <a:lnTo>
                      <a:pt x="965" y="769"/>
                    </a:lnTo>
                    <a:lnTo>
                      <a:pt x="953" y="768"/>
                    </a:lnTo>
                    <a:lnTo>
                      <a:pt x="942" y="767"/>
                    </a:lnTo>
                    <a:lnTo>
                      <a:pt x="935" y="763"/>
                    </a:lnTo>
                    <a:lnTo>
                      <a:pt x="924" y="755"/>
                    </a:lnTo>
                    <a:lnTo>
                      <a:pt x="911" y="747"/>
                    </a:lnTo>
                    <a:lnTo>
                      <a:pt x="903" y="745"/>
                    </a:lnTo>
                    <a:lnTo>
                      <a:pt x="897" y="744"/>
                    </a:lnTo>
                    <a:lnTo>
                      <a:pt x="894" y="744"/>
                    </a:lnTo>
                    <a:lnTo>
                      <a:pt x="891" y="745"/>
                    </a:lnTo>
                    <a:lnTo>
                      <a:pt x="889" y="746"/>
                    </a:lnTo>
                    <a:lnTo>
                      <a:pt x="888" y="749"/>
                    </a:lnTo>
                    <a:lnTo>
                      <a:pt x="879" y="759"/>
                    </a:lnTo>
                    <a:lnTo>
                      <a:pt x="871" y="769"/>
                    </a:lnTo>
                    <a:lnTo>
                      <a:pt x="867" y="773"/>
                    </a:lnTo>
                    <a:lnTo>
                      <a:pt x="865" y="777"/>
                    </a:lnTo>
                    <a:lnTo>
                      <a:pt x="864" y="780"/>
                    </a:lnTo>
                    <a:lnTo>
                      <a:pt x="864" y="783"/>
                    </a:lnTo>
                    <a:lnTo>
                      <a:pt x="868" y="790"/>
                    </a:lnTo>
                    <a:lnTo>
                      <a:pt x="873" y="798"/>
                    </a:lnTo>
                    <a:lnTo>
                      <a:pt x="874" y="802"/>
                    </a:lnTo>
                    <a:lnTo>
                      <a:pt x="876" y="805"/>
                    </a:lnTo>
                    <a:lnTo>
                      <a:pt x="876" y="808"/>
                    </a:lnTo>
                    <a:lnTo>
                      <a:pt x="875" y="811"/>
                    </a:lnTo>
                    <a:lnTo>
                      <a:pt x="870" y="818"/>
                    </a:lnTo>
                    <a:lnTo>
                      <a:pt x="865" y="828"/>
                    </a:lnTo>
                    <a:lnTo>
                      <a:pt x="861" y="833"/>
                    </a:lnTo>
                    <a:lnTo>
                      <a:pt x="858" y="836"/>
                    </a:lnTo>
                    <a:lnTo>
                      <a:pt x="857" y="836"/>
                    </a:lnTo>
                    <a:lnTo>
                      <a:pt x="856" y="836"/>
                    </a:lnTo>
                    <a:lnTo>
                      <a:pt x="854" y="835"/>
                    </a:lnTo>
                    <a:lnTo>
                      <a:pt x="853" y="833"/>
                    </a:lnTo>
                    <a:lnTo>
                      <a:pt x="849" y="822"/>
                    </a:lnTo>
                    <a:lnTo>
                      <a:pt x="843" y="810"/>
                    </a:lnTo>
                    <a:lnTo>
                      <a:pt x="839" y="804"/>
                    </a:lnTo>
                    <a:lnTo>
                      <a:pt x="836" y="798"/>
                    </a:lnTo>
                    <a:lnTo>
                      <a:pt x="833" y="794"/>
                    </a:lnTo>
                    <a:lnTo>
                      <a:pt x="829" y="790"/>
                    </a:lnTo>
                    <a:lnTo>
                      <a:pt x="816" y="784"/>
                    </a:lnTo>
                    <a:lnTo>
                      <a:pt x="811" y="783"/>
                    </a:lnTo>
                    <a:lnTo>
                      <a:pt x="803" y="789"/>
                    </a:lnTo>
                    <a:lnTo>
                      <a:pt x="794" y="794"/>
                    </a:lnTo>
                    <a:lnTo>
                      <a:pt x="785" y="795"/>
                    </a:lnTo>
                    <a:lnTo>
                      <a:pt x="765" y="797"/>
                    </a:lnTo>
                    <a:lnTo>
                      <a:pt x="744" y="798"/>
                    </a:lnTo>
                    <a:lnTo>
                      <a:pt x="734" y="799"/>
                    </a:lnTo>
                    <a:lnTo>
                      <a:pt x="730" y="797"/>
                    </a:lnTo>
                    <a:lnTo>
                      <a:pt x="728" y="795"/>
                    </a:lnTo>
                    <a:lnTo>
                      <a:pt x="728" y="793"/>
                    </a:lnTo>
                    <a:lnTo>
                      <a:pt x="729" y="792"/>
                    </a:lnTo>
                    <a:lnTo>
                      <a:pt x="730" y="790"/>
                    </a:lnTo>
                    <a:lnTo>
                      <a:pt x="734" y="788"/>
                    </a:lnTo>
                    <a:lnTo>
                      <a:pt x="741" y="782"/>
                    </a:lnTo>
                    <a:lnTo>
                      <a:pt x="747" y="776"/>
                    </a:lnTo>
                    <a:lnTo>
                      <a:pt x="750" y="771"/>
                    </a:lnTo>
                    <a:lnTo>
                      <a:pt x="751" y="769"/>
                    </a:lnTo>
                    <a:lnTo>
                      <a:pt x="750" y="766"/>
                    </a:lnTo>
                    <a:lnTo>
                      <a:pt x="747" y="758"/>
                    </a:lnTo>
                    <a:lnTo>
                      <a:pt x="744" y="754"/>
                    </a:lnTo>
                    <a:lnTo>
                      <a:pt x="740" y="751"/>
                    </a:lnTo>
                    <a:lnTo>
                      <a:pt x="736" y="749"/>
                    </a:lnTo>
                    <a:lnTo>
                      <a:pt x="729" y="748"/>
                    </a:lnTo>
                    <a:lnTo>
                      <a:pt x="719" y="750"/>
                    </a:lnTo>
                    <a:lnTo>
                      <a:pt x="710" y="753"/>
                    </a:lnTo>
                    <a:lnTo>
                      <a:pt x="706" y="754"/>
                    </a:lnTo>
                    <a:lnTo>
                      <a:pt x="702" y="755"/>
                    </a:lnTo>
                    <a:lnTo>
                      <a:pt x="700" y="754"/>
                    </a:lnTo>
                    <a:lnTo>
                      <a:pt x="697" y="753"/>
                    </a:lnTo>
                    <a:lnTo>
                      <a:pt x="684" y="746"/>
                    </a:lnTo>
                    <a:lnTo>
                      <a:pt x="663" y="736"/>
                    </a:lnTo>
                    <a:lnTo>
                      <a:pt x="652" y="732"/>
                    </a:lnTo>
                    <a:lnTo>
                      <a:pt x="640" y="730"/>
                    </a:lnTo>
                    <a:lnTo>
                      <a:pt x="636" y="730"/>
                    </a:lnTo>
                    <a:lnTo>
                      <a:pt x="632" y="730"/>
                    </a:lnTo>
                    <a:lnTo>
                      <a:pt x="629" y="730"/>
                    </a:lnTo>
                    <a:lnTo>
                      <a:pt x="627" y="732"/>
                    </a:lnTo>
                    <a:lnTo>
                      <a:pt x="620" y="740"/>
                    </a:lnTo>
                    <a:lnTo>
                      <a:pt x="615" y="747"/>
                    </a:lnTo>
                    <a:lnTo>
                      <a:pt x="612" y="749"/>
                    </a:lnTo>
                    <a:lnTo>
                      <a:pt x="611" y="751"/>
                    </a:lnTo>
                    <a:lnTo>
                      <a:pt x="609" y="751"/>
                    </a:lnTo>
                    <a:lnTo>
                      <a:pt x="607" y="750"/>
                    </a:lnTo>
                    <a:lnTo>
                      <a:pt x="605" y="742"/>
                    </a:lnTo>
                    <a:lnTo>
                      <a:pt x="603" y="730"/>
                    </a:lnTo>
                    <a:lnTo>
                      <a:pt x="603" y="725"/>
                    </a:lnTo>
                    <a:lnTo>
                      <a:pt x="602" y="719"/>
                    </a:lnTo>
                    <a:lnTo>
                      <a:pt x="601" y="718"/>
                    </a:lnTo>
                    <a:lnTo>
                      <a:pt x="600" y="718"/>
                    </a:lnTo>
                    <a:lnTo>
                      <a:pt x="598" y="718"/>
                    </a:lnTo>
                    <a:lnTo>
                      <a:pt x="597" y="719"/>
                    </a:lnTo>
                    <a:lnTo>
                      <a:pt x="591" y="730"/>
                    </a:lnTo>
                    <a:lnTo>
                      <a:pt x="583" y="741"/>
                    </a:lnTo>
                    <a:lnTo>
                      <a:pt x="579" y="748"/>
                    </a:lnTo>
                    <a:lnTo>
                      <a:pt x="575" y="752"/>
                    </a:lnTo>
                    <a:lnTo>
                      <a:pt x="573" y="754"/>
                    </a:lnTo>
                    <a:lnTo>
                      <a:pt x="572" y="755"/>
                    </a:lnTo>
                    <a:lnTo>
                      <a:pt x="569" y="746"/>
                    </a:lnTo>
                    <a:lnTo>
                      <a:pt x="565" y="730"/>
                    </a:lnTo>
                    <a:lnTo>
                      <a:pt x="563" y="722"/>
                    </a:lnTo>
                    <a:lnTo>
                      <a:pt x="561" y="715"/>
                    </a:lnTo>
                    <a:lnTo>
                      <a:pt x="559" y="713"/>
                    </a:lnTo>
                    <a:lnTo>
                      <a:pt x="558" y="711"/>
                    </a:lnTo>
                    <a:lnTo>
                      <a:pt x="555" y="711"/>
                    </a:lnTo>
                    <a:lnTo>
                      <a:pt x="554" y="711"/>
                    </a:lnTo>
                    <a:lnTo>
                      <a:pt x="549" y="716"/>
                    </a:lnTo>
                    <a:lnTo>
                      <a:pt x="547" y="720"/>
                    </a:lnTo>
                    <a:lnTo>
                      <a:pt x="546" y="725"/>
                    </a:lnTo>
                    <a:lnTo>
                      <a:pt x="547" y="729"/>
                    </a:lnTo>
                    <a:lnTo>
                      <a:pt x="548" y="733"/>
                    </a:lnTo>
                    <a:lnTo>
                      <a:pt x="547" y="737"/>
                    </a:lnTo>
                    <a:lnTo>
                      <a:pt x="544" y="742"/>
                    </a:lnTo>
                    <a:lnTo>
                      <a:pt x="538" y="749"/>
                    </a:lnTo>
                    <a:lnTo>
                      <a:pt x="533" y="751"/>
                    </a:lnTo>
                    <a:lnTo>
                      <a:pt x="529" y="751"/>
                    </a:lnTo>
                    <a:lnTo>
                      <a:pt x="526" y="751"/>
                    </a:lnTo>
                    <a:lnTo>
                      <a:pt x="522" y="749"/>
                    </a:lnTo>
                    <a:lnTo>
                      <a:pt x="519" y="748"/>
                    </a:lnTo>
                    <a:lnTo>
                      <a:pt x="516" y="747"/>
                    </a:lnTo>
                    <a:lnTo>
                      <a:pt x="513" y="749"/>
                    </a:lnTo>
                    <a:lnTo>
                      <a:pt x="510" y="752"/>
                    </a:lnTo>
                    <a:lnTo>
                      <a:pt x="501" y="764"/>
                    </a:lnTo>
                    <a:lnTo>
                      <a:pt x="489" y="779"/>
                    </a:lnTo>
                    <a:lnTo>
                      <a:pt x="483" y="790"/>
                    </a:lnTo>
                    <a:lnTo>
                      <a:pt x="476" y="801"/>
                    </a:lnTo>
                    <a:lnTo>
                      <a:pt x="471" y="810"/>
                    </a:lnTo>
                    <a:lnTo>
                      <a:pt x="467" y="813"/>
                    </a:lnTo>
                    <a:lnTo>
                      <a:pt x="465" y="812"/>
                    </a:lnTo>
                    <a:lnTo>
                      <a:pt x="460" y="811"/>
                    </a:lnTo>
                    <a:lnTo>
                      <a:pt x="457" y="810"/>
                    </a:lnTo>
                    <a:lnTo>
                      <a:pt x="456" y="808"/>
                    </a:lnTo>
                    <a:lnTo>
                      <a:pt x="455" y="806"/>
                    </a:lnTo>
                    <a:lnTo>
                      <a:pt x="455" y="804"/>
                    </a:lnTo>
                    <a:lnTo>
                      <a:pt x="456" y="801"/>
                    </a:lnTo>
                    <a:lnTo>
                      <a:pt x="457" y="797"/>
                    </a:lnTo>
                    <a:lnTo>
                      <a:pt x="457" y="793"/>
                    </a:lnTo>
                    <a:lnTo>
                      <a:pt x="457" y="790"/>
                    </a:lnTo>
                    <a:lnTo>
                      <a:pt x="456" y="785"/>
                    </a:lnTo>
                    <a:lnTo>
                      <a:pt x="455" y="783"/>
                    </a:lnTo>
                    <a:lnTo>
                      <a:pt x="453" y="782"/>
                    </a:lnTo>
                    <a:lnTo>
                      <a:pt x="451" y="782"/>
                    </a:lnTo>
                    <a:lnTo>
                      <a:pt x="445" y="783"/>
                    </a:lnTo>
                    <a:lnTo>
                      <a:pt x="441" y="785"/>
                    </a:lnTo>
                    <a:lnTo>
                      <a:pt x="439" y="788"/>
                    </a:lnTo>
                    <a:lnTo>
                      <a:pt x="437" y="791"/>
                    </a:lnTo>
                    <a:lnTo>
                      <a:pt x="436" y="794"/>
                    </a:lnTo>
                    <a:lnTo>
                      <a:pt x="436" y="797"/>
                    </a:lnTo>
                    <a:lnTo>
                      <a:pt x="436" y="805"/>
                    </a:lnTo>
                    <a:lnTo>
                      <a:pt x="435" y="812"/>
                    </a:lnTo>
                    <a:lnTo>
                      <a:pt x="434" y="817"/>
                    </a:lnTo>
                    <a:lnTo>
                      <a:pt x="432" y="821"/>
                    </a:lnTo>
                    <a:lnTo>
                      <a:pt x="431" y="822"/>
                    </a:lnTo>
                    <a:lnTo>
                      <a:pt x="429" y="822"/>
                    </a:lnTo>
                    <a:lnTo>
                      <a:pt x="427" y="822"/>
                    </a:lnTo>
                    <a:lnTo>
                      <a:pt x="425" y="821"/>
                    </a:lnTo>
                    <a:lnTo>
                      <a:pt x="420" y="819"/>
                    </a:lnTo>
                    <a:lnTo>
                      <a:pt x="418" y="818"/>
                    </a:lnTo>
                    <a:lnTo>
                      <a:pt x="415" y="815"/>
                    </a:lnTo>
                    <a:lnTo>
                      <a:pt x="409" y="806"/>
                    </a:lnTo>
                    <a:lnTo>
                      <a:pt x="404" y="802"/>
                    </a:lnTo>
                    <a:lnTo>
                      <a:pt x="399" y="799"/>
                    </a:lnTo>
                    <a:lnTo>
                      <a:pt x="394" y="797"/>
                    </a:lnTo>
                    <a:lnTo>
                      <a:pt x="390" y="796"/>
                    </a:lnTo>
                    <a:lnTo>
                      <a:pt x="382" y="797"/>
                    </a:lnTo>
                    <a:lnTo>
                      <a:pt x="370" y="798"/>
                    </a:lnTo>
                    <a:lnTo>
                      <a:pt x="361" y="799"/>
                    </a:lnTo>
                    <a:lnTo>
                      <a:pt x="357" y="799"/>
                    </a:lnTo>
                    <a:lnTo>
                      <a:pt x="357" y="797"/>
                    </a:lnTo>
                    <a:lnTo>
                      <a:pt x="356" y="792"/>
                    </a:lnTo>
                    <a:lnTo>
                      <a:pt x="354" y="790"/>
                    </a:lnTo>
                    <a:lnTo>
                      <a:pt x="352" y="789"/>
                    </a:lnTo>
                    <a:lnTo>
                      <a:pt x="348" y="790"/>
                    </a:lnTo>
                    <a:lnTo>
                      <a:pt x="343" y="793"/>
                    </a:lnTo>
                    <a:lnTo>
                      <a:pt x="333" y="800"/>
                    </a:lnTo>
                    <a:lnTo>
                      <a:pt x="328" y="805"/>
                    </a:lnTo>
                    <a:lnTo>
                      <a:pt x="326" y="806"/>
                    </a:lnTo>
                    <a:lnTo>
                      <a:pt x="325" y="806"/>
                    </a:lnTo>
                    <a:lnTo>
                      <a:pt x="324" y="806"/>
                    </a:lnTo>
                    <a:lnTo>
                      <a:pt x="324" y="805"/>
                    </a:lnTo>
                    <a:lnTo>
                      <a:pt x="321" y="801"/>
                    </a:lnTo>
                    <a:lnTo>
                      <a:pt x="319" y="799"/>
                    </a:lnTo>
                    <a:lnTo>
                      <a:pt x="317" y="798"/>
                    </a:lnTo>
                    <a:lnTo>
                      <a:pt x="316" y="798"/>
                    </a:lnTo>
                    <a:lnTo>
                      <a:pt x="315" y="798"/>
                    </a:lnTo>
                    <a:lnTo>
                      <a:pt x="312" y="799"/>
                    </a:lnTo>
                    <a:lnTo>
                      <a:pt x="305" y="805"/>
                    </a:lnTo>
                    <a:lnTo>
                      <a:pt x="300" y="808"/>
                    </a:lnTo>
                    <a:lnTo>
                      <a:pt x="297" y="807"/>
                    </a:lnTo>
                    <a:lnTo>
                      <a:pt x="290" y="804"/>
                    </a:lnTo>
                    <a:lnTo>
                      <a:pt x="286" y="803"/>
                    </a:lnTo>
                    <a:lnTo>
                      <a:pt x="283" y="803"/>
                    </a:lnTo>
                    <a:lnTo>
                      <a:pt x="280" y="803"/>
                    </a:lnTo>
                    <a:lnTo>
                      <a:pt x="278" y="803"/>
                    </a:lnTo>
                    <a:lnTo>
                      <a:pt x="275" y="807"/>
                    </a:lnTo>
                    <a:lnTo>
                      <a:pt x="271" y="813"/>
                    </a:lnTo>
                    <a:lnTo>
                      <a:pt x="269" y="815"/>
                    </a:lnTo>
                    <a:lnTo>
                      <a:pt x="268" y="816"/>
                    </a:lnTo>
                    <a:lnTo>
                      <a:pt x="267" y="816"/>
                    </a:lnTo>
                    <a:lnTo>
                      <a:pt x="267" y="814"/>
                    </a:lnTo>
                    <a:lnTo>
                      <a:pt x="267" y="808"/>
                    </a:lnTo>
                    <a:lnTo>
                      <a:pt x="268" y="801"/>
                    </a:lnTo>
                    <a:lnTo>
                      <a:pt x="267" y="799"/>
                    </a:lnTo>
                    <a:lnTo>
                      <a:pt x="266" y="797"/>
                    </a:lnTo>
                    <a:lnTo>
                      <a:pt x="265" y="797"/>
                    </a:lnTo>
                    <a:lnTo>
                      <a:pt x="262" y="799"/>
                    </a:lnTo>
                    <a:lnTo>
                      <a:pt x="256" y="805"/>
                    </a:lnTo>
                    <a:lnTo>
                      <a:pt x="252" y="811"/>
                    </a:lnTo>
                    <a:lnTo>
                      <a:pt x="249" y="816"/>
                    </a:lnTo>
                    <a:lnTo>
                      <a:pt x="247" y="819"/>
                    </a:lnTo>
                    <a:lnTo>
                      <a:pt x="246" y="822"/>
                    </a:lnTo>
                    <a:lnTo>
                      <a:pt x="245" y="823"/>
                    </a:lnTo>
                    <a:lnTo>
                      <a:pt x="245" y="818"/>
                    </a:lnTo>
                    <a:lnTo>
                      <a:pt x="249" y="810"/>
                    </a:lnTo>
                    <a:lnTo>
                      <a:pt x="249" y="808"/>
                    </a:lnTo>
                    <a:lnTo>
                      <a:pt x="249" y="806"/>
                    </a:lnTo>
                    <a:lnTo>
                      <a:pt x="249" y="805"/>
                    </a:lnTo>
                    <a:lnTo>
                      <a:pt x="246" y="805"/>
                    </a:lnTo>
                    <a:lnTo>
                      <a:pt x="245" y="804"/>
                    </a:lnTo>
                    <a:lnTo>
                      <a:pt x="243" y="802"/>
                    </a:lnTo>
                    <a:lnTo>
                      <a:pt x="241" y="802"/>
                    </a:lnTo>
                    <a:lnTo>
                      <a:pt x="239" y="802"/>
                    </a:lnTo>
                    <a:lnTo>
                      <a:pt x="237" y="804"/>
                    </a:lnTo>
                    <a:lnTo>
                      <a:pt x="234" y="806"/>
                    </a:lnTo>
                    <a:lnTo>
                      <a:pt x="228" y="815"/>
                    </a:lnTo>
                    <a:lnTo>
                      <a:pt x="219" y="824"/>
                    </a:lnTo>
                    <a:lnTo>
                      <a:pt x="212" y="832"/>
                    </a:lnTo>
                    <a:lnTo>
                      <a:pt x="209" y="835"/>
                    </a:lnTo>
                    <a:lnTo>
                      <a:pt x="209" y="833"/>
                    </a:lnTo>
                    <a:lnTo>
                      <a:pt x="209" y="832"/>
                    </a:lnTo>
                    <a:lnTo>
                      <a:pt x="208" y="833"/>
                    </a:lnTo>
                    <a:lnTo>
                      <a:pt x="208" y="834"/>
                    </a:lnTo>
                    <a:lnTo>
                      <a:pt x="203" y="837"/>
                    </a:lnTo>
                    <a:lnTo>
                      <a:pt x="201" y="841"/>
                    </a:lnTo>
                    <a:lnTo>
                      <a:pt x="192" y="854"/>
                    </a:lnTo>
                    <a:lnTo>
                      <a:pt x="181" y="867"/>
                    </a:lnTo>
                    <a:lnTo>
                      <a:pt x="177" y="871"/>
                    </a:lnTo>
                    <a:lnTo>
                      <a:pt x="173" y="877"/>
                    </a:lnTo>
                    <a:lnTo>
                      <a:pt x="169" y="884"/>
                    </a:lnTo>
                    <a:lnTo>
                      <a:pt x="165" y="892"/>
                    </a:lnTo>
                    <a:lnTo>
                      <a:pt x="154" y="911"/>
                    </a:lnTo>
                    <a:lnTo>
                      <a:pt x="147" y="924"/>
                    </a:lnTo>
                    <a:lnTo>
                      <a:pt x="138" y="932"/>
                    </a:lnTo>
                    <a:lnTo>
                      <a:pt x="129" y="945"/>
                    </a:lnTo>
                    <a:lnTo>
                      <a:pt x="124" y="954"/>
                    </a:lnTo>
                    <a:lnTo>
                      <a:pt x="122" y="961"/>
                    </a:lnTo>
                    <a:lnTo>
                      <a:pt x="123" y="965"/>
                    </a:lnTo>
                    <a:lnTo>
                      <a:pt x="126" y="968"/>
                    </a:lnTo>
                    <a:lnTo>
                      <a:pt x="129" y="973"/>
                    </a:lnTo>
                    <a:lnTo>
                      <a:pt x="129" y="978"/>
                    </a:lnTo>
                    <a:lnTo>
                      <a:pt x="129" y="990"/>
                    </a:lnTo>
                    <a:lnTo>
                      <a:pt x="129" y="995"/>
                    </a:lnTo>
                    <a:lnTo>
                      <a:pt x="131" y="994"/>
                    </a:lnTo>
                    <a:lnTo>
                      <a:pt x="134" y="992"/>
                    </a:lnTo>
                    <a:lnTo>
                      <a:pt x="135" y="991"/>
                    </a:lnTo>
                    <a:lnTo>
                      <a:pt x="136" y="991"/>
                    </a:lnTo>
                    <a:lnTo>
                      <a:pt x="137" y="992"/>
                    </a:lnTo>
                    <a:lnTo>
                      <a:pt x="137" y="993"/>
                    </a:lnTo>
                    <a:lnTo>
                      <a:pt x="135" y="1001"/>
                    </a:lnTo>
                    <a:lnTo>
                      <a:pt x="135" y="1005"/>
                    </a:lnTo>
                    <a:lnTo>
                      <a:pt x="134" y="1011"/>
                    </a:lnTo>
                    <a:lnTo>
                      <a:pt x="132" y="1017"/>
                    </a:lnTo>
                    <a:lnTo>
                      <a:pt x="130" y="1020"/>
                    </a:lnTo>
                    <a:lnTo>
                      <a:pt x="129" y="1022"/>
                    </a:lnTo>
                    <a:lnTo>
                      <a:pt x="127" y="1022"/>
                    </a:lnTo>
                    <a:lnTo>
                      <a:pt x="125" y="1020"/>
                    </a:lnTo>
                    <a:lnTo>
                      <a:pt x="121" y="1013"/>
                    </a:lnTo>
                    <a:lnTo>
                      <a:pt x="120" y="1011"/>
                    </a:lnTo>
                    <a:lnTo>
                      <a:pt x="118" y="1015"/>
                    </a:lnTo>
                    <a:lnTo>
                      <a:pt x="111" y="1024"/>
                    </a:lnTo>
                    <a:lnTo>
                      <a:pt x="104" y="1035"/>
                    </a:lnTo>
                    <a:lnTo>
                      <a:pt x="98" y="1045"/>
                    </a:lnTo>
                    <a:lnTo>
                      <a:pt x="88" y="1056"/>
                    </a:lnTo>
                    <a:lnTo>
                      <a:pt x="84" y="1062"/>
                    </a:lnTo>
                    <a:lnTo>
                      <a:pt x="86" y="1067"/>
                    </a:lnTo>
                    <a:lnTo>
                      <a:pt x="88" y="1073"/>
                    </a:lnTo>
                    <a:lnTo>
                      <a:pt x="87" y="1076"/>
                    </a:lnTo>
                    <a:lnTo>
                      <a:pt x="86" y="1081"/>
                    </a:lnTo>
                    <a:lnTo>
                      <a:pt x="86" y="1085"/>
                    </a:lnTo>
                    <a:lnTo>
                      <a:pt x="87" y="1088"/>
                    </a:lnTo>
                    <a:lnTo>
                      <a:pt x="96" y="1088"/>
                    </a:lnTo>
                    <a:lnTo>
                      <a:pt x="103" y="1087"/>
                    </a:lnTo>
                    <a:lnTo>
                      <a:pt x="108" y="1084"/>
                    </a:lnTo>
                    <a:lnTo>
                      <a:pt x="113" y="1078"/>
                    </a:lnTo>
                    <a:lnTo>
                      <a:pt x="115" y="1074"/>
                    </a:lnTo>
                    <a:lnTo>
                      <a:pt x="118" y="1069"/>
                    </a:lnTo>
                    <a:lnTo>
                      <a:pt x="119" y="1068"/>
                    </a:lnTo>
                    <a:lnTo>
                      <a:pt x="119" y="1067"/>
                    </a:lnTo>
                    <a:lnTo>
                      <a:pt x="120" y="1068"/>
                    </a:lnTo>
                    <a:lnTo>
                      <a:pt x="119" y="1070"/>
                    </a:lnTo>
                    <a:lnTo>
                      <a:pt x="119" y="1080"/>
                    </a:lnTo>
                    <a:lnTo>
                      <a:pt x="120" y="1085"/>
                    </a:lnTo>
                    <a:lnTo>
                      <a:pt x="120" y="1087"/>
                    </a:lnTo>
                    <a:lnTo>
                      <a:pt x="120" y="1089"/>
                    </a:lnTo>
                    <a:lnTo>
                      <a:pt x="119" y="1091"/>
                    </a:lnTo>
                    <a:lnTo>
                      <a:pt x="116" y="1095"/>
                    </a:lnTo>
                    <a:lnTo>
                      <a:pt x="109" y="1102"/>
                    </a:lnTo>
                    <a:lnTo>
                      <a:pt x="104" y="1106"/>
                    </a:lnTo>
                    <a:lnTo>
                      <a:pt x="101" y="1117"/>
                    </a:lnTo>
                    <a:lnTo>
                      <a:pt x="96" y="1125"/>
                    </a:lnTo>
                    <a:lnTo>
                      <a:pt x="93" y="1124"/>
                    </a:lnTo>
                    <a:lnTo>
                      <a:pt x="92" y="1123"/>
                    </a:lnTo>
                    <a:lnTo>
                      <a:pt x="91" y="1123"/>
                    </a:lnTo>
                    <a:lnTo>
                      <a:pt x="90" y="1123"/>
                    </a:lnTo>
                    <a:lnTo>
                      <a:pt x="89" y="1124"/>
                    </a:lnTo>
                    <a:lnTo>
                      <a:pt x="88" y="1126"/>
                    </a:lnTo>
                    <a:lnTo>
                      <a:pt x="82" y="1137"/>
                    </a:lnTo>
                    <a:lnTo>
                      <a:pt x="79" y="1147"/>
                    </a:lnTo>
                    <a:lnTo>
                      <a:pt x="78" y="1153"/>
                    </a:lnTo>
                    <a:lnTo>
                      <a:pt x="75" y="1158"/>
                    </a:lnTo>
                    <a:lnTo>
                      <a:pt x="72" y="1161"/>
                    </a:lnTo>
                    <a:lnTo>
                      <a:pt x="71" y="1163"/>
                    </a:lnTo>
                    <a:lnTo>
                      <a:pt x="68" y="1168"/>
                    </a:lnTo>
                    <a:lnTo>
                      <a:pt x="66" y="1178"/>
                    </a:lnTo>
                    <a:lnTo>
                      <a:pt x="64" y="1192"/>
                    </a:lnTo>
                    <a:lnTo>
                      <a:pt x="63" y="1202"/>
                    </a:lnTo>
                    <a:lnTo>
                      <a:pt x="63" y="1210"/>
                    </a:lnTo>
                    <a:lnTo>
                      <a:pt x="64" y="1214"/>
                    </a:lnTo>
                    <a:lnTo>
                      <a:pt x="66" y="1220"/>
                    </a:lnTo>
                    <a:lnTo>
                      <a:pt x="70" y="1232"/>
                    </a:lnTo>
                    <a:lnTo>
                      <a:pt x="70" y="1233"/>
                    </a:lnTo>
                    <a:lnTo>
                      <a:pt x="71" y="1234"/>
                    </a:lnTo>
                    <a:lnTo>
                      <a:pt x="72" y="1234"/>
                    </a:lnTo>
                    <a:lnTo>
                      <a:pt x="75" y="1234"/>
                    </a:lnTo>
                    <a:lnTo>
                      <a:pt x="77" y="1232"/>
                    </a:lnTo>
                    <a:lnTo>
                      <a:pt x="79" y="1230"/>
                    </a:lnTo>
                    <a:lnTo>
                      <a:pt x="81" y="1227"/>
                    </a:lnTo>
                    <a:lnTo>
                      <a:pt x="83" y="1224"/>
                    </a:lnTo>
                    <a:lnTo>
                      <a:pt x="84" y="1223"/>
                    </a:lnTo>
                    <a:lnTo>
                      <a:pt x="85" y="1224"/>
                    </a:lnTo>
                    <a:lnTo>
                      <a:pt x="84" y="1232"/>
                    </a:lnTo>
                    <a:lnTo>
                      <a:pt x="81" y="1244"/>
                    </a:lnTo>
                    <a:lnTo>
                      <a:pt x="80" y="1251"/>
                    </a:lnTo>
                    <a:lnTo>
                      <a:pt x="79" y="1257"/>
                    </a:lnTo>
                    <a:lnTo>
                      <a:pt x="79" y="1262"/>
                    </a:lnTo>
                    <a:lnTo>
                      <a:pt x="80" y="1266"/>
                    </a:lnTo>
                    <a:lnTo>
                      <a:pt x="81" y="1268"/>
                    </a:lnTo>
                    <a:lnTo>
                      <a:pt x="83" y="1269"/>
                    </a:lnTo>
                    <a:lnTo>
                      <a:pt x="86" y="1269"/>
                    </a:lnTo>
                    <a:lnTo>
                      <a:pt x="88" y="1267"/>
                    </a:lnTo>
                    <a:lnTo>
                      <a:pt x="92" y="1263"/>
                    </a:lnTo>
                    <a:lnTo>
                      <a:pt x="97" y="1258"/>
                    </a:lnTo>
                    <a:lnTo>
                      <a:pt x="99" y="1259"/>
                    </a:lnTo>
                    <a:lnTo>
                      <a:pt x="103" y="1263"/>
                    </a:lnTo>
                    <a:lnTo>
                      <a:pt x="108" y="1259"/>
                    </a:lnTo>
                    <a:lnTo>
                      <a:pt x="115" y="1251"/>
                    </a:lnTo>
                    <a:lnTo>
                      <a:pt x="119" y="1247"/>
                    </a:lnTo>
                    <a:lnTo>
                      <a:pt x="121" y="1245"/>
                    </a:lnTo>
                    <a:lnTo>
                      <a:pt x="122" y="1244"/>
                    </a:lnTo>
                    <a:lnTo>
                      <a:pt x="121" y="1247"/>
                    </a:lnTo>
                    <a:lnTo>
                      <a:pt x="119" y="1252"/>
                    </a:lnTo>
                    <a:lnTo>
                      <a:pt x="116" y="1256"/>
                    </a:lnTo>
                    <a:lnTo>
                      <a:pt x="114" y="1259"/>
                    </a:lnTo>
                    <a:lnTo>
                      <a:pt x="113" y="1264"/>
                    </a:lnTo>
                    <a:lnTo>
                      <a:pt x="114" y="1273"/>
                    </a:lnTo>
                    <a:lnTo>
                      <a:pt x="114" y="1275"/>
                    </a:lnTo>
                    <a:lnTo>
                      <a:pt x="110" y="1284"/>
                    </a:lnTo>
                    <a:lnTo>
                      <a:pt x="104" y="1297"/>
                    </a:lnTo>
                    <a:lnTo>
                      <a:pt x="97" y="1307"/>
                    </a:lnTo>
                    <a:lnTo>
                      <a:pt x="83" y="1326"/>
                    </a:lnTo>
                    <a:lnTo>
                      <a:pt x="69" y="1345"/>
                    </a:lnTo>
                    <a:lnTo>
                      <a:pt x="61" y="1356"/>
                    </a:lnTo>
                    <a:lnTo>
                      <a:pt x="53" y="1371"/>
                    </a:lnTo>
                    <a:lnTo>
                      <a:pt x="45" y="1383"/>
                    </a:lnTo>
                    <a:lnTo>
                      <a:pt x="40" y="1386"/>
                    </a:lnTo>
                    <a:lnTo>
                      <a:pt x="37" y="1391"/>
                    </a:lnTo>
                    <a:lnTo>
                      <a:pt x="37" y="1394"/>
                    </a:lnTo>
                    <a:lnTo>
                      <a:pt x="36" y="1397"/>
                    </a:lnTo>
                    <a:lnTo>
                      <a:pt x="35" y="1399"/>
                    </a:lnTo>
                    <a:lnTo>
                      <a:pt x="34" y="1400"/>
                    </a:lnTo>
                    <a:lnTo>
                      <a:pt x="31" y="1402"/>
                    </a:lnTo>
                    <a:lnTo>
                      <a:pt x="27" y="1404"/>
                    </a:lnTo>
                    <a:lnTo>
                      <a:pt x="25" y="1406"/>
                    </a:lnTo>
                    <a:lnTo>
                      <a:pt x="24" y="1409"/>
                    </a:lnTo>
                    <a:lnTo>
                      <a:pt x="21" y="1414"/>
                    </a:lnTo>
                    <a:lnTo>
                      <a:pt x="17" y="1419"/>
                    </a:lnTo>
                    <a:lnTo>
                      <a:pt x="13" y="1426"/>
                    </a:lnTo>
                    <a:lnTo>
                      <a:pt x="10" y="1434"/>
                    </a:lnTo>
                    <a:lnTo>
                      <a:pt x="9" y="1436"/>
                    </a:lnTo>
                    <a:lnTo>
                      <a:pt x="8" y="1437"/>
                    </a:lnTo>
                    <a:lnTo>
                      <a:pt x="6" y="1437"/>
                    </a:lnTo>
                    <a:lnTo>
                      <a:pt x="4" y="1438"/>
                    </a:lnTo>
                    <a:lnTo>
                      <a:pt x="3" y="1438"/>
                    </a:lnTo>
                    <a:lnTo>
                      <a:pt x="1" y="1439"/>
                    </a:lnTo>
                    <a:lnTo>
                      <a:pt x="1" y="1442"/>
                    </a:lnTo>
                    <a:lnTo>
                      <a:pt x="0" y="1447"/>
                    </a:lnTo>
                    <a:lnTo>
                      <a:pt x="0" y="1454"/>
                    </a:lnTo>
                    <a:lnTo>
                      <a:pt x="1" y="1458"/>
                    </a:lnTo>
                    <a:lnTo>
                      <a:pt x="2" y="1458"/>
                    </a:lnTo>
                    <a:lnTo>
                      <a:pt x="3" y="1455"/>
                    </a:lnTo>
                    <a:lnTo>
                      <a:pt x="6" y="1446"/>
                    </a:lnTo>
                    <a:lnTo>
                      <a:pt x="10" y="1439"/>
                    </a:lnTo>
                    <a:lnTo>
                      <a:pt x="12" y="1440"/>
                    </a:lnTo>
                    <a:lnTo>
                      <a:pt x="15" y="1438"/>
                    </a:lnTo>
                    <a:lnTo>
                      <a:pt x="18" y="1435"/>
                    </a:lnTo>
                    <a:lnTo>
                      <a:pt x="21" y="1430"/>
                    </a:lnTo>
                    <a:lnTo>
                      <a:pt x="23" y="1422"/>
                    </a:lnTo>
                    <a:lnTo>
                      <a:pt x="24" y="1415"/>
                    </a:lnTo>
                    <a:lnTo>
                      <a:pt x="25" y="1413"/>
                    </a:lnTo>
                    <a:lnTo>
                      <a:pt x="26" y="1410"/>
                    </a:lnTo>
                    <a:lnTo>
                      <a:pt x="27" y="1409"/>
                    </a:lnTo>
                    <a:lnTo>
                      <a:pt x="30" y="1408"/>
                    </a:lnTo>
                    <a:lnTo>
                      <a:pt x="34" y="1409"/>
                    </a:lnTo>
                    <a:lnTo>
                      <a:pt x="36" y="1409"/>
                    </a:lnTo>
                    <a:lnTo>
                      <a:pt x="39" y="1407"/>
                    </a:lnTo>
                    <a:lnTo>
                      <a:pt x="42" y="1400"/>
                    </a:lnTo>
                    <a:lnTo>
                      <a:pt x="46" y="1392"/>
                    </a:lnTo>
                    <a:lnTo>
                      <a:pt x="48" y="1387"/>
                    </a:lnTo>
                    <a:lnTo>
                      <a:pt x="50" y="1385"/>
                    </a:lnTo>
                    <a:lnTo>
                      <a:pt x="52" y="1384"/>
                    </a:lnTo>
                    <a:lnTo>
                      <a:pt x="54" y="1384"/>
                    </a:lnTo>
                    <a:lnTo>
                      <a:pt x="55" y="1385"/>
                    </a:lnTo>
                    <a:lnTo>
                      <a:pt x="57" y="1385"/>
                    </a:lnTo>
                    <a:lnTo>
                      <a:pt x="59" y="1384"/>
                    </a:lnTo>
                    <a:lnTo>
                      <a:pt x="61" y="1383"/>
                    </a:lnTo>
                    <a:lnTo>
                      <a:pt x="62" y="1381"/>
                    </a:lnTo>
                    <a:lnTo>
                      <a:pt x="65" y="1377"/>
                    </a:lnTo>
                    <a:lnTo>
                      <a:pt x="66" y="1375"/>
                    </a:lnTo>
                    <a:lnTo>
                      <a:pt x="66" y="1371"/>
                    </a:lnTo>
                    <a:lnTo>
                      <a:pt x="68" y="1365"/>
                    </a:lnTo>
                    <a:lnTo>
                      <a:pt x="70" y="1362"/>
                    </a:lnTo>
                    <a:lnTo>
                      <a:pt x="72" y="1361"/>
                    </a:lnTo>
                    <a:lnTo>
                      <a:pt x="75" y="1361"/>
                    </a:lnTo>
                    <a:lnTo>
                      <a:pt x="77" y="1364"/>
                    </a:lnTo>
                    <a:lnTo>
                      <a:pt x="79" y="1369"/>
                    </a:lnTo>
                    <a:lnTo>
                      <a:pt x="82" y="1372"/>
                    </a:lnTo>
                    <a:lnTo>
                      <a:pt x="85" y="1374"/>
                    </a:lnTo>
                    <a:lnTo>
                      <a:pt x="88" y="1375"/>
                    </a:lnTo>
                    <a:lnTo>
                      <a:pt x="91" y="1375"/>
                    </a:lnTo>
                    <a:lnTo>
                      <a:pt x="92" y="1375"/>
                    </a:lnTo>
                    <a:lnTo>
                      <a:pt x="93" y="1373"/>
                    </a:lnTo>
                    <a:lnTo>
                      <a:pt x="92" y="1369"/>
                    </a:lnTo>
                    <a:lnTo>
                      <a:pt x="89" y="1361"/>
                    </a:lnTo>
                    <a:lnTo>
                      <a:pt x="85" y="1354"/>
                    </a:lnTo>
                    <a:lnTo>
                      <a:pt x="84" y="1351"/>
                    </a:lnTo>
                    <a:lnTo>
                      <a:pt x="83" y="1349"/>
                    </a:lnTo>
                    <a:lnTo>
                      <a:pt x="83" y="1347"/>
                    </a:lnTo>
                    <a:lnTo>
                      <a:pt x="84" y="1346"/>
                    </a:lnTo>
                    <a:lnTo>
                      <a:pt x="88" y="1345"/>
                    </a:lnTo>
                    <a:lnTo>
                      <a:pt x="92" y="1343"/>
                    </a:lnTo>
                    <a:lnTo>
                      <a:pt x="96" y="1342"/>
                    </a:lnTo>
                    <a:lnTo>
                      <a:pt x="98" y="1340"/>
                    </a:lnTo>
                    <a:lnTo>
                      <a:pt x="99" y="1338"/>
                    </a:lnTo>
                    <a:lnTo>
                      <a:pt x="101" y="1335"/>
                    </a:lnTo>
                    <a:lnTo>
                      <a:pt x="106" y="1325"/>
                    </a:lnTo>
                    <a:lnTo>
                      <a:pt x="115" y="1310"/>
                    </a:lnTo>
                    <a:lnTo>
                      <a:pt x="126" y="1294"/>
                    </a:lnTo>
                    <a:lnTo>
                      <a:pt x="132" y="1281"/>
                    </a:lnTo>
                    <a:lnTo>
                      <a:pt x="136" y="1271"/>
                    </a:lnTo>
                    <a:lnTo>
                      <a:pt x="143" y="1258"/>
                    </a:lnTo>
                    <a:lnTo>
                      <a:pt x="149" y="1245"/>
                    </a:lnTo>
                    <a:lnTo>
                      <a:pt x="153" y="1237"/>
                    </a:lnTo>
                    <a:lnTo>
                      <a:pt x="158" y="1225"/>
                    </a:lnTo>
                    <a:lnTo>
                      <a:pt x="166" y="1207"/>
                    </a:lnTo>
                    <a:lnTo>
                      <a:pt x="172" y="1189"/>
                    </a:lnTo>
                    <a:lnTo>
                      <a:pt x="175" y="1180"/>
                    </a:lnTo>
                    <a:lnTo>
                      <a:pt x="179" y="1174"/>
                    </a:lnTo>
                    <a:lnTo>
                      <a:pt x="190" y="1159"/>
                    </a:lnTo>
                    <a:lnTo>
                      <a:pt x="195" y="1153"/>
                    </a:lnTo>
                    <a:lnTo>
                      <a:pt x="199" y="1148"/>
                    </a:lnTo>
                    <a:lnTo>
                      <a:pt x="201" y="1146"/>
                    </a:lnTo>
                    <a:lnTo>
                      <a:pt x="202" y="1145"/>
                    </a:lnTo>
                    <a:lnTo>
                      <a:pt x="203" y="1145"/>
                    </a:lnTo>
                    <a:lnTo>
                      <a:pt x="203" y="1146"/>
                    </a:lnTo>
                    <a:lnTo>
                      <a:pt x="203" y="1153"/>
                    </a:lnTo>
                    <a:lnTo>
                      <a:pt x="202" y="1158"/>
                    </a:lnTo>
                    <a:lnTo>
                      <a:pt x="200" y="1162"/>
                    </a:lnTo>
                    <a:lnTo>
                      <a:pt x="198" y="1163"/>
                    </a:lnTo>
                    <a:lnTo>
                      <a:pt x="196" y="1164"/>
                    </a:lnTo>
                    <a:lnTo>
                      <a:pt x="194" y="1164"/>
                    </a:lnTo>
                    <a:lnTo>
                      <a:pt x="192" y="1166"/>
                    </a:lnTo>
                    <a:lnTo>
                      <a:pt x="189" y="1172"/>
                    </a:lnTo>
                    <a:lnTo>
                      <a:pt x="181" y="1189"/>
                    </a:lnTo>
                    <a:lnTo>
                      <a:pt x="177" y="1201"/>
                    </a:lnTo>
                    <a:lnTo>
                      <a:pt x="176" y="1207"/>
                    </a:lnTo>
                    <a:lnTo>
                      <a:pt x="174" y="1214"/>
                    </a:lnTo>
                    <a:lnTo>
                      <a:pt x="172" y="1221"/>
                    </a:lnTo>
                    <a:lnTo>
                      <a:pt x="169" y="1225"/>
                    </a:lnTo>
                    <a:lnTo>
                      <a:pt x="167" y="1232"/>
                    </a:lnTo>
                    <a:lnTo>
                      <a:pt x="164" y="1242"/>
                    </a:lnTo>
                    <a:lnTo>
                      <a:pt x="159" y="1254"/>
                    </a:lnTo>
                    <a:lnTo>
                      <a:pt x="153" y="1263"/>
                    </a:lnTo>
                    <a:lnTo>
                      <a:pt x="147" y="1269"/>
                    </a:lnTo>
                    <a:lnTo>
                      <a:pt x="142" y="1274"/>
                    </a:lnTo>
                    <a:lnTo>
                      <a:pt x="140" y="1276"/>
                    </a:lnTo>
                    <a:lnTo>
                      <a:pt x="137" y="1278"/>
                    </a:lnTo>
                    <a:lnTo>
                      <a:pt x="136" y="1280"/>
                    </a:lnTo>
                    <a:lnTo>
                      <a:pt x="136" y="1283"/>
                    </a:lnTo>
                    <a:lnTo>
                      <a:pt x="136" y="1286"/>
                    </a:lnTo>
                    <a:lnTo>
                      <a:pt x="137" y="1288"/>
                    </a:lnTo>
                    <a:lnTo>
                      <a:pt x="138" y="1290"/>
                    </a:lnTo>
                    <a:lnTo>
                      <a:pt x="141" y="1291"/>
                    </a:lnTo>
                    <a:lnTo>
                      <a:pt x="142" y="1293"/>
                    </a:lnTo>
                    <a:lnTo>
                      <a:pt x="143" y="1295"/>
                    </a:lnTo>
                    <a:lnTo>
                      <a:pt x="142" y="1297"/>
                    </a:lnTo>
                    <a:lnTo>
                      <a:pt x="141" y="1300"/>
                    </a:lnTo>
                    <a:lnTo>
                      <a:pt x="137" y="1307"/>
                    </a:lnTo>
                    <a:lnTo>
                      <a:pt x="135" y="1313"/>
                    </a:lnTo>
                    <a:lnTo>
                      <a:pt x="135" y="1318"/>
                    </a:lnTo>
                    <a:lnTo>
                      <a:pt x="136" y="1320"/>
                    </a:lnTo>
                    <a:lnTo>
                      <a:pt x="143" y="1312"/>
                    </a:lnTo>
                    <a:lnTo>
                      <a:pt x="148" y="1304"/>
                    </a:lnTo>
                    <a:lnTo>
                      <a:pt x="154" y="1299"/>
                    </a:lnTo>
                    <a:lnTo>
                      <a:pt x="163" y="1288"/>
                    </a:lnTo>
                    <a:lnTo>
                      <a:pt x="165" y="1282"/>
                    </a:lnTo>
                    <a:lnTo>
                      <a:pt x="167" y="1271"/>
                    </a:lnTo>
                    <a:lnTo>
                      <a:pt x="169" y="1260"/>
                    </a:lnTo>
                    <a:lnTo>
                      <a:pt x="169" y="1255"/>
                    </a:lnTo>
                    <a:lnTo>
                      <a:pt x="169" y="1252"/>
                    </a:lnTo>
                    <a:lnTo>
                      <a:pt x="169" y="1244"/>
                    </a:lnTo>
                    <a:lnTo>
                      <a:pt x="170" y="1239"/>
                    </a:lnTo>
                    <a:lnTo>
                      <a:pt x="172" y="1234"/>
                    </a:lnTo>
                    <a:lnTo>
                      <a:pt x="175" y="1228"/>
                    </a:lnTo>
                    <a:lnTo>
                      <a:pt x="180" y="1221"/>
                    </a:lnTo>
                    <a:lnTo>
                      <a:pt x="198" y="1202"/>
                    </a:lnTo>
                    <a:lnTo>
                      <a:pt x="205" y="1196"/>
                    </a:lnTo>
                    <a:lnTo>
                      <a:pt x="208" y="1192"/>
                    </a:lnTo>
                    <a:lnTo>
                      <a:pt x="211" y="1186"/>
                    </a:lnTo>
                    <a:lnTo>
                      <a:pt x="213" y="1184"/>
                    </a:lnTo>
                    <a:lnTo>
                      <a:pt x="215" y="1181"/>
                    </a:lnTo>
                    <a:lnTo>
                      <a:pt x="216" y="1183"/>
                    </a:lnTo>
                    <a:lnTo>
                      <a:pt x="218" y="1185"/>
                    </a:lnTo>
                    <a:lnTo>
                      <a:pt x="219" y="1186"/>
                    </a:lnTo>
                    <a:lnTo>
                      <a:pt x="219" y="1186"/>
                    </a:lnTo>
                    <a:lnTo>
                      <a:pt x="220" y="1186"/>
                    </a:lnTo>
                    <a:lnTo>
                      <a:pt x="221" y="1186"/>
                    </a:lnTo>
                    <a:lnTo>
                      <a:pt x="224" y="1183"/>
                    </a:lnTo>
                    <a:lnTo>
                      <a:pt x="227" y="1179"/>
                    </a:lnTo>
                    <a:lnTo>
                      <a:pt x="228" y="1174"/>
                    </a:lnTo>
                    <a:lnTo>
                      <a:pt x="229" y="1170"/>
                    </a:lnTo>
                    <a:lnTo>
                      <a:pt x="230" y="1167"/>
                    </a:lnTo>
                    <a:lnTo>
                      <a:pt x="229" y="1165"/>
                    </a:lnTo>
                    <a:lnTo>
                      <a:pt x="229" y="1162"/>
                    </a:lnTo>
                    <a:lnTo>
                      <a:pt x="229" y="1158"/>
                    </a:lnTo>
                    <a:lnTo>
                      <a:pt x="230" y="1154"/>
                    </a:lnTo>
                    <a:lnTo>
                      <a:pt x="232" y="1150"/>
                    </a:lnTo>
                    <a:lnTo>
                      <a:pt x="233" y="1147"/>
                    </a:lnTo>
                    <a:lnTo>
                      <a:pt x="235" y="1145"/>
                    </a:lnTo>
                    <a:lnTo>
                      <a:pt x="236" y="1145"/>
                    </a:lnTo>
                    <a:lnTo>
                      <a:pt x="238" y="1146"/>
                    </a:lnTo>
                    <a:lnTo>
                      <a:pt x="238" y="1147"/>
                    </a:lnTo>
                    <a:lnTo>
                      <a:pt x="239" y="1149"/>
                    </a:lnTo>
                    <a:lnTo>
                      <a:pt x="243" y="1157"/>
                    </a:lnTo>
                    <a:lnTo>
                      <a:pt x="249" y="1162"/>
                    </a:lnTo>
                    <a:lnTo>
                      <a:pt x="252" y="1165"/>
                    </a:lnTo>
                    <a:lnTo>
                      <a:pt x="253" y="1166"/>
                    </a:lnTo>
                    <a:lnTo>
                      <a:pt x="257" y="1168"/>
                    </a:lnTo>
                    <a:lnTo>
                      <a:pt x="267" y="1174"/>
                    </a:lnTo>
                    <a:lnTo>
                      <a:pt x="271" y="1174"/>
                    </a:lnTo>
                    <a:lnTo>
                      <a:pt x="273" y="1173"/>
                    </a:lnTo>
                    <a:lnTo>
                      <a:pt x="275" y="1172"/>
                    </a:lnTo>
                    <a:lnTo>
                      <a:pt x="277" y="1170"/>
                    </a:lnTo>
                    <a:lnTo>
                      <a:pt x="280" y="1168"/>
                    </a:lnTo>
                    <a:lnTo>
                      <a:pt x="283" y="1168"/>
                    </a:lnTo>
                    <a:lnTo>
                      <a:pt x="288" y="1169"/>
                    </a:lnTo>
                    <a:lnTo>
                      <a:pt x="295" y="1172"/>
                    </a:lnTo>
                    <a:lnTo>
                      <a:pt x="306" y="1181"/>
                    </a:lnTo>
                    <a:lnTo>
                      <a:pt x="315" y="1188"/>
                    </a:lnTo>
                    <a:lnTo>
                      <a:pt x="322" y="1194"/>
                    </a:lnTo>
                    <a:lnTo>
                      <a:pt x="327" y="1200"/>
                    </a:lnTo>
                    <a:lnTo>
                      <a:pt x="331" y="1202"/>
                    </a:lnTo>
                    <a:lnTo>
                      <a:pt x="337" y="1203"/>
                    </a:lnTo>
                    <a:lnTo>
                      <a:pt x="341" y="1203"/>
                    </a:lnTo>
                    <a:lnTo>
                      <a:pt x="346" y="1205"/>
                    </a:lnTo>
                    <a:lnTo>
                      <a:pt x="349" y="1206"/>
                    </a:lnTo>
                    <a:lnTo>
                      <a:pt x="352" y="1209"/>
                    </a:lnTo>
                    <a:lnTo>
                      <a:pt x="354" y="1214"/>
                    </a:lnTo>
                    <a:lnTo>
                      <a:pt x="355" y="1223"/>
                    </a:lnTo>
                    <a:lnTo>
                      <a:pt x="354" y="1241"/>
                    </a:lnTo>
                    <a:lnTo>
                      <a:pt x="354" y="1256"/>
                    </a:lnTo>
                    <a:lnTo>
                      <a:pt x="354" y="1261"/>
                    </a:lnTo>
                    <a:lnTo>
                      <a:pt x="355" y="1266"/>
                    </a:lnTo>
                    <a:lnTo>
                      <a:pt x="357" y="1271"/>
                    </a:lnTo>
                    <a:lnTo>
                      <a:pt x="361" y="1275"/>
                    </a:lnTo>
                    <a:lnTo>
                      <a:pt x="371" y="1285"/>
                    </a:lnTo>
                    <a:lnTo>
                      <a:pt x="386" y="1302"/>
                    </a:lnTo>
                    <a:lnTo>
                      <a:pt x="400" y="1320"/>
                    </a:lnTo>
                    <a:lnTo>
                      <a:pt x="411" y="1330"/>
                    </a:lnTo>
                    <a:lnTo>
                      <a:pt x="415" y="1333"/>
                    </a:lnTo>
                    <a:lnTo>
                      <a:pt x="420" y="1335"/>
                    </a:lnTo>
                    <a:lnTo>
                      <a:pt x="426" y="1335"/>
                    </a:lnTo>
                    <a:lnTo>
                      <a:pt x="430" y="1337"/>
                    </a:lnTo>
                    <a:lnTo>
                      <a:pt x="435" y="1338"/>
                    </a:lnTo>
                    <a:lnTo>
                      <a:pt x="439" y="1340"/>
                    </a:lnTo>
                    <a:lnTo>
                      <a:pt x="442" y="1345"/>
                    </a:lnTo>
                    <a:lnTo>
                      <a:pt x="444" y="1351"/>
                    </a:lnTo>
                    <a:lnTo>
                      <a:pt x="447" y="1361"/>
                    </a:lnTo>
                    <a:lnTo>
                      <a:pt x="451" y="1370"/>
                    </a:lnTo>
                    <a:lnTo>
                      <a:pt x="455" y="1380"/>
                    </a:lnTo>
                    <a:lnTo>
                      <a:pt x="459" y="1389"/>
                    </a:lnTo>
                    <a:lnTo>
                      <a:pt x="466" y="1404"/>
                    </a:lnTo>
                    <a:lnTo>
                      <a:pt x="470" y="1410"/>
                    </a:lnTo>
                    <a:lnTo>
                      <a:pt x="471" y="1412"/>
                    </a:lnTo>
                    <a:lnTo>
                      <a:pt x="472" y="1419"/>
                    </a:lnTo>
                    <a:lnTo>
                      <a:pt x="473" y="1426"/>
                    </a:lnTo>
                    <a:lnTo>
                      <a:pt x="472" y="1432"/>
                    </a:lnTo>
                    <a:lnTo>
                      <a:pt x="471" y="1440"/>
                    </a:lnTo>
                    <a:lnTo>
                      <a:pt x="469" y="1449"/>
                    </a:lnTo>
                    <a:lnTo>
                      <a:pt x="467" y="1454"/>
                    </a:lnTo>
                    <a:lnTo>
                      <a:pt x="466" y="1458"/>
                    </a:lnTo>
                    <a:lnTo>
                      <a:pt x="467" y="1461"/>
                    </a:lnTo>
                    <a:lnTo>
                      <a:pt x="469" y="1464"/>
                    </a:lnTo>
                    <a:lnTo>
                      <a:pt x="474" y="1471"/>
                    </a:lnTo>
                    <a:lnTo>
                      <a:pt x="480" y="1476"/>
                    </a:lnTo>
                    <a:lnTo>
                      <a:pt x="487" y="1482"/>
                    </a:lnTo>
                    <a:lnTo>
                      <a:pt x="495" y="1488"/>
                    </a:lnTo>
                    <a:lnTo>
                      <a:pt x="498" y="1493"/>
                    </a:lnTo>
                    <a:lnTo>
                      <a:pt x="501" y="1497"/>
                    </a:lnTo>
                    <a:lnTo>
                      <a:pt x="503" y="1502"/>
                    </a:lnTo>
                    <a:lnTo>
                      <a:pt x="505" y="1508"/>
                    </a:lnTo>
                    <a:lnTo>
                      <a:pt x="514" y="1530"/>
                    </a:lnTo>
                    <a:lnTo>
                      <a:pt x="520" y="1550"/>
                    </a:lnTo>
                    <a:lnTo>
                      <a:pt x="522" y="1562"/>
                    </a:lnTo>
                    <a:lnTo>
                      <a:pt x="524" y="1573"/>
                    </a:lnTo>
                    <a:lnTo>
                      <a:pt x="525" y="1586"/>
                    </a:lnTo>
                    <a:lnTo>
                      <a:pt x="525" y="1601"/>
                    </a:lnTo>
                    <a:lnTo>
                      <a:pt x="523" y="1615"/>
                    </a:lnTo>
                    <a:lnTo>
                      <a:pt x="521" y="1630"/>
                    </a:lnTo>
                    <a:lnTo>
                      <a:pt x="517" y="1642"/>
                    </a:lnTo>
                    <a:lnTo>
                      <a:pt x="513" y="1655"/>
                    </a:lnTo>
                    <a:lnTo>
                      <a:pt x="509" y="1668"/>
                    </a:lnTo>
                    <a:lnTo>
                      <a:pt x="506" y="1679"/>
                    </a:lnTo>
                    <a:lnTo>
                      <a:pt x="504" y="1691"/>
                    </a:lnTo>
                    <a:lnTo>
                      <a:pt x="504" y="1701"/>
                    </a:lnTo>
                    <a:lnTo>
                      <a:pt x="506" y="1713"/>
                    </a:lnTo>
                    <a:lnTo>
                      <a:pt x="509" y="1725"/>
                    </a:lnTo>
                    <a:lnTo>
                      <a:pt x="515" y="1739"/>
                    </a:lnTo>
                    <a:lnTo>
                      <a:pt x="521" y="1754"/>
                    </a:lnTo>
                    <a:lnTo>
                      <a:pt x="533" y="1781"/>
                    </a:lnTo>
                    <a:lnTo>
                      <a:pt x="545" y="1806"/>
                    </a:lnTo>
                    <a:lnTo>
                      <a:pt x="554" y="1830"/>
                    </a:lnTo>
                    <a:lnTo>
                      <a:pt x="565" y="1854"/>
                    </a:lnTo>
                    <a:lnTo>
                      <a:pt x="570" y="1865"/>
                    </a:lnTo>
                    <a:lnTo>
                      <a:pt x="575" y="1874"/>
                    </a:lnTo>
                    <a:lnTo>
                      <a:pt x="581" y="1882"/>
                    </a:lnTo>
                    <a:lnTo>
                      <a:pt x="586" y="1888"/>
                    </a:lnTo>
                    <a:lnTo>
                      <a:pt x="598" y="1894"/>
                    </a:lnTo>
                    <a:lnTo>
                      <a:pt x="613" y="1900"/>
                    </a:lnTo>
                    <a:lnTo>
                      <a:pt x="620" y="1902"/>
                    </a:lnTo>
                    <a:lnTo>
                      <a:pt x="627" y="1905"/>
                    </a:lnTo>
                    <a:lnTo>
                      <a:pt x="632" y="1910"/>
                    </a:lnTo>
                    <a:lnTo>
                      <a:pt x="635" y="1915"/>
                    </a:lnTo>
                    <a:lnTo>
                      <a:pt x="641" y="1926"/>
                    </a:lnTo>
                    <a:lnTo>
                      <a:pt x="649" y="1940"/>
                    </a:lnTo>
                    <a:lnTo>
                      <a:pt x="656" y="1954"/>
                    </a:lnTo>
                    <a:lnTo>
                      <a:pt x="659" y="1963"/>
                    </a:lnTo>
                    <a:lnTo>
                      <a:pt x="661" y="1970"/>
                    </a:lnTo>
                    <a:lnTo>
                      <a:pt x="662" y="1981"/>
                    </a:lnTo>
                    <a:lnTo>
                      <a:pt x="666" y="1992"/>
                    </a:lnTo>
                    <a:lnTo>
                      <a:pt x="670" y="2002"/>
                    </a:lnTo>
                    <a:lnTo>
                      <a:pt x="684" y="2012"/>
                    </a:lnTo>
                    <a:lnTo>
                      <a:pt x="696" y="2022"/>
                    </a:lnTo>
                    <a:lnTo>
                      <a:pt x="698" y="2036"/>
                    </a:lnTo>
                    <a:lnTo>
                      <a:pt x="698" y="2042"/>
                    </a:lnTo>
                    <a:lnTo>
                      <a:pt x="696" y="2043"/>
                    </a:lnTo>
                    <a:lnTo>
                      <a:pt x="693" y="2045"/>
                    </a:lnTo>
                    <a:lnTo>
                      <a:pt x="692" y="2047"/>
                    </a:lnTo>
                    <a:lnTo>
                      <a:pt x="691" y="2049"/>
                    </a:lnTo>
                    <a:lnTo>
                      <a:pt x="691" y="2052"/>
                    </a:lnTo>
                    <a:lnTo>
                      <a:pt x="692" y="2054"/>
                    </a:lnTo>
                    <a:lnTo>
                      <a:pt x="705" y="2064"/>
                    </a:lnTo>
                    <a:lnTo>
                      <a:pt x="721" y="2072"/>
                    </a:lnTo>
                    <a:lnTo>
                      <a:pt x="726" y="2078"/>
                    </a:lnTo>
                    <a:lnTo>
                      <a:pt x="733" y="2088"/>
                    </a:lnTo>
                    <a:lnTo>
                      <a:pt x="735" y="2092"/>
                    </a:lnTo>
                    <a:lnTo>
                      <a:pt x="737" y="2097"/>
                    </a:lnTo>
                    <a:lnTo>
                      <a:pt x="739" y="2102"/>
                    </a:lnTo>
                    <a:lnTo>
                      <a:pt x="739" y="2107"/>
                    </a:lnTo>
                    <a:lnTo>
                      <a:pt x="739" y="2114"/>
                    </a:lnTo>
                    <a:lnTo>
                      <a:pt x="740" y="2118"/>
                    </a:lnTo>
                    <a:lnTo>
                      <a:pt x="742" y="2122"/>
                    </a:lnTo>
                    <a:lnTo>
                      <a:pt x="746" y="2127"/>
                    </a:lnTo>
                    <a:lnTo>
                      <a:pt x="759" y="2132"/>
                    </a:lnTo>
                    <a:lnTo>
                      <a:pt x="771" y="2137"/>
                    </a:lnTo>
                    <a:lnTo>
                      <a:pt x="777" y="2141"/>
                    </a:lnTo>
                    <a:lnTo>
                      <a:pt x="780" y="2141"/>
                    </a:lnTo>
                    <a:lnTo>
                      <a:pt x="781" y="2142"/>
                    </a:lnTo>
                    <a:lnTo>
                      <a:pt x="782" y="2143"/>
                    </a:lnTo>
                    <a:lnTo>
                      <a:pt x="783" y="2144"/>
                    </a:lnTo>
                    <a:lnTo>
                      <a:pt x="783" y="2148"/>
                    </a:lnTo>
                    <a:lnTo>
                      <a:pt x="783" y="2155"/>
                    </a:lnTo>
                    <a:lnTo>
                      <a:pt x="784" y="2159"/>
                    </a:lnTo>
                    <a:lnTo>
                      <a:pt x="785" y="2162"/>
                    </a:lnTo>
                    <a:lnTo>
                      <a:pt x="787" y="2163"/>
                    </a:lnTo>
                    <a:lnTo>
                      <a:pt x="791" y="2163"/>
                    </a:lnTo>
                    <a:lnTo>
                      <a:pt x="796" y="2161"/>
                    </a:lnTo>
                    <a:lnTo>
                      <a:pt x="799" y="2159"/>
                    </a:lnTo>
                    <a:lnTo>
                      <a:pt x="801" y="2157"/>
                    </a:lnTo>
                    <a:lnTo>
                      <a:pt x="802" y="2154"/>
                    </a:lnTo>
                    <a:lnTo>
                      <a:pt x="801" y="2151"/>
                    </a:lnTo>
                    <a:lnTo>
                      <a:pt x="799" y="2144"/>
                    </a:lnTo>
                    <a:lnTo>
                      <a:pt x="795" y="2138"/>
                    </a:lnTo>
                    <a:lnTo>
                      <a:pt x="790" y="2133"/>
                    </a:lnTo>
                    <a:lnTo>
                      <a:pt x="783" y="2126"/>
                    </a:lnTo>
                    <a:lnTo>
                      <a:pt x="776" y="2115"/>
                    </a:lnTo>
                    <a:lnTo>
                      <a:pt x="768" y="2104"/>
                    </a:lnTo>
                    <a:lnTo>
                      <a:pt x="763" y="2093"/>
                    </a:lnTo>
                    <a:lnTo>
                      <a:pt x="761" y="2086"/>
                    </a:lnTo>
                    <a:lnTo>
                      <a:pt x="759" y="2081"/>
                    </a:lnTo>
                    <a:lnTo>
                      <a:pt x="757" y="2077"/>
                    </a:lnTo>
                    <a:lnTo>
                      <a:pt x="754" y="2074"/>
                    </a:lnTo>
                    <a:lnTo>
                      <a:pt x="752" y="2073"/>
                    </a:lnTo>
                    <a:lnTo>
                      <a:pt x="744" y="2062"/>
                    </a:lnTo>
                    <a:lnTo>
                      <a:pt x="728" y="2040"/>
                    </a:lnTo>
                    <a:lnTo>
                      <a:pt x="713" y="2018"/>
                    </a:lnTo>
                    <a:lnTo>
                      <a:pt x="705" y="2007"/>
                    </a:lnTo>
                    <a:lnTo>
                      <a:pt x="702" y="2001"/>
                    </a:lnTo>
                    <a:lnTo>
                      <a:pt x="697" y="1991"/>
                    </a:lnTo>
                    <a:lnTo>
                      <a:pt x="696" y="1986"/>
                    </a:lnTo>
                    <a:lnTo>
                      <a:pt x="694" y="1981"/>
                    </a:lnTo>
                    <a:lnTo>
                      <a:pt x="694" y="1977"/>
                    </a:lnTo>
                    <a:lnTo>
                      <a:pt x="696" y="1974"/>
                    </a:lnTo>
                    <a:lnTo>
                      <a:pt x="701" y="1970"/>
                    </a:lnTo>
                    <a:lnTo>
                      <a:pt x="705" y="1968"/>
                    </a:lnTo>
                    <a:lnTo>
                      <a:pt x="707" y="1967"/>
                    </a:lnTo>
                    <a:lnTo>
                      <a:pt x="710" y="1968"/>
                    </a:lnTo>
                    <a:lnTo>
                      <a:pt x="713" y="1970"/>
                    </a:lnTo>
                    <a:lnTo>
                      <a:pt x="715" y="1975"/>
                    </a:lnTo>
                    <a:lnTo>
                      <a:pt x="720" y="1985"/>
                    </a:lnTo>
                    <a:lnTo>
                      <a:pt x="725" y="1996"/>
                    </a:lnTo>
                    <a:lnTo>
                      <a:pt x="727" y="1999"/>
                    </a:lnTo>
                    <a:lnTo>
                      <a:pt x="728" y="2003"/>
                    </a:lnTo>
                    <a:lnTo>
                      <a:pt x="728" y="2007"/>
                    </a:lnTo>
                    <a:lnTo>
                      <a:pt x="729" y="2011"/>
                    </a:lnTo>
                    <a:lnTo>
                      <a:pt x="729" y="2017"/>
                    </a:lnTo>
                    <a:lnTo>
                      <a:pt x="730" y="2021"/>
                    </a:lnTo>
                    <a:lnTo>
                      <a:pt x="734" y="2025"/>
                    </a:lnTo>
                    <a:lnTo>
                      <a:pt x="739" y="2029"/>
                    </a:lnTo>
                    <a:lnTo>
                      <a:pt x="745" y="2035"/>
                    </a:lnTo>
                    <a:lnTo>
                      <a:pt x="751" y="2043"/>
                    </a:lnTo>
                    <a:lnTo>
                      <a:pt x="759" y="2051"/>
                    </a:lnTo>
                    <a:lnTo>
                      <a:pt x="766" y="2061"/>
                    </a:lnTo>
                    <a:lnTo>
                      <a:pt x="778" y="2077"/>
                    </a:lnTo>
                    <a:lnTo>
                      <a:pt x="785" y="2088"/>
                    </a:lnTo>
                    <a:lnTo>
                      <a:pt x="789" y="2093"/>
                    </a:lnTo>
                    <a:lnTo>
                      <a:pt x="796" y="2100"/>
                    </a:lnTo>
                    <a:lnTo>
                      <a:pt x="807" y="2109"/>
                    </a:lnTo>
                    <a:lnTo>
                      <a:pt x="817" y="2119"/>
                    </a:lnTo>
                    <a:lnTo>
                      <a:pt x="828" y="2128"/>
                    </a:lnTo>
                    <a:lnTo>
                      <a:pt x="836" y="2136"/>
                    </a:lnTo>
                    <a:lnTo>
                      <a:pt x="844" y="2144"/>
                    </a:lnTo>
                    <a:lnTo>
                      <a:pt x="851" y="2155"/>
                    </a:lnTo>
                    <a:lnTo>
                      <a:pt x="858" y="2166"/>
                    </a:lnTo>
                    <a:lnTo>
                      <a:pt x="867" y="2175"/>
                    </a:lnTo>
                    <a:lnTo>
                      <a:pt x="871" y="2179"/>
                    </a:lnTo>
                    <a:lnTo>
                      <a:pt x="873" y="2182"/>
                    </a:lnTo>
                    <a:lnTo>
                      <a:pt x="874" y="2186"/>
                    </a:lnTo>
                    <a:lnTo>
                      <a:pt x="873" y="2192"/>
                    </a:lnTo>
                    <a:lnTo>
                      <a:pt x="870" y="2200"/>
                    </a:lnTo>
                    <a:lnTo>
                      <a:pt x="867" y="2206"/>
                    </a:lnTo>
                    <a:lnTo>
                      <a:pt x="866" y="2208"/>
                    </a:lnTo>
                    <a:lnTo>
                      <a:pt x="865" y="2211"/>
                    </a:lnTo>
                    <a:lnTo>
                      <a:pt x="865" y="2212"/>
                    </a:lnTo>
                    <a:lnTo>
                      <a:pt x="866" y="2215"/>
                    </a:lnTo>
                    <a:lnTo>
                      <a:pt x="870" y="2222"/>
                    </a:lnTo>
                    <a:lnTo>
                      <a:pt x="879" y="2231"/>
                    </a:lnTo>
                    <a:lnTo>
                      <a:pt x="893" y="2244"/>
                    </a:lnTo>
                    <a:lnTo>
                      <a:pt x="908" y="2255"/>
                    </a:lnTo>
                    <a:lnTo>
                      <a:pt x="916" y="2262"/>
                    </a:lnTo>
                    <a:lnTo>
                      <a:pt x="927" y="2267"/>
                    </a:lnTo>
                    <a:lnTo>
                      <a:pt x="939" y="2273"/>
                    </a:lnTo>
                    <a:lnTo>
                      <a:pt x="953" y="2278"/>
                    </a:lnTo>
                    <a:lnTo>
                      <a:pt x="978" y="2289"/>
                    </a:lnTo>
                    <a:lnTo>
                      <a:pt x="997" y="2297"/>
                    </a:lnTo>
                    <a:lnTo>
                      <a:pt x="1014" y="2307"/>
                    </a:lnTo>
                    <a:lnTo>
                      <a:pt x="1033" y="2319"/>
                    </a:lnTo>
                    <a:lnTo>
                      <a:pt x="1043" y="2324"/>
                    </a:lnTo>
                    <a:lnTo>
                      <a:pt x="1051" y="2328"/>
                    </a:lnTo>
                    <a:lnTo>
                      <a:pt x="1054" y="2329"/>
                    </a:lnTo>
                    <a:lnTo>
                      <a:pt x="1057" y="2329"/>
                    </a:lnTo>
                    <a:lnTo>
                      <a:pt x="1059" y="2329"/>
                    </a:lnTo>
                    <a:lnTo>
                      <a:pt x="1061" y="2327"/>
                    </a:lnTo>
                    <a:lnTo>
                      <a:pt x="1068" y="2318"/>
                    </a:lnTo>
                    <a:lnTo>
                      <a:pt x="1077" y="2311"/>
                    </a:lnTo>
                    <a:lnTo>
                      <a:pt x="1081" y="2307"/>
                    </a:lnTo>
                    <a:lnTo>
                      <a:pt x="1087" y="2305"/>
                    </a:lnTo>
                    <a:lnTo>
                      <a:pt x="1090" y="2304"/>
                    </a:lnTo>
                    <a:lnTo>
                      <a:pt x="1093" y="2305"/>
                    </a:lnTo>
                    <a:lnTo>
                      <a:pt x="1097" y="2309"/>
                    </a:lnTo>
                    <a:lnTo>
                      <a:pt x="1101" y="2315"/>
                    </a:lnTo>
                    <a:lnTo>
                      <a:pt x="1103" y="2317"/>
                    </a:lnTo>
                    <a:lnTo>
                      <a:pt x="1107" y="2320"/>
                    </a:lnTo>
                    <a:lnTo>
                      <a:pt x="1111" y="2322"/>
                    </a:lnTo>
                    <a:lnTo>
                      <a:pt x="1116" y="2322"/>
                    </a:lnTo>
                    <a:lnTo>
                      <a:pt x="1122" y="2324"/>
                    </a:lnTo>
                    <a:lnTo>
                      <a:pt x="1129" y="2327"/>
                    </a:lnTo>
                    <a:lnTo>
                      <a:pt x="1134" y="2330"/>
                    </a:lnTo>
                    <a:lnTo>
                      <a:pt x="1140" y="2334"/>
                    </a:lnTo>
                    <a:lnTo>
                      <a:pt x="1150" y="2343"/>
                    </a:lnTo>
                    <a:lnTo>
                      <a:pt x="1158" y="2351"/>
                    </a:lnTo>
                    <a:lnTo>
                      <a:pt x="1167" y="2358"/>
                    </a:lnTo>
                    <a:lnTo>
                      <a:pt x="1182" y="2365"/>
                    </a:lnTo>
                    <a:lnTo>
                      <a:pt x="1196" y="2372"/>
                    </a:lnTo>
                    <a:lnTo>
                      <a:pt x="1205" y="2377"/>
                    </a:lnTo>
                    <a:lnTo>
                      <a:pt x="1207" y="2377"/>
                    </a:lnTo>
                    <a:lnTo>
                      <a:pt x="1210" y="2376"/>
                    </a:lnTo>
                    <a:lnTo>
                      <a:pt x="1215" y="2375"/>
                    </a:lnTo>
                    <a:lnTo>
                      <a:pt x="1219" y="2373"/>
                    </a:lnTo>
                    <a:lnTo>
                      <a:pt x="1221" y="2373"/>
                    </a:lnTo>
                    <a:lnTo>
                      <a:pt x="1223" y="2373"/>
                    </a:lnTo>
                    <a:lnTo>
                      <a:pt x="1225" y="2373"/>
                    </a:lnTo>
                    <a:lnTo>
                      <a:pt x="1227" y="2374"/>
                    </a:lnTo>
                    <a:lnTo>
                      <a:pt x="1230" y="2376"/>
                    </a:lnTo>
                    <a:lnTo>
                      <a:pt x="1232" y="2379"/>
                    </a:lnTo>
                    <a:lnTo>
                      <a:pt x="1235" y="2383"/>
                    </a:lnTo>
                    <a:lnTo>
                      <a:pt x="1239" y="2388"/>
                    </a:lnTo>
                    <a:lnTo>
                      <a:pt x="1248" y="2407"/>
                    </a:lnTo>
                    <a:lnTo>
                      <a:pt x="1255" y="2420"/>
                    </a:lnTo>
                    <a:lnTo>
                      <a:pt x="1262" y="2428"/>
                    </a:lnTo>
                    <a:lnTo>
                      <a:pt x="1269" y="2437"/>
                    </a:lnTo>
                    <a:lnTo>
                      <a:pt x="1274" y="2443"/>
                    </a:lnTo>
                    <a:lnTo>
                      <a:pt x="1283" y="2449"/>
                    </a:lnTo>
                    <a:lnTo>
                      <a:pt x="1292" y="2457"/>
                    </a:lnTo>
                    <a:lnTo>
                      <a:pt x="1303" y="2464"/>
                    </a:lnTo>
                    <a:lnTo>
                      <a:pt x="1321" y="2476"/>
                    </a:lnTo>
                    <a:lnTo>
                      <a:pt x="1331" y="2484"/>
                    </a:lnTo>
                    <a:lnTo>
                      <a:pt x="1337" y="2489"/>
                    </a:lnTo>
                    <a:lnTo>
                      <a:pt x="1349" y="2496"/>
                    </a:lnTo>
                    <a:lnTo>
                      <a:pt x="1356" y="2499"/>
                    </a:lnTo>
                    <a:lnTo>
                      <a:pt x="1363" y="2501"/>
                    </a:lnTo>
                    <a:lnTo>
                      <a:pt x="1371" y="2501"/>
                    </a:lnTo>
                    <a:lnTo>
                      <a:pt x="1378" y="2500"/>
                    </a:lnTo>
                    <a:lnTo>
                      <a:pt x="1384" y="2496"/>
                    </a:lnTo>
                    <a:lnTo>
                      <a:pt x="1390" y="2493"/>
                    </a:lnTo>
                    <a:lnTo>
                      <a:pt x="1394" y="2490"/>
                    </a:lnTo>
                    <a:lnTo>
                      <a:pt x="1398" y="2487"/>
                    </a:lnTo>
                    <a:lnTo>
                      <a:pt x="1401" y="2485"/>
                    </a:lnTo>
                    <a:lnTo>
                      <a:pt x="1405" y="2484"/>
                    </a:lnTo>
                    <a:lnTo>
                      <a:pt x="1410" y="2485"/>
                    </a:lnTo>
                    <a:lnTo>
                      <a:pt x="1417" y="2488"/>
                    </a:lnTo>
                    <a:lnTo>
                      <a:pt x="1422" y="2491"/>
                    </a:lnTo>
                    <a:lnTo>
                      <a:pt x="1428" y="2493"/>
                    </a:lnTo>
                    <a:lnTo>
                      <a:pt x="1432" y="2494"/>
                    </a:lnTo>
                    <a:lnTo>
                      <a:pt x="1437" y="2495"/>
                    </a:lnTo>
                    <a:lnTo>
                      <a:pt x="1441" y="2496"/>
                    </a:lnTo>
                    <a:lnTo>
                      <a:pt x="1443" y="2497"/>
                    </a:lnTo>
                    <a:lnTo>
                      <a:pt x="1445" y="2501"/>
                    </a:lnTo>
                    <a:lnTo>
                      <a:pt x="1446" y="2505"/>
                    </a:lnTo>
                    <a:lnTo>
                      <a:pt x="1446" y="2510"/>
                    </a:lnTo>
                    <a:lnTo>
                      <a:pt x="1449" y="2515"/>
                    </a:lnTo>
                    <a:lnTo>
                      <a:pt x="1452" y="2521"/>
                    </a:lnTo>
                    <a:lnTo>
                      <a:pt x="1456" y="2527"/>
                    </a:lnTo>
                    <a:lnTo>
                      <a:pt x="1458" y="2533"/>
                    </a:lnTo>
                    <a:lnTo>
                      <a:pt x="1458" y="2540"/>
                    </a:lnTo>
                    <a:lnTo>
                      <a:pt x="1458" y="2545"/>
                    </a:lnTo>
                    <a:lnTo>
                      <a:pt x="1456" y="2548"/>
                    </a:lnTo>
                    <a:lnTo>
                      <a:pt x="1453" y="2552"/>
                    </a:lnTo>
                    <a:lnTo>
                      <a:pt x="1449" y="2557"/>
                    </a:lnTo>
                    <a:lnTo>
                      <a:pt x="1430" y="2577"/>
                    </a:lnTo>
                    <a:lnTo>
                      <a:pt x="1409" y="2599"/>
                    </a:lnTo>
                    <a:lnTo>
                      <a:pt x="1400" y="2610"/>
                    </a:lnTo>
                    <a:lnTo>
                      <a:pt x="1392" y="2620"/>
                    </a:lnTo>
                    <a:lnTo>
                      <a:pt x="1385" y="2627"/>
                    </a:lnTo>
                    <a:lnTo>
                      <a:pt x="1382" y="2634"/>
                    </a:lnTo>
                    <a:lnTo>
                      <a:pt x="1382" y="2640"/>
                    </a:lnTo>
                    <a:lnTo>
                      <a:pt x="1382" y="2648"/>
                    </a:lnTo>
                    <a:lnTo>
                      <a:pt x="1383" y="2657"/>
                    </a:lnTo>
                    <a:lnTo>
                      <a:pt x="1385" y="2665"/>
                    </a:lnTo>
                    <a:lnTo>
                      <a:pt x="1390" y="2681"/>
                    </a:lnTo>
                    <a:lnTo>
                      <a:pt x="1391" y="2687"/>
                    </a:lnTo>
                    <a:lnTo>
                      <a:pt x="1386" y="2691"/>
                    </a:lnTo>
                    <a:lnTo>
                      <a:pt x="1377" y="2702"/>
                    </a:lnTo>
                    <a:lnTo>
                      <a:pt x="1373" y="2708"/>
                    </a:lnTo>
                    <a:lnTo>
                      <a:pt x="1370" y="2715"/>
                    </a:lnTo>
                    <a:lnTo>
                      <a:pt x="1369" y="2720"/>
                    </a:lnTo>
                    <a:lnTo>
                      <a:pt x="1369" y="2723"/>
                    </a:lnTo>
                    <a:lnTo>
                      <a:pt x="1369" y="2727"/>
                    </a:lnTo>
                    <a:lnTo>
                      <a:pt x="1370" y="2730"/>
                    </a:lnTo>
                    <a:lnTo>
                      <a:pt x="1375" y="2736"/>
                    </a:lnTo>
                    <a:lnTo>
                      <a:pt x="1382" y="2745"/>
                    </a:lnTo>
                    <a:lnTo>
                      <a:pt x="1391" y="2753"/>
                    </a:lnTo>
                    <a:lnTo>
                      <a:pt x="1401" y="2763"/>
                    </a:lnTo>
                    <a:lnTo>
                      <a:pt x="1412" y="2773"/>
                    </a:lnTo>
                    <a:lnTo>
                      <a:pt x="1422" y="2786"/>
                    </a:lnTo>
                    <a:lnTo>
                      <a:pt x="1427" y="2793"/>
                    </a:lnTo>
                    <a:lnTo>
                      <a:pt x="1431" y="2800"/>
                    </a:lnTo>
                    <a:lnTo>
                      <a:pt x="1436" y="2809"/>
                    </a:lnTo>
                    <a:lnTo>
                      <a:pt x="1439" y="2817"/>
                    </a:lnTo>
                    <a:lnTo>
                      <a:pt x="1444" y="2833"/>
                    </a:lnTo>
                    <a:lnTo>
                      <a:pt x="1449" y="2845"/>
                    </a:lnTo>
                    <a:lnTo>
                      <a:pt x="1453" y="2855"/>
                    </a:lnTo>
                    <a:lnTo>
                      <a:pt x="1458" y="2862"/>
                    </a:lnTo>
                    <a:lnTo>
                      <a:pt x="1468" y="2875"/>
                    </a:lnTo>
                    <a:lnTo>
                      <a:pt x="1483" y="2890"/>
                    </a:lnTo>
                    <a:lnTo>
                      <a:pt x="1489" y="2896"/>
                    </a:lnTo>
                    <a:lnTo>
                      <a:pt x="1495" y="2900"/>
                    </a:lnTo>
                    <a:lnTo>
                      <a:pt x="1504" y="2904"/>
                    </a:lnTo>
                    <a:lnTo>
                      <a:pt x="1512" y="2908"/>
                    </a:lnTo>
                    <a:lnTo>
                      <a:pt x="1531" y="2916"/>
                    </a:lnTo>
                    <a:lnTo>
                      <a:pt x="1550" y="2923"/>
                    </a:lnTo>
                    <a:lnTo>
                      <a:pt x="1569" y="2930"/>
                    </a:lnTo>
                    <a:lnTo>
                      <a:pt x="1583" y="2938"/>
                    </a:lnTo>
                    <a:lnTo>
                      <a:pt x="1589" y="2941"/>
                    </a:lnTo>
                    <a:lnTo>
                      <a:pt x="1593" y="2944"/>
                    </a:lnTo>
                    <a:lnTo>
                      <a:pt x="1595" y="2948"/>
                    </a:lnTo>
                    <a:lnTo>
                      <a:pt x="1596" y="2951"/>
                    </a:lnTo>
                    <a:lnTo>
                      <a:pt x="1594" y="2964"/>
                    </a:lnTo>
                    <a:lnTo>
                      <a:pt x="1593" y="2976"/>
                    </a:lnTo>
                    <a:lnTo>
                      <a:pt x="1593" y="2988"/>
                    </a:lnTo>
                    <a:lnTo>
                      <a:pt x="1595" y="2997"/>
                    </a:lnTo>
                    <a:lnTo>
                      <a:pt x="1597" y="3004"/>
                    </a:lnTo>
                    <a:lnTo>
                      <a:pt x="1598" y="3007"/>
                    </a:lnTo>
                    <a:lnTo>
                      <a:pt x="1598" y="3010"/>
                    </a:lnTo>
                    <a:lnTo>
                      <a:pt x="1597" y="3012"/>
                    </a:lnTo>
                    <a:lnTo>
                      <a:pt x="1594" y="3021"/>
                    </a:lnTo>
                    <a:lnTo>
                      <a:pt x="1591" y="3034"/>
                    </a:lnTo>
                    <a:lnTo>
                      <a:pt x="1590" y="3048"/>
                    </a:lnTo>
                    <a:lnTo>
                      <a:pt x="1588" y="3056"/>
                    </a:lnTo>
                    <a:lnTo>
                      <a:pt x="1585" y="3063"/>
                    </a:lnTo>
                    <a:lnTo>
                      <a:pt x="1582" y="3076"/>
                    </a:lnTo>
                    <a:lnTo>
                      <a:pt x="1581" y="3087"/>
                    </a:lnTo>
                    <a:lnTo>
                      <a:pt x="1580" y="3093"/>
                    </a:lnTo>
                    <a:lnTo>
                      <a:pt x="1576" y="3093"/>
                    </a:lnTo>
                    <a:lnTo>
                      <a:pt x="1569" y="3092"/>
                    </a:lnTo>
                    <a:lnTo>
                      <a:pt x="1564" y="3092"/>
                    </a:lnTo>
                    <a:lnTo>
                      <a:pt x="1561" y="3093"/>
                    </a:lnTo>
                    <a:lnTo>
                      <a:pt x="1559" y="3094"/>
                    </a:lnTo>
                    <a:lnTo>
                      <a:pt x="1559" y="3096"/>
                    </a:lnTo>
                    <a:lnTo>
                      <a:pt x="1569" y="3102"/>
                    </a:lnTo>
                    <a:lnTo>
                      <a:pt x="1578" y="3107"/>
                    </a:lnTo>
                    <a:lnTo>
                      <a:pt x="1579" y="3112"/>
                    </a:lnTo>
                    <a:lnTo>
                      <a:pt x="1578" y="3118"/>
                    </a:lnTo>
                    <a:lnTo>
                      <a:pt x="1577" y="3122"/>
                    </a:lnTo>
                    <a:lnTo>
                      <a:pt x="1576" y="3125"/>
                    </a:lnTo>
                    <a:lnTo>
                      <a:pt x="1571" y="3130"/>
                    </a:lnTo>
                    <a:lnTo>
                      <a:pt x="1566" y="3134"/>
                    </a:lnTo>
                    <a:lnTo>
                      <a:pt x="1566" y="3143"/>
                    </a:lnTo>
                    <a:lnTo>
                      <a:pt x="1569" y="3154"/>
                    </a:lnTo>
                    <a:lnTo>
                      <a:pt x="1571" y="3158"/>
                    </a:lnTo>
                    <a:lnTo>
                      <a:pt x="1571" y="3160"/>
                    </a:lnTo>
                    <a:lnTo>
                      <a:pt x="1571" y="3162"/>
                    </a:lnTo>
                    <a:lnTo>
                      <a:pt x="1570" y="3164"/>
                    </a:lnTo>
                    <a:lnTo>
                      <a:pt x="1568" y="3171"/>
                    </a:lnTo>
                    <a:lnTo>
                      <a:pt x="1566" y="3178"/>
                    </a:lnTo>
                    <a:lnTo>
                      <a:pt x="1559" y="3190"/>
                    </a:lnTo>
                    <a:lnTo>
                      <a:pt x="1550" y="3206"/>
                    </a:lnTo>
                    <a:lnTo>
                      <a:pt x="1544" y="3212"/>
                    </a:lnTo>
                    <a:lnTo>
                      <a:pt x="1540" y="3216"/>
                    </a:lnTo>
                    <a:lnTo>
                      <a:pt x="1538" y="3219"/>
                    </a:lnTo>
                    <a:lnTo>
                      <a:pt x="1537" y="3221"/>
                    </a:lnTo>
                    <a:lnTo>
                      <a:pt x="1540" y="3224"/>
                    </a:lnTo>
                    <a:lnTo>
                      <a:pt x="1542" y="3225"/>
                    </a:lnTo>
                    <a:lnTo>
                      <a:pt x="1544" y="3226"/>
                    </a:lnTo>
                    <a:lnTo>
                      <a:pt x="1545" y="3227"/>
                    </a:lnTo>
                    <a:lnTo>
                      <a:pt x="1545" y="3227"/>
                    </a:lnTo>
                    <a:lnTo>
                      <a:pt x="1544" y="3228"/>
                    </a:lnTo>
                    <a:lnTo>
                      <a:pt x="1541" y="3230"/>
                    </a:lnTo>
                    <a:lnTo>
                      <a:pt x="1539" y="3230"/>
                    </a:lnTo>
                    <a:lnTo>
                      <a:pt x="1538" y="3231"/>
                    </a:lnTo>
                    <a:lnTo>
                      <a:pt x="1538" y="3233"/>
                    </a:lnTo>
                    <a:lnTo>
                      <a:pt x="1544" y="3239"/>
                    </a:lnTo>
                    <a:lnTo>
                      <a:pt x="1547" y="3246"/>
                    </a:lnTo>
                    <a:lnTo>
                      <a:pt x="1541" y="3251"/>
                    </a:lnTo>
                    <a:lnTo>
                      <a:pt x="1535" y="3256"/>
                    </a:lnTo>
                    <a:lnTo>
                      <a:pt x="1536" y="3260"/>
                    </a:lnTo>
                    <a:lnTo>
                      <a:pt x="1536" y="3271"/>
                    </a:lnTo>
                    <a:lnTo>
                      <a:pt x="1536" y="3277"/>
                    </a:lnTo>
                    <a:lnTo>
                      <a:pt x="1537" y="3283"/>
                    </a:lnTo>
                    <a:lnTo>
                      <a:pt x="1537" y="3285"/>
                    </a:lnTo>
                    <a:lnTo>
                      <a:pt x="1536" y="3289"/>
                    </a:lnTo>
                    <a:lnTo>
                      <a:pt x="1535" y="3291"/>
                    </a:lnTo>
                    <a:lnTo>
                      <a:pt x="1533" y="3292"/>
                    </a:lnTo>
                    <a:lnTo>
                      <a:pt x="1528" y="3295"/>
                    </a:lnTo>
                    <a:lnTo>
                      <a:pt x="1523" y="3297"/>
                    </a:lnTo>
                    <a:lnTo>
                      <a:pt x="1520" y="3298"/>
                    </a:lnTo>
                    <a:lnTo>
                      <a:pt x="1519" y="3299"/>
                    </a:lnTo>
                    <a:lnTo>
                      <a:pt x="1519" y="3301"/>
                    </a:lnTo>
                    <a:lnTo>
                      <a:pt x="1523" y="3304"/>
                    </a:lnTo>
                    <a:lnTo>
                      <a:pt x="1527" y="3308"/>
                    </a:lnTo>
                    <a:lnTo>
                      <a:pt x="1529" y="3312"/>
                    </a:lnTo>
                    <a:lnTo>
                      <a:pt x="1529" y="3314"/>
                    </a:lnTo>
                    <a:lnTo>
                      <a:pt x="1528" y="3315"/>
                    </a:lnTo>
                    <a:lnTo>
                      <a:pt x="1526" y="3316"/>
                    </a:lnTo>
                    <a:lnTo>
                      <a:pt x="1523" y="3316"/>
                    </a:lnTo>
                    <a:lnTo>
                      <a:pt x="1522" y="3316"/>
                    </a:lnTo>
                    <a:lnTo>
                      <a:pt x="1522" y="3316"/>
                    </a:lnTo>
                    <a:lnTo>
                      <a:pt x="1520" y="3317"/>
                    </a:lnTo>
                    <a:lnTo>
                      <a:pt x="1522" y="3319"/>
                    </a:lnTo>
                    <a:lnTo>
                      <a:pt x="1523" y="3321"/>
                    </a:lnTo>
                    <a:lnTo>
                      <a:pt x="1525" y="3323"/>
                    </a:lnTo>
                    <a:lnTo>
                      <a:pt x="1525" y="3323"/>
                    </a:lnTo>
                    <a:lnTo>
                      <a:pt x="1526" y="3324"/>
                    </a:lnTo>
                    <a:lnTo>
                      <a:pt x="1525" y="3325"/>
                    </a:lnTo>
                    <a:lnTo>
                      <a:pt x="1524" y="3327"/>
                    </a:lnTo>
                    <a:lnTo>
                      <a:pt x="1517" y="3329"/>
                    </a:lnTo>
                    <a:lnTo>
                      <a:pt x="1511" y="3333"/>
                    </a:lnTo>
                    <a:lnTo>
                      <a:pt x="1509" y="3334"/>
                    </a:lnTo>
                    <a:lnTo>
                      <a:pt x="1508" y="3336"/>
                    </a:lnTo>
                    <a:lnTo>
                      <a:pt x="1509" y="3338"/>
                    </a:lnTo>
                    <a:lnTo>
                      <a:pt x="1511" y="3341"/>
                    </a:lnTo>
                    <a:lnTo>
                      <a:pt x="1514" y="3343"/>
                    </a:lnTo>
                    <a:lnTo>
                      <a:pt x="1515" y="3344"/>
                    </a:lnTo>
                    <a:lnTo>
                      <a:pt x="1516" y="3344"/>
                    </a:lnTo>
                    <a:lnTo>
                      <a:pt x="1517" y="3344"/>
                    </a:lnTo>
                    <a:lnTo>
                      <a:pt x="1518" y="3340"/>
                    </a:lnTo>
                    <a:lnTo>
                      <a:pt x="1522" y="3337"/>
                    </a:lnTo>
                    <a:lnTo>
                      <a:pt x="1526" y="3335"/>
                    </a:lnTo>
                    <a:lnTo>
                      <a:pt x="1529" y="3334"/>
                    </a:lnTo>
                    <a:lnTo>
                      <a:pt x="1530" y="3335"/>
                    </a:lnTo>
                    <a:lnTo>
                      <a:pt x="1531" y="3336"/>
                    </a:lnTo>
                    <a:lnTo>
                      <a:pt x="1530" y="3337"/>
                    </a:lnTo>
                    <a:lnTo>
                      <a:pt x="1530" y="3339"/>
                    </a:lnTo>
                    <a:lnTo>
                      <a:pt x="1525" y="3344"/>
                    </a:lnTo>
                    <a:lnTo>
                      <a:pt x="1520" y="3347"/>
                    </a:lnTo>
                    <a:lnTo>
                      <a:pt x="1525" y="3353"/>
                    </a:lnTo>
                    <a:lnTo>
                      <a:pt x="1528" y="3360"/>
                    </a:lnTo>
                    <a:lnTo>
                      <a:pt x="1524" y="3362"/>
                    </a:lnTo>
                    <a:lnTo>
                      <a:pt x="1520" y="3366"/>
                    </a:lnTo>
                    <a:lnTo>
                      <a:pt x="1523" y="3370"/>
                    </a:lnTo>
                    <a:lnTo>
                      <a:pt x="1526" y="3372"/>
                    </a:lnTo>
                    <a:lnTo>
                      <a:pt x="1524" y="3375"/>
                    </a:lnTo>
                    <a:lnTo>
                      <a:pt x="1522" y="3378"/>
                    </a:lnTo>
                    <a:lnTo>
                      <a:pt x="1525" y="3380"/>
                    </a:lnTo>
                    <a:lnTo>
                      <a:pt x="1528" y="3382"/>
                    </a:lnTo>
                    <a:lnTo>
                      <a:pt x="1535" y="3385"/>
                    </a:lnTo>
                    <a:lnTo>
                      <a:pt x="1550" y="3391"/>
                    </a:lnTo>
                    <a:lnTo>
                      <a:pt x="1566" y="3399"/>
                    </a:lnTo>
                    <a:lnTo>
                      <a:pt x="1576" y="3402"/>
                    </a:lnTo>
                    <a:lnTo>
                      <a:pt x="1580" y="3403"/>
                    </a:lnTo>
                    <a:lnTo>
                      <a:pt x="1582" y="3404"/>
                    </a:lnTo>
                    <a:lnTo>
                      <a:pt x="1583" y="3405"/>
                    </a:lnTo>
                    <a:lnTo>
                      <a:pt x="1582" y="3406"/>
                    </a:lnTo>
                    <a:lnTo>
                      <a:pt x="1584" y="3406"/>
                    </a:lnTo>
                    <a:lnTo>
                      <a:pt x="1584" y="3406"/>
                    </a:lnTo>
                    <a:lnTo>
                      <a:pt x="1586" y="3407"/>
                    </a:lnTo>
                    <a:lnTo>
                      <a:pt x="1590" y="3407"/>
                    </a:lnTo>
                    <a:lnTo>
                      <a:pt x="1595" y="3408"/>
                    </a:lnTo>
                    <a:lnTo>
                      <a:pt x="1610" y="3409"/>
                    </a:lnTo>
                    <a:lnTo>
                      <a:pt x="1625" y="3410"/>
                    </a:lnTo>
                    <a:lnTo>
                      <a:pt x="1639" y="3411"/>
                    </a:lnTo>
                    <a:lnTo>
                      <a:pt x="1649" y="3413"/>
                    </a:lnTo>
                    <a:lnTo>
                      <a:pt x="1656" y="3413"/>
                    </a:lnTo>
                    <a:lnTo>
                      <a:pt x="1659" y="3412"/>
                    </a:lnTo>
                    <a:lnTo>
                      <a:pt x="1663" y="3411"/>
                    </a:lnTo>
                    <a:lnTo>
                      <a:pt x="1671" y="3408"/>
                    </a:lnTo>
                    <a:lnTo>
                      <a:pt x="1685" y="3405"/>
                    </a:lnTo>
                    <a:lnTo>
                      <a:pt x="1693" y="3406"/>
                    </a:lnTo>
                    <a:lnTo>
                      <a:pt x="1699" y="3406"/>
                    </a:lnTo>
                    <a:lnTo>
                      <a:pt x="1703" y="3406"/>
                    </a:lnTo>
                    <a:lnTo>
                      <a:pt x="1708" y="3406"/>
                    </a:lnTo>
                    <a:lnTo>
                      <a:pt x="1713" y="3405"/>
                    </a:lnTo>
                    <a:lnTo>
                      <a:pt x="1713" y="3405"/>
                    </a:lnTo>
                    <a:close/>
                    <a:moveTo>
                      <a:pt x="2792" y="423"/>
                    </a:moveTo>
                    <a:lnTo>
                      <a:pt x="2810" y="439"/>
                    </a:lnTo>
                    <a:lnTo>
                      <a:pt x="2828" y="455"/>
                    </a:lnTo>
                    <a:lnTo>
                      <a:pt x="2845" y="471"/>
                    </a:lnTo>
                    <a:lnTo>
                      <a:pt x="2862" y="488"/>
                    </a:lnTo>
                    <a:lnTo>
                      <a:pt x="2863" y="489"/>
                    </a:lnTo>
                    <a:lnTo>
                      <a:pt x="2863" y="489"/>
                    </a:lnTo>
                    <a:lnTo>
                      <a:pt x="2863" y="490"/>
                    </a:lnTo>
                    <a:lnTo>
                      <a:pt x="2875" y="503"/>
                    </a:lnTo>
                    <a:lnTo>
                      <a:pt x="2888" y="515"/>
                    </a:lnTo>
                    <a:lnTo>
                      <a:pt x="2896" y="523"/>
                    </a:lnTo>
                    <a:lnTo>
                      <a:pt x="2904" y="531"/>
                    </a:lnTo>
                    <a:lnTo>
                      <a:pt x="2906" y="534"/>
                    </a:lnTo>
                    <a:lnTo>
                      <a:pt x="2909" y="537"/>
                    </a:lnTo>
                    <a:lnTo>
                      <a:pt x="2915" y="544"/>
                    </a:lnTo>
                    <a:lnTo>
                      <a:pt x="2922" y="552"/>
                    </a:lnTo>
                    <a:lnTo>
                      <a:pt x="2929" y="559"/>
                    </a:lnTo>
                    <a:lnTo>
                      <a:pt x="2932" y="564"/>
                    </a:lnTo>
                    <a:lnTo>
                      <a:pt x="2935" y="567"/>
                    </a:lnTo>
                    <a:lnTo>
                      <a:pt x="2937" y="571"/>
                    </a:lnTo>
                    <a:lnTo>
                      <a:pt x="2937" y="573"/>
                    </a:lnTo>
                    <a:lnTo>
                      <a:pt x="2937" y="573"/>
                    </a:lnTo>
                    <a:lnTo>
                      <a:pt x="2937" y="573"/>
                    </a:lnTo>
                    <a:lnTo>
                      <a:pt x="2936" y="573"/>
                    </a:lnTo>
                    <a:lnTo>
                      <a:pt x="2932" y="566"/>
                    </a:lnTo>
                    <a:lnTo>
                      <a:pt x="2928" y="559"/>
                    </a:lnTo>
                    <a:lnTo>
                      <a:pt x="2921" y="555"/>
                    </a:lnTo>
                    <a:lnTo>
                      <a:pt x="2913" y="548"/>
                    </a:lnTo>
                    <a:lnTo>
                      <a:pt x="2906" y="539"/>
                    </a:lnTo>
                    <a:lnTo>
                      <a:pt x="2902" y="533"/>
                    </a:lnTo>
                    <a:lnTo>
                      <a:pt x="2896" y="526"/>
                    </a:lnTo>
                    <a:lnTo>
                      <a:pt x="2891" y="520"/>
                    </a:lnTo>
                    <a:lnTo>
                      <a:pt x="2884" y="513"/>
                    </a:lnTo>
                    <a:lnTo>
                      <a:pt x="2873" y="501"/>
                    </a:lnTo>
                    <a:lnTo>
                      <a:pt x="2875" y="506"/>
                    </a:lnTo>
                    <a:lnTo>
                      <a:pt x="2885" y="520"/>
                    </a:lnTo>
                    <a:lnTo>
                      <a:pt x="2895" y="537"/>
                    </a:lnTo>
                    <a:lnTo>
                      <a:pt x="2902" y="548"/>
                    </a:lnTo>
                    <a:lnTo>
                      <a:pt x="2905" y="552"/>
                    </a:lnTo>
                    <a:lnTo>
                      <a:pt x="2905" y="555"/>
                    </a:lnTo>
                    <a:lnTo>
                      <a:pt x="2902" y="555"/>
                    </a:lnTo>
                    <a:lnTo>
                      <a:pt x="2898" y="551"/>
                    </a:lnTo>
                    <a:lnTo>
                      <a:pt x="2889" y="541"/>
                    </a:lnTo>
                    <a:lnTo>
                      <a:pt x="2876" y="528"/>
                    </a:lnTo>
                    <a:lnTo>
                      <a:pt x="2863" y="513"/>
                    </a:lnTo>
                    <a:lnTo>
                      <a:pt x="2854" y="504"/>
                    </a:lnTo>
                    <a:lnTo>
                      <a:pt x="2852" y="501"/>
                    </a:lnTo>
                    <a:lnTo>
                      <a:pt x="2851" y="499"/>
                    </a:lnTo>
                    <a:lnTo>
                      <a:pt x="2852" y="499"/>
                    </a:lnTo>
                    <a:lnTo>
                      <a:pt x="2853" y="499"/>
                    </a:lnTo>
                    <a:lnTo>
                      <a:pt x="2855" y="499"/>
                    </a:lnTo>
                    <a:lnTo>
                      <a:pt x="2856" y="499"/>
                    </a:lnTo>
                    <a:lnTo>
                      <a:pt x="2857" y="499"/>
                    </a:lnTo>
                    <a:lnTo>
                      <a:pt x="2857" y="498"/>
                    </a:lnTo>
                    <a:lnTo>
                      <a:pt x="2849" y="490"/>
                    </a:lnTo>
                    <a:lnTo>
                      <a:pt x="2839" y="481"/>
                    </a:lnTo>
                    <a:lnTo>
                      <a:pt x="2834" y="475"/>
                    </a:lnTo>
                    <a:lnTo>
                      <a:pt x="2834" y="474"/>
                    </a:lnTo>
                    <a:lnTo>
                      <a:pt x="2836" y="474"/>
                    </a:lnTo>
                    <a:lnTo>
                      <a:pt x="2837" y="474"/>
                    </a:lnTo>
                    <a:lnTo>
                      <a:pt x="2837" y="474"/>
                    </a:lnTo>
                    <a:lnTo>
                      <a:pt x="2840" y="475"/>
                    </a:lnTo>
                    <a:lnTo>
                      <a:pt x="2841" y="475"/>
                    </a:lnTo>
                    <a:lnTo>
                      <a:pt x="2842" y="475"/>
                    </a:lnTo>
                    <a:lnTo>
                      <a:pt x="2841" y="474"/>
                    </a:lnTo>
                    <a:lnTo>
                      <a:pt x="2840" y="472"/>
                    </a:lnTo>
                    <a:lnTo>
                      <a:pt x="2832" y="468"/>
                    </a:lnTo>
                    <a:lnTo>
                      <a:pt x="2826" y="466"/>
                    </a:lnTo>
                    <a:lnTo>
                      <a:pt x="2819" y="459"/>
                    </a:lnTo>
                    <a:lnTo>
                      <a:pt x="2809" y="449"/>
                    </a:lnTo>
                    <a:lnTo>
                      <a:pt x="2808" y="449"/>
                    </a:lnTo>
                    <a:lnTo>
                      <a:pt x="2813" y="457"/>
                    </a:lnTo>
                    <a:lnTo>
                      <a:pt x="2812" y="456"/>
                    </a:lnTo>
                    <a:lnTo>
                      <a:pt x="2806" y="450"/>
                    </a:lnTo>
                    <a:lnTo>
                      <a:pt x="2798" y="441"/>
                    </a:lnTo>
                    <a:lnTo>
                      <a:pt x="2790" y="431"/>
                    </a:lnTo>
                    <a:lnTo>
                      <a:pt x="2788" y="430"/>
                    </a:lnTo>
                    <a:lnTo>
                      <a:pt x="2785" y="427"/>
                    </a:lnTo>
                    <a:lnTo>
                      <a:pt x="2782" y="425"/>
                    </a:lnTo>
                    <a:lnTo>
                      <a:pt x="2779" y="421"/>
                    </a:lnTo>
                    <a:lnTo>
                      <a:pt x="2785" y="426"/>
                    </a:lnTo>
                    <a:lnTo>
                      <a:pt x="2790" y="429"/>
                    </a:lnTo>
                    <a:lnTo>
                      <a:pt x="2782" y="421"/>
                    </a:lnTo>
                    <a:lnTo>
                      <a:pt x="2770" y="409"/>
                    </a:lnTo>
                    <a:lnTo>
                      <a:pt x="2759" y="399"/>
                    </a:lnTo>
                    <a:lnTo>
                      <a:pt x="2749" y="389"/>
                    </a:lnTo>
                    <a:lnTo>
                      <a:pt x="2751" y="388"/>
                    </a:lnTo>
                    <a:lnTo>
                      <a:pt x="2758" y="394"/>
                    </a:lnTo>
                    <a:lnTo>
                      <a:pt x="2767" y="402"/>
                    </a:lnTo>
                    <a:lnTo>
                      <a:pt x="2775" y="407"/>
                    </a:lnTo>
                    <a:lnTo>
                      <a:pt x="2788" y="420"/>
                    </a:lnTo>
                    <a:lnTo>
                      <a:pt x="2795" y="425"/>
                    </a:lnTo>
                    <a:lnTo>
                      <a:pt x="2793" y="424"/>
                    </a:lnTo>
                    <a:lnTo>
                      <a:pt x="2792" y="423"/>
                    </a:lnTo>
                    <a:close/>
                    <a:moveTo>
                      <a:pt x="3239" y="1053"/>
                    </a:moveTo>
                    <a:lnTo>
                      <a:pt x="3253" y="1090"/>
                    </a:lnTo>
                    <a:lnTo>
                      <a:pt x="3268" y="1129"/>
                    </a:lnTo>
                    <a:lnTo>
                      <a:pt x="3281" y="1168"/>
                    </a:lnTo>
                    <a:lnTo>
                      <a:pt x="3293" y="1208"/>
                    </a:lnTo>
                    <a:lnTo>
                      <a:pt x="3305" y="1247"/>
                    </a:lnTo>
                    <a:lnTo>
                      <a:pt x="3315" y="1287"/>
                    </a:lnTo>
                    <a:lnTo>
                      <a:pt x="3326" y="1328"/>
                    </a:lnTo>
                    <a:lnTo>
                      <a:pt x="3334" y="1369"/>
                    </a:lnTo>
                    <a:lnTo>
                      <a:pt x="3341" y="1410"/>
                    </a:lnTo>
                    <a:lnTo>
                      <a:pt x="3349" y="1452"/>
                    </a:lnTo>
                    <a:lnTo>
                      <a:pt x="3354" y="1494"/>
                    </a:lnTo>
                    <a:lnTo>
                      <a:pt x="3359" y="1536"/>
                    </a:lnTo>
                    <a:lnTo>
                      <a:pt x="3362" y="1579"/>
                    </a:lnTo>
                    <a:lnTo>
                      <a:pt x="3366" y="1622"/>
                    </a:lnTo>
                    <a:lnTo>
                      <a:pt x="3367" y="1664"/>
                    </a:lnTo>
                    <a:lnTo>
                      <a:pt x="3368" y="1707"/>
                    </a:lnTo>
                    <a:lnTo>
                      <a:pt x="3368" y="1738"/>
                    </a:lnTo>
                    <a:lnTo>
                      <a:pt x="3367" y="1768"/>
                    </a:lnTo>
                    <a:lnTo>
                      <a:pt x="3366" y="1799"/>
                    </a:lnTo>
                    <a:lnTo>
                      <a:pt x="3363" y="1829"/>
                    </a:lnTo>
                    <a:lnTo>
                      <a:pt x="3361" y="1859"/>
                    </a:lnTo>
                    <a:lnTo>
                      <a:pt x="3358" y="1889"/>
                    </a:lnTo>
                    <a:lnTo>
                      <a:pt x="3355" y="1918"/>
                    </a:lnTo>
                    <a:lnTo>
                      <a:pt x="3351" y="1948"/>
                    </a:lnTo>
                    <a:lnTo>
                      <a:pt x="3351" y="1948"/>
                    </a:lnTo>
                    <a:lnTo>
                      <a:pt x="3350" y="1956"/>
                    </a:lnTo>
                    <a:lnTo>
                      <a:pt x="3349" y="1957"/>
                    </a:lnTo>
                    <a:lnTo>
                      <a:pt x="3349" y="1949"/>
                    </a:lnTo>
                    <a:lnTo>
                      <a:pt x="3349" y="1937"/>
                    </a:lnTo>
                    <a:lnTo>
                      <a:pt x="3348" y="1923"/>
                    </a:lnTo>
                    <a:lnTo>
                      <a:pt x="3348" y="1916"/>
                    </a:lnTo>
                    <a:lnTo>
                      <a:pt x="3348" y="1914"/>
                    </a:lnTo>
                    <a:lnTo>
                      <a:pt x="3347" y="1913"/>
                    </a:lnTo>
                    <a:lnTo>
                      <a:pt x="3347" y="1912"/>
                    </a:lnTo>
                    <a:lnTo>
                      <a:pt x="3346" y="1913"/>
                    </a:lnTo>
                    <a:lnTo>
                      <a:pt x="3345" y="1918"/>
                    </a:lnTo>
                    <a:lnTo>
                      <a:pt x="3345" y="1923"/>
                    </a:lnTo>
                    <a:lnTo>
                      <a:pt x="3345" y="1930"/>
                    </a:lnTo>
                    <a:lnTo>
                      <a:pt x="3345" y="1938"/>
                    </a:lnTo>
                    <a:lnTo>
                      <a:pt x="3344" y="1953"/>
                    </a:lnTo>
                    <a:lnTo>
                      <a:pt x="3344" y="1968"/>
                    </a:lnTo>
                    <a:lnTo>
                      <a:pt x="3345" y="1967"/>
                    </a:lnTo>
                    <a:lnTo>
                      <a:pt x="3345" y="1971"/>
                    </a:lnTo>
                    <a:lnTo>
                      <a:pt x="3343" y="1985"/>
                    </a:lnTo>
                    <a:lnTo>
                      <a:pt x="3341" y="1997"/>
                    </a:lnTo>
                    <a:lnTo>
                      <a:pt x="3341" y="1998"/>
                    </a:lnTo>
                    <a:lnTo>
                      <a:pt x="3343" y="1992"/>
                    </a:lnTo>
                    <a:lnTo>
                      <a:pt x="3344" y="1989"/>
                    </a:lnTo>
                    <a:lnTo>
                      <a:pt x="3346" y="1982"/>
                    </a:lnTo>
                    <a:lnTo>
                      <a:pt x="3348" y="1970"/>
                    </a:lnTo>
                    <a:lnTo>
                      <a:pt x="3349" y="1962"/>
                    </a:lnTo>
                    <a:lnTo>
                      <a:pt x="3349" y="1963"/>
                    </a:lnTo>
                    <a:lnTo>
                      <a:pt x="3349" y="1963"/>
                    </a:lnTo>
                    <a:lnTo>
                      <a:pt x="3344" y="1998"/>
                    </a:lnTo>
                    <a:lnTo>
                      <a:pt x="3337" y="2032"/>
                    </a:lnTo>
                    <a:lnTo>
                      <a:pt x="3330" y="2067"/>
                    </a:lnTo>
                    <a:lnTo>
                      <a:pt x="3323" y="2100"/>
                    </a:lnTo>
                    <a:lnTo>
                      <a:pt x="3323" y="2100"/>
                    </a:lnTo>
                    <a:lnTo>
                      <a:pt x="3319" y="2110"/>
                    </a:lnTo>
                    <a:lnTo>
                      <a:pt x="3317" y="2120"/>
                    </a:lnTo>
                    <a:lnTo>
                      <a:pt x="3312" y="2136"/>
                    </a:lnTo>
                    <a:lnTo>
                      <a:pt x="3307" y="2152"/>
                    </a:lnTo>
                    <a:lnTo>
                      <a:pt x="3302" y="2164"/>
                    </a:lnTo>
                    <a:lnTo>
                      <a:pt x="3300" y="2170"/>
                    </a:lnTo>
                    <a:lnTo>
                      <a:pt x="3297" y="2174"/>
                    </a:lnTo>
                    <a:lnTo>
                      <a:pt x="3293" y="2180"/>
                    </a:lnTo>
                    <a:lnTo>
                      <a:pt x="3292" y="2182"/>
                    </a:lnTo>
                    <a:lnTo>
                      <a:pt x="3291" y="2184"/>
                    </a:lnTo>
                    <a:lnTo>
                      <a:pt x="3290" y="2183"/>
                    </a:lnTo>
                    <a:lnTo>
                      <a:pt x="3290" y="2181"/>
                    </a:lnTo>
                    <a:lnTo>
                      <a:pt x="3292" y="2170"/>
                    </a:lnTo>
                    <a:lnTo>
                      <a:pt x="3293" y="2153"/>
                    </a:lnTo>
                    <a:lnTo>
                      <a:pt x="3295" y="2138"/>
                    </a:lnTo>
                    <a:lnTo>
                      <a:pt x="3296" y="2131"/>
                    </a:lnTo>
                    <a:lnTo>
                      <a:pt x="3295" y="2127"/>
                    </a:lnTo>
                    <a:lnTo>
                      <a:pt x="3293" y="2115"/>
                    </a:lnTo>
                    <a:lnTo>
                      <a:pt x="3292" y="2108"/>
                    </a:lnTo>
                    <a:lnTo>
                      <a:pt x="3292" y="2100"/>
                    </a:lnTo>
                    <a:lnTo>
                      <a:pt x="3292" y="2092"/>
                    </a:lnTo>
                    <a:lnTo>
                      <a:pt x="3293" y="2085"/>
                    </a:lnTo>
                    <a:lnTo>
                      <a:pt x="3295" y="2073"/>
                    </a:lnTo>
                    <a:lnTo>
                      <a:pt x="3297" y="2062"/>
                    </a:lnTo>
                    <a:lnTo>
                      <a:pt x="3297" y="2052"/>
                    </a:lnTo>
                    <a:lnTo>
                      <a:pt x="3297" y="2045"/>
                    </a:lnTo>
                    <a:lnTo>
                      <a:pt x="3295" y="2032"/>
                    </a:lnTo>
                    <a:lnTo>
                      <a:pt x="3293" y="2012"/>
                    </a:lnTo>
                    <a:lnTo>
                      <a:pt x="3292" y="1992"/>
                    </a:lnTo>
                    <a:lnTo>
                      <a:pt x="3291" y="1980"/>
                    </a:lnTo>
                    <a:lnTo>
                      <a:pt x="3290" y="1971"/>
                    </a:lnTo>
                    <a:lnTo>
                      <a:pt x="3290" y="1959"/>
                    </a:lnTo>
                    <a:lnTo>
                      <a:pt x="3290" y="1946"/>
                    </a:lnTo>
                    <a:lnTo>
                      <a:pt x="3290" y="1938"/>
                    </a:lnTo>
                    <a:lnTo>
                      <a:pt x="3289" y="1938"/>
                    </a:lnTo>
                    <a:lnTo>
                      <a:pt x="3287" y="1945"/>
                    </a:lnTo>
                    <a:lnTo>
                      <a:pt x="3286" y="1955"/>
                    </a:lnTo>
                    <a:lnTo>
                      <a:pt x="3285" y="1962"/>
                    </a:lnTo>
                    <a:lnTo>
                      <a:pt x="3285" y="1964"/>
                    </a:lnTo>
                    <a:lnTo>
                      <a:pt x="3285" y="1964"/>
                    </a:lnTo>
                    <a:lnTo>
                      <a:pt x="3284" y="1964"/>
                    </a:lnTo>
                    <a:lnTo>
                      <a:pt x="3284" y="1964"/>
                    </a:lnTo>
                    <a:lnTo>
                      <a:pt x="3282" y="1962"/>
                    </a:lnTo>
                    <a:lnTo>
                      <a:pt x="3281" y="1958"/>
                    </a:lnTo>
                    <a:lnTo>
                      <a:pt x="3279" y="1949"/>
                    </a:lnTo>
                    <a:lnTo>
                      <a:pt x="3277" y="1946"/>
                    </a:lnTo>
                    <a:lnTo>
                      <a:pt x="3278" y="1956"/>
                    </a:lnTo>
                    <a:lnTo>
                      <a:pt x="3280" y="1966"/>
                    </a:lnTo>
                    <a:lnTo>
                      <a:pt x="3281" y="1970"/>
                    </a:lnTo>
                    <a:lnTo>
                      <a:pt x="3282" y="1979"/>
                    </a:lnTo>
                    <a:lnTo>
                      <a:pt x="3282" y="1986"/>
                    </a:lnTo>
                    <a:lnTo>
                      <a:pt x="3282" y="1996"/>
                    </a:lnTo>
                    <a:lnTo>
                      <a:pt x="3282" y="2004"/>
                    </a:lnTo>
                    <a:lnTo>
                      <a:pt x="3283" y="2010"/>
                    </a:lnTo>
                    <a:lnTo>
                      <a:pt x="3283" y="2020"/>
                    </a:lnTo>
                    <a:lnTo>
                      <a:pt x="3284" y="2033"/>
                    </a:lnTo>
                    <a:lnTo>
                      <a:pt x="3284" y="2047"/>
                    </a:lnTo>
                    <a:lnTo>
                      <a:pt x="3284" y="2053"/>
                    </a:lnTo>
                    <a:lnTo>
                      <a:pt x="3284" y="2065"/>
                    </a:lnTo>
                    <a:lnTo>
                      <a:pt x="3283" y="2085"/>
                    </a:lnTo>
                    <a:lnTo>
                      <a:pt x="3283" y="2095"/>
                    </a:lnTo>
                    <a:lnTo>
                      <a:pt x="3282" y="2109"/>
                    </a:lnTo>
                    <a:lnTo>
                      <a:pt x="3282" y="2121"/>
                    </a:lnTo>
                    <a:lnTo>
                      <a:pt x="3282" y="2128"/>
                    </a:lnTo>
                    <a:lnTo>
                      <a:pt x="3284" y="2131"/>
                    </a:lnTo>
                    <a:lnTo>
                      <a:pt x="3286" y="2135"/>
                    </a:lnTo>
                    <a:lnTo>
                      <a:pt x="3289" y="2140"/>
                    </a:lnTo>
                    <a:lnTo>
                      <a:pt x="3289" y="2145"/>
                    </a:lnTo>
                    <a:lnTo>
                      <a:pt x="3286" y="2157"/>
                    </a:lnTo>
                    <a:lnTo>
                      <a:pt x="3286" y="2165"/>
                    </a:lnTo>
                    <a:lnTo>
                      <a:pt x="3285" y="2179"/>
                    </a:lnTo>
                    <a:lnTo>
                      <a:pt x="3283" y="2197"/>
                    </a:lnTo>
                    <a:lnTo>
                      <a:pt x="3282" y="2202"/>
                    </a:lnTo>
                    <a:lnTo>
                      <a:pt x="3282" y="2207"/>
                    </a:lnTo>
                    <a:lnTo>
                      <a:pt x="3282" y="2209"/>
                    </a:lnTo>
                    <a:lnTo>
                      <a:pt x="3282" y="2210"/>
                    </a:lnTo>
                    <a:lnTo>
                      <a:pt x="3283" y="2210"/>
                    </a:lnTo>
                    <a:lnTo>
                      <a:pt x="3284" y="2209"/>
                    </a:lnTo>
                    <a:lnTo>
                      <a:pt x="3289" y="2200"/>
                    </a:lnTo>
                    <a:lnTo>
                      <a:pt x="3296" y="2185"/>
                    </a:lnTo>
                    <a:lnTo>
                      <a:pt x="3300" y="2179"/>
                    </a:lnTo>
                    <a:lnTo>
                      <a:pt x="3302" y="2174"/>
                    </a:lnTo>
                    <a:lnTo>
                      <a:pt x="3303" y="2173"/>
                    </a:lnTo>
                    <a:lnTo>
                      <a:pt x="3303" y="2173"/>
                    </a:lnTo>
                    <a:lnTo>
                      <a:pt x="3303" y="2174"/>
                    </a:lnTo>
                    <a:lnTo>
                      <a:pt x="3303" y="2176"/>
                    </a:lnTo>
                    <a:lnTo>
                      <a:pt x="3297" y="2194"/>
                    </a:lnTo>
                    <a:lnTo>
                      <a:pt x="3289" y="2220"/>
                    </a:lnTo>
                    <a:lnTo>
                      <a:pt x="3281" y="2245"/>
                    </a:lnTo>
                    <a:lnTo>
                      <a:pt x="3275" y="2263"/>
                    </a:lnTo>
                    <a:lnTo>
                      <a:pt x="3270" y="2277"/>
                    </a:lnTo>
                    <a:lnTo>
                      <a:pt x="3263" y="2294"/>
                    </a:lnTo>
                    <a:lnTo>
                      <a:pt x="3257" y="2312"/>
                    </a:lnTo>
                    <a:lnTo>
                      <a:pt x="3250" y="2327"/>
                    </a:lnTo>
                    <a:lnTo>
                      <a:pt x="3241" y="2348"/>
                    </a:lnTo>
                    <a:lnTo>
                      <a:pt x="3227" y="2376"/>
                    </a:lnTo>
                    <a:lnTo>
                      <a:pt x="3215" y="2403"/>
                    </a:lnTo>
                    <a:lnTo>
                      <a:pt x="3206" y="2422"/>
                    </a:lnTo>
                    <a:lnTo>
                      <a:pt x="3201" y="2434"/>
                    </a:lnTo>
                    <a:lnTo>
                      <a:pt x="3197" y="2443"/>
                    </a:lnTo>
                    <a:lnTo>
                      <a:pt x="3193" y="2453"/>
                    </a:lnTo>
                    <a:lnTo>
                      <a:pt x="3190" y="2462"/>
                    </a:lnTo>
                    <a:lnTo>
                      <a:pt x="3183" y="2475"/>
                    </a:lnTo>
                    <a:lnTo>
                      <a:pt x="3181" y="2481"/>
                    </a:lnTo>
                    <a:lnTo>
                      <a:pt x="3177" y="2490"/>
                    </a:lnTo>
                    <a:lnTo>
                      <a:pt x="3171" y="2506"/>
                    </a:lnTo>
                    <a:lnTo>
                      <a:pt x="3163" y="2519"/>
                    </a:lnTo>
                    <a:lnTo>
                      <a:pt x="3153" y="2539"/>
                    </a:lnTo>
                    <a:lnTo>
                      <a:pt x="3141" y="2560"/>
                    </a:lnTo>
                    <a:lnTo>
                      <a:pt x="3135" y="2571"/>
                    </a:lnTo>
                    <a:lnTo>
                      <a:pt x="3130" y="2579"/>
                    </a:lnTo>
                    <a:lnTo>
                      <a:pt x="3121" y="2594"/>
                    </a:lnTo>
                    <a:lnTo>
                      <a:pt x="3112" y="2610"/>
                    </a:lnTo>
                    <a:lnTo>
                      <a:pt x="3106" y="2620"/>
                    </a:lnTo>
                    <a:lnTo>
                      <a:pt x="3096" y="2633"/>
                    </a:lnTo>
                    <a:lnTo>
                      <a:pt x="3090" y="2644"/>
                    </a:lnTo>
                    <a:lnTo>
                      <a:pt x="3088" y="2648"/>
                    </a:lnTo>
                    <a:lnTo>
                      <a:pt x="3085" y="2654"/>
                    </a:lnTo>
                    <a:lnTo>
                      <a:pt x="3081" y="2660"/>
                    </a:lnTo>
                    <a:lnTo>
                      <a:pt x="3074" y="2669"/>
                    </a:lnTo>
                    <a:lnTo>
                      <a:pt x="3067" y="2680"/>
                    </a:lnTo>
                    <a:lnTo>
                      <a:pt x="3062" y="2688"/>
                    </a:lnTo>
                    <a:lnTo>
                      <a:pt x="3059" y="2691"/>
                    </a:lnTo>
                    <a:lnTo>
                      <a:pt x="3056" y="2695"/>
                    </a:lnTo>
                    <a:lnTo>
                      <a:pt x="3050" y="2704"/>
                    </a:lnTo>
                    <a:lnTo>
                      <a:pt x="3044" y="2713"/>
                    </a:lnTo>
                    <a:lnTo>
                      <a:pt x="3042" y="2715"/>
                    </a:lnTo>
                    <a:lnTo>
                      <a:pt x="3042" y="2715"/>
                    </a:lnTo>
                    <a:lnTo>
                      <a:pt x="3042" y="2715"/>
                    </a:lnTo>
                    <a:lnTo>
                      <a:pt x="3034" y="2726"/>
                    </a:lnTo>
                    <a:lnTo>
                      <a:pt x="3026" y="2736"/>
                    </a:lnTo>
                    <a:lnTo>
                      <a:pt x="3026" y="2736"/>
                    </a:lnTo>
                    <a:lnTo>
                      <a:pt x="3025" y="2739"/>
                    </a:lnTo>
                    <a:lnTo>
                      <a:pt x="3024" y="2739"/>
                    </a:lnTo>
                    <a:lnTo>
                      <a:pt x="3024" y="2739"/>
                    </a:lnTo>
                    <a:lnTo>
                      <a:pt x="3006" y="2764"/>
                    </a:lnTo>
                    <a:lnTo>
                      <a:pt x="2986" y="2788"/>
                    </a:lnTo>
                    <a:lnTo>
                      <a:pt x="2967" y="2812"/>
                    </a:lnTo>
                    <a:lnTo>
                      <a:pt x="2948" y="2835"/>
                    </a:lnTo>
                    <a:lnTo>
                      <a:pt x="2940" y="2843"/>
                    </a:lnTo>
                    <a:lnTo>
                      <a:pt x="2933" y="2852"/>
                    </a:lnTo>
                    <a:lnTo>
                      <a:pt x="2924" y="2859"/>
                    </a:lnTo>
                    <a:lnTo>
                      <a:pt x="2917" y="2867"/>
                    </a:lnTo>
                    <a:lnTo>
                      <a:pt x="2905" y="2880"/>
                    </a:lnTo>
                    <a:lnTo>
                      <a:pt x="2897" y="2887"/>
                    </a:lnTo>
                    <a:lnTo>
                      <a:pt x="2891" y="2892"/>
                    </a:lnTo>
                    <a:lnTo>
                      <a:pt x="2889" y="2892"/>
                    </a:lnTo>
                    <a:lnTo>
                      <a:pt x="2889" y="2890"/>
                    </a:lnTo>
                    <a:lnTo>
                      <a:pt x="2889" y="2888"/>
                    </a:lnTo>
                    <a:lnTo>
                      <a:pt x="2897" y="2878"/>
                    </a:lnTo>
                    <a:lnTo>
                      <a:pt x="2904" y="2866"/>
                    </a:lnTo>
                    <a:lnTo>
                      <a:pt x="2907" y="2854"/>
                    </a:lnTo>
                    <a:lnTo>
                      <a:pt x="2910" y="2838"/>
                    </a:lnTo>
                    <a:lnTo>
                      <a:pt x="2911" y="2832"/>
                    </a:lnTo>
                    <a:lnTo>
                      <a:pt x="2913" y="2824"/>
                    </a:lnTo>
                    <a:lnTo>
                      <a:pt x="2917" y="2815"/>
                    </a:lnTo>
                    <a:lnTo>
                      <a:pt x="2921" y="2805"/>
                    </a:lnTo>
                    <a:lnTo>
                      <a:pt x="2929" y="2791"/>
                    </a:lnTo>
                    <a:lnTo>
                      <a:pt x="2933" y="2782"/>
                    </a:lnTo>
                    <a:lnTo>
                      <a:pt x="2933" y="2777"/>
                    </a:lnTo>
                    <a:lnTo>
                      <a:pt x="2933" y="2771"/>
                    </a:lnTo>
                    <a:lnTo>
                      <a:pt x="2935" y="2763"/>
                    </a:lnTo>
                    <a:lnTo>
                      <a:pt x="2935" y="2753"/>
                    </a:lnTo>
                    <a:lnTo>
                      <a:pt x="2933" y="2751"/>
                    </a:lnTo>
                    <a:lnTo>
                      <a:pt x="2931" y="2747"/>
                    </a:lnTo>
                    <a:lnTo>
                      <a:pt x="2930" y="2745"/>
                    </a:lnTo>
                    <a:lnTo>
                      <a:pt x="2930" y="2743"/>
                    </a:lnTo>
                    <a:lnTo>
                      <a:pt x="2930" y="2739"/>
                    </a:lnTo>
                    <a:lnTo>
                      <a:pt x="2931" y="2737"/>
                    </a:lnTo>
                    <a:lnTo>
                      <a:pt x="2936" y="2725"/>
                    </a:lnTo>
                    <a:lnTo>
                      <a:pt x="2945" y="2706"/>
                    </a:lnTo>
                    <a:lnTo>
                      <a:pt x="2955" y="2687"/>
                    </a:lnTo>
                    <a:lnTo>
                      <a:pt x="2960" y="2677"/>
                    </a:lnTo>
                    <a:lnTo>
                      <a:pt x="2964" y="2671"/>
                    </a:lnTo>
                    <a:lnTo>
                      <a:pt x="2974" y="2662"/>
                    </a:lnTo>
                    <a:lnTo>
                      <a:pt x="2982" y="2650"/>
                    </a:lnTo>
                    <a:lnTo>
                      <a:pt x="2986" y="2642"/>
                    </a:lnTo>
                    <a:lnTo>
                      <a:pt x="2986" y="2631"/>
                    </a:lnTo>
                    <a:lnTo>
                      <a:pt x="2985" y="2623"/>
                    </a:lnTo>
                    <a:lnTo>
                      <a:pt x="2985" y="2617"/>
                    </a:lnTo>
                    <a:lnTo>
                      <a:pt x="2987" y="2609"/>
                    </a:lnTo>
                    <a:lnTo>
                      <a:pt x="2990" y="2603"/>
                    </a:lnTo>
                    <a:lnTo>
                      <a:pt x="2992" y="2598"/>
                    </a:lnTo>
                    <a:lnTo>
                      <a:pt x="2990" y="2590"/>
                    </a:lnTo>
                    <a:lnTo>
                      <a:pt x="2989" y="2581"/>
                    </a:lnTo>
                    <a:lnTo>
                      <a:pt x="2990" y="2576"/>
                    </a:lnTo>
                    <a:lnTo>
                      <a:pt x="2990" y="2567"/>
                    </a:lnTo>
                    <a:lnTo>
                      <a:pt x="2992" y="2561"/>
                    </a:lnTo>
                    <a:lnTo>
                      <a:pt x="2990" y="2555"/>
                    </a:lnTo>
                    <a:lnTo>
                      <a:pt x="2990" y="2551"/>
                    </a:lnTo>
                    <a:lnTo>
                      <a:pt x="2988" y="2547"/>
                    </a:lnTo>
                    <a:lnTo>
                      <a:pt x="2981" y="2541"/>
                    </a:lnTo>
                    <a:lnTo>
                      <a:pt x="2973" y="2536"/>
                    </a:lnTo>
                    <a:lnTo>
                      <a:pt x="2970" y="2533"/>
                    </a:lnTo>
                    <a:lnTo>
                      <a:pt x="2966" y="2530"/>
                    </a:lnTo>
                    <a:lnTo>
                      <a:pt x="2966" y="2528"/>
                    </a:lnTo>
                    <a:lnTo>
                      <a:pt x="2966" y="2525"/>
                    </a:lnTo>
                    <a:lnTo>
                      <a:pt x="2967" y="2523"/>
                    </a:lnTo>
                    <a:lnTo>
                      <a:pt x="2968" y="2519"/>
                    </a:lnTo>
                    <a:lnTo>
                      <a:pt x="2975" y="2506"/>
                    </a:lnTo>
                    <a:lnTo>
                      <a:pt x="2980" y="2491"/>
                    </a:lnTo>
                    <a:lnTo>
                      <a:pt x="2985" y="2480"/>
                    </a:lnTo>
                    <a:lnTo>
                      <a:pt x="2987" y="2471"/>
                    </a:lnTo>
                    <a:lnTo>
                      <a:pt x="2990" y="2464"/>
                    </a:lnTo>
                    <a:lnTo>
                      <a:pt x="2995" y="2453"/>
                    </a:lnTo>
                    <a:lnTo>
                      <a:pt x="2997" y="2448"/>
                    </a:lnTo>
                    <a:lnTo>
                      <a:pt x="2998" y="2443"/>
                    </a:lnTo>
                    <a:lnTo>
                      <a:pt x="2999" y="2439"/>
                    </a:lnTo>
                    <a:lnTo>
                      <a:pt x="2998" y="2437"/>
                    </a:lnTo>
                    <a:lnTo>
                      <a:pt x="2993" y="2434"/>
                    </a:lnTo>
                    <a:lnTo>
                      <a:pt x="2988" y="2430"/>
                    </a:lnTo>
                    <a:lnTo>
                      <a:pt x="2986" y="2429"/>
                    </a:lnTo>
                    <a:lnTo>
                      <a:pt x="2984" y="2429"/>
                    </a:lnTo>
                    <a:lnTo>
                      <a:pt x="2982" y="2429"/>
                    </a:lnTo>
                    <a:lnTo>
                      <a:pt x="2979" y="2430"/>
                    </a:lnTo>
                    <a:lnTo>
                      <a:pt x="2974" y="2432"/>
                    </a:lnTo>
                    <a:lnTo>
                      <a:pt x="2968" y="2435"/>
                    </a:lnTo>
                    <a:lnTo>
                      <a:pt x="2965" y="2436"/>
                    </a:lnTo>
                    <a:lnTo>
                      <a:pt x="2963" y="2436"/>
                    </a:lnTo>
                    <a:lnTo>
                      <a:pt x="2961" y="2436"/>
                    </a:lnTo>
                    <a:lnTo>
                      <a:pt x="2960" y="2435"/>
                    </a:lnTo>
                    <a:lnTo>
                      <a:pt x="2952" y="2422"/>
                    </a:lnTo>
                    <a:lnTo>
                      <a:pt x="2943" y="2412"/>
                    </a:lnTo>
                    <a:lnTo>
                      <a:pt x="2930" y="2413"/>
                    </a:lnTo>
                    <a:lnTo>
                      <a:pt x="2920" y="2413"/>
                    </a:lnTo>
                    <a:lnTo>
                      <a:pt x="2912" y="2418"/>
                    </a:lnTo>
                    <a:lnTo>
                      <a:pt x="2897" y="2428"/>
                    </a:lnTo>
                    <a:lnTo>
                      <a:pt x="2889" y="2436"/>
                    </a:lnTo>
                    <a:lnTo>
                      <a:pt x="2879" y="2444"/>
                    </a:lnTo>
                    <a:lnTo>
                      <a:pt x="2874" y="2448"/>
                    </a:lnTo>
                    <a:lnTo>
                      <a:pt x="2868" y="2451"/>
                    </a:lnTo>
                    <a:lnTo>
                      <a:pt x="2863" y="2453"/>
                    </a:lnTo>
                    <a:lnTo>
                      <a:pt x="2858" y="2453"/>
                    </a:lnTo>
                    <a:lnTo>
                      <a:pt x="2848" y="2453"/>
                    </a:lnTo>
                    <a:lnTo>
                      <a:pt x="2837" y="2454"/>
                    </a:lnTo>
                    <a:lnTo>
                      <a:pt x="2827" y="2457"/>
                    </a:lnTo>
                    <a:lnTo>
                      <a:pt x="2820" y="2460"/>
                    </a:lnTo>
                    <a:lnTo>
                      <a:pt x="2810" y="2465"/>
                    </a:lnTo>
                    <a:lnTo>
                      <a:pt x="2796" y="2471"/>
                    </a:lnTo>
                    <a:lnTo>
                      <a:pt x="2781" y="2478"/>
                    </a:lnTo>
                    <a:lnTo>
                      <a:pt x="2768" y="2482"/>
                    </a:lnTo>
                    <a:lnTo>
                      <a:pt x="2766" y="2482"/>
                    </a:lnTo>
                    <a:lnTo>
                      <a:pt x="2762" y="2481"/>
                    </a:lnTo>
                    <a:lnTo>
                      <a:pt x="2757" y="2479"/>
                    </a:lnTo>
                    <a:lnTo>
                      <a:pt x="2751" y="2474"/>
                    </a:lnTo>
                    <a:lnTo>
                      <a:pt x="2738" y="2466"/>
                    </a:lnTo>
                    <a:lnTo>
                      <a:pt x="2723" y="2456"/>
                    </a:lnTo>
                    <a:lnTo>
                      <a:pt x="2710" y="2444"/>
                    </a:lnTo>
                    <a:lnTo>
                      <a:pt x="2697" y="2434"/>
                    </a:lnTo>
                    <a:lnTo>
                      <a:pt x="2688" y="2425"/>
                    </a:lnTo>
                    <a:lnTo>
                      <a:pt x="2683" y="2419"/>
                    </a:lnTo>
                    <a:lnTo>
                      <a:pt x="2678" y="2405"/>
                    </a:lnTo>
                    <a:lnTo>
                      <a:pt x="2672" y="2388"/>
                    </a:lnTo>
                    <a:lnTo>
                      <a:pt x="2666" y="2373"/>
                    </a:lnTo>
                    <a:lnTo>
                      <a:pt x="2659" y="2364"/>
                    </a:lnTo>
                    <a:lnTo>
                      <a:pt x="2652" y="2359"/>
                    </a:lnTo>
                    <a:lnTo>
                      <a:pt x="2642" y="2353"/>
                    </a:lnTo>
                    <a:lnTo>
                      <a:pt x="2637" y="2350"/>
                    </a:lnTo>
                    <a:lnTo>
                      <a:pt x="2633" y="2346"/>
                    </a:lnTo>
                    <a:lnTo>
                      <a:pt x="2632" y="2342"/>
                    </a:lnTo>
                    <a:lnTo>
                      <a:pt x="2631" y="2340"/>
                    </a:lnTo>
                    <a:lnTo>
                      <a:pt x="2631" y="2337"/>
                    </a:lnTo>
                    <a:lnTo>
                      <a:pt x="2631" y="2335"/>
                    </a:lnTo>
                    <a:lnTo>
                      <a:pt x="2636" y="2318"/>
                    </a:lnTo>
                    <a:lnTo>
                      <a:pt x="2643" y="2298"/>
                    </a:lnTo>
                    <a:lnTo>
                      <a:pt x="2649" y="2281"/>
                    </a:lnTo>
                    <a:lnTo>
                      <a:pt x="2653" y="2270"/>
                    </a:lnTo>
                    <a:lnTo>
                      <a:pt x="2656" y="2259"/>
                    </a:lnTo>
                    <a:lnTo>
                      <a:pt x="2661" y="2234"/>
                    </a:lnTo>
                    <a:lnTo>
                      <a:pt x="2664" y="2222"/>
                    </a:lnTo>
                    <a:lnTo>
                      <a:pt x="2666" y="2209"/>
                    </a:lnTo>
                    <a:lnTo>
                      <a:pt x="2667" y="2199"/>
                    </a:lnTo>
                    <a:lnTo>
                      <a:pt x="2667" y="2192"/>
                    </a:lnTo>
                    <a:lnTo>
                      <a:pt x="2665" y="2179"/>
                    </a:lnTo>
                    <a:lnTo>
                      <a:pt x="2663" y="2164"/>
                    </a:lnTo>
                    <a:lnTo>
                      <a:pt x="2661" y="2157"/>
                    </a:lnTo>
                    <a:lnTo>
                      <a:pt x="2661" y="2151"/>
                    </a:lnTo>
                    <a:lnTo>
                      <a:pt x="2663" y="2146"/>
                    </a:lnTo>
                    <a:lnTo>
                      <a:pt x="2664" y="2143"/>
                    </a:lnTo>
                    <a:lnTo>
                      <a:pt x="2673" y="2129"/>
                    </a:lnTo>
                    <a:lnTo>
                      <a:pt x="2689" y="2099"/>
                    </a:lnTo>
                    <a:lnTo>
                      <a:pt x="2698" y="2083"/>
                    </a:lnTo>
                    <a:lnTo>
                      <a:pt x="2707" y="2068"/>
                    </a:lnTo>
                    <a:lnTo>
                      <a:pt x="2715" y="2055"/>
                    </a:lnTo>
                    <a:lnTo>
                      <a:pt x="2721" y="2047"/>
                    </a:lnTo>
                    <a:lnTo>
                      <a:pt x="2736" y="2032"/>
                    </a:lnTo>
                    <a:lnTo>
                      <a:pt x="2753" y="2017"/>
                    </a:lnTo>
                    <a:lnTo>
                      <a:pt x="2767" y="2004"/>
                    </a:lnTo>
                    <a:lnTo>
                      <a:pt x="2773" y="1998"/>
                    </a:lnTo>
                    <a:lnTo>
                      <a:pt x="2773" y="1997"/>
                    </a:lnTo>
                    <a:lnTo>
                      <a:pt x="2773" y="1992"/>
                    </a:lnTo>
                    <a:lnTo>
                      <a:pt x="2774" y="1984"/>
                    </a:lnTo>
                    <a:lnTo>
                      <a:pt x="2779" y="1974"/>
                    </a:lnTo>
                    <a:lnTo>
                      <a:pt x="2784" y="1959"/>
                    </a:lnTo>
                    <a:lnTo>
                      <a:pt x="2788" y="1946"/>
                    </a:lnTo>
                    <a:lnTo>
                      <a:pt x="2790" y="1940"/>
                    </a:lnTo>
                    <a:lnTo>
                      <a:pt x="2792" y="1934"/>
                    </a:lnTo>
                    <a:lnTo>
                      <a:pt x="2796" y="1929"/>
                    </a:lnTo>
                    <a:lnTo>
                      <a:pt x="2799" y="1923"/>
                    </a:lnTo>
                    <a:lnTo>
                      <a:pt x="2807" y="1914"/>
                    </a:lnTo>
                    <a:lnTo>
                      <a:pt x="2817" y="1904"/>
                    </a:lnTo>
                    <a:lnTo>
                      <a:pt x="2825" y="1894"/>
                    </a:lnTo>
                    <a:lnTo>
                      <a:pt x="2833" y="1883"/>
                    </a:lnTo>
                    <a:lnTo>
                      <a:pt x="2840" y="1874"/>
                    </a:lnTo>
                    <a:lnTo>
                      <a:pt x="2846" y="1865"/>
                    </a:lnTo>
                    <a:lnTo>
                      <a:pt x="2849" y="1857"/>
                    </a:lnTo>
                    <a:lnTo>
                      <a:pt x="2851" y="1853"/>
                    </a:lnTo>
                    <a:lnTo>
                      <a:pt x="2852" y="1849"/>
                    </a:lnTo>
                    <a:lnTo>
                      <a:pt x="2854" y="1844"/>
                    </a:lnTo>
                    <a:lnTo>
                      <a:pt x="2855" y="1843"/>
                    </a:lnTo>
                    <a:lnTo>
                      <a:pt x="2856" y="1843"/>
                    </a:lnTo>
                    <a:lnTo>
                      <a:pt x="2858" y="1843"/>
                    </a:lnTo>
                    <a:lnTo>
                      <a:pt x="2861" y="1846"/>
                    </a:lnTo>
                    <a:lnTo>
                      <a:pt x="2863" y="1848"/>
                    </a:lnTo>
                    <a:lnTo>
                      <a:pt x="2865" y="1850"/>
                    </a:lnTo>
                    <a:lnTo>
                      <a:pt x="2868" y="1851"/>
                    </a:lnTo>
                    <a:lnTo>
                      <a:pt x="2870" y="1852"/>
                    </a:lnTo>
                    <a:lnTo>
                      <a:pt x="2876" y="1853"/>
                    </a:lnTo>
                    <a:lnTo>
                      <a:pt x="2882" y="1853"/>
                    </a:lnTo>
                    <a:lnTo>
                      <a:pt x="2890" y="1852"/>
                    </a:lnTo>
                    <a:lnTo>
                      <a:pt x="2902" y="1851"/>
                    </a:lnTo>
                    <a:lnTo>
                      <a:pt x="2917" y="1849"/>
                    </a:lnTo>
                    <a:lnTo>
                      <a:pt x="2928" y="1846"/>
                    </a:lnTo>
                    <a:lnTo>
                      <a:pt x="2935" y="1841"/>
                    </a:lnTo>
                    <a:lnTo>
                      <a:pt x="2943" y="1832"/>
                    </a:lnTo>
                    <a:lnTo>
                      <a:pt x="2952" y="1825"/>
                    </a:lnTo>
                    <a:lnTo>
                      <a:pt x="2959" y="1821"/>
                    </a:lnTo>
                    <a:lnTo>
                      <a:pt x="2967" y="1820"/>
                    </a:lnTo>
                    <a:lnTo>
                      <a:pt x="2981" y="1815"/>
                    </a:lnTo>
                    <a:lnTo>
                      <a:pt x="2997" y="1812"/>
                    </a:lnTo>
                    <a:lnTo>
                      <a:pt x="3012" y="1809"/>
                    </a:lnTo>
                    <a:lnTo>
                      <a:pt x="3028" y="1806"/>
                    </a:lnTo>
                    <a:lnTo>
                      <a:pt x="3045" y="1802"/>
                    </a:lnTo>
                    <a:lnTo>
                      <a:pt x="3052" y="1800"/>
                    </a:lnTo>
                    <a:lnTo>
                      <a:pt x="3060" y="1799"/>
                    </a:lnTo>
                    <a:lnTo>
                      <a:pt x="3065" y="1799"/>
                    </a:lnTo>
                    <a:lnTo>
                      <a:pt x="3069" y="1801"/>
                    </a:lnTo>
                    <a:lnTo>
                      <a:pt x="3075" y="1805"/>
                    </a:lnTo>
                    <a:lnTo>
                      <a:pt x="3081" y="1809"/>
                    </a:lnTo>
                    <a:lnTo>
                      <a:pt x="3083" y="1811"/>
                    </a:lnTo>
                    <a:lnTo>
                      <a:pt x="3085" y="1812"/>
                    </a:lnTo>
                    <a:lnTo>
                      <a:pt x="3085" y="1814"/>
                    </a:lnTo>
                    <a:lnTo>
                      <a:pt x="3085" y="1815"/>
                    </a:lnTo>
                    <a:lnTo>
                      <a:pt x="3082" y="1820"/>
                    </a:lnTo>
                    <a:lnTo>
                      <a:pt x="3078" y="1826"/>
                    </a:lnTo>
                    <a:lnTo>
                      <a:pt x="3077" y="1830"/>
                    </a:lnTo>
                    <a:lnTo>
                      <a:pt x="3077" y="1834"/>
                    </a:lnTo>
                    <a:lnTo>
                      <a:pt x="3077" y="1839"/>
                    </a:lnTo>
                    <a:lnTo>
                      <a:pt x="3080" y="1846"/>
                    </a:lnTo>
                    <a:lnTo>
                      <a:pt x="3083" y="1857"/>
                    </a:lnTo>
                    <a:lnTo>
                      <a:pt x="3085" y="1869"/>
                    </a:lnTo>
                    <a:lnTo>
                      <a:pt x="3086" y="1880"/>
                    </a:lnTo>
                    <a:lnTo>
                      <a:pt x="3088" y="1889"/>
                    </a:lnTo>
                    <a:lnTo>
                      <a:pt x="3090" y="1895"/>
                    </a:lnTo>
                    <a:lnTo>
                      <a:pt x="3093" y="1898"/>
                    </a:lnTo>
                    <a:lnTo>
                      <a:pt x="3097" y="1900"/>
                    </a:lnTo>
                    <a:lnTo>
                      <a:pt x="3103" y="1901"/>
                    </a:lnTo>
                    <a:lnTo>
                      <a:pt x="3110" y="1900"/>
                    </a:lnTo>
                    <a:lnTo>
                      <a:pt x="3116" y="1899"/>
                    </a:lnTo>
                    <a:lnTo>
                      <a:pt x="3118" y="1899"/>
                    </a:lnTo>
                    <a:lnTo>
                      <a:pt x="3121" y="1900"/>
                    </a:lnTo>
                    <a:lnTo>
                      <a:pt x="3124" y="1903"/>
                    </a:lnTo>
                    <a:lnTo>
                      <a:pt x="3127" y="1908"/>
                    </a:lnTo>
                    <a:lnTo>
                      <a:pt x="3129" y="1912"/>
                    </a:lnTo>
                    <a:lnTo>
                      <a:pt x="3133" y="1917"/>
                    </a:lnTo>
                    <a:lnTo>
                      <a:pt x="3138" y="1920"/>
                    </a:lnTo>
                    <a:lnTo>
                      <a:pt x="3143" y="1924"/>
                    </a:lnTo>
                    <a:lnTo>
                      <a:pt x="3155" y="1931"/>
                    </a:lnTo>
                    <a:lnTo>
                      <a:pt x="3165" y="1935"/>
                    </a:lnTo>
                    <a:lnTo>
                      <a:pt x="3169" y="1935"/>
                    </a:lnTo>
                    <a:lnTo>
                      <a:pt x="3171" y="1933"/>
                    </a:lnTo>
                    <a:lnTo>
                      <a:pt x="3173" y="1931"/>
                    </a:lnTo>
                    <a:lnTo>
                      <a:pt x="3175" y="1927"/>
                    </a:lnTo>
                    <a:lnTo>
                      <a:pt x="3179" y="1918"/>
                    </a:lnTo>
                    <a:lnTo>
                      <a:pt x="3183" y="1909"/>
                    </a:lnTo>
                    <a:lnTo>
                      <a:pt x="3187" y="1898"/>
                    </a:lnTo>
                    <a:lnTo>
                      <a:pt x="3192" y="1891"/>
                    </a:lnTo>
                    <a:lnTo>
                      <a:pt x="3194" y="1888"/>
                    </a:lnTo>
                    <a:lnTo>
                      <a:pt x="3196" y="1887"/>
                    </a:lnTo>
                    <a:lnTo>
                      <a:pt x="3198" y="1886"/>
                    </a:lnTo>
                    <a:lnTo>
                      <a:pt x="3200" y="1888"/>
                    </a:lnTo>
                    <a:lnTo>
                      <a:pt x="3207" y="1895"/>
                    </a:lnTo>
                    <a:lnTo>
                      <a:pt x="3215" y="1903"/>
                    </a:lnTo>
                    <a:lnTo>
                      <a:pt x="3221" y="1910"/>
                    </a:lnTo>
                    <a:lnTo>
                      <a:pt x="3229" y="1915"/>
                    </a:lnTo>
                    <a:lnTo>
                      <a:pt x="3238" y="1916"/>
                    </a:lnTo>
                    <a:lnTo>
                      <a:pt x="3247" y="1915"/>
                    </a:lnTo>
                    <a:lnTo>
                      <a:pt x="3255" y="1913"/>
                    </a:lnTo>
                    <a:lnTo>
                      <a:pt x="3258" y="1912"/>
                    </a:lnTo>
                    <a:lnTo>
                      <a:pt x="3258" y="1910"/>
                    </a:lnTo>
                    <a:lnTo>
                      <a:pt x="3261" y="1904"/>
                    </a:lnTo>
                    <a:lnTo>
                      <a:pt x="3263" y="1903"/>
                    </a:lnTo>
                    <a:lnTo>
                      <a:pt x="3264" y="1902"/>
                    </a:lnTo>
                    <a:lnTo>
                      <a:pt x="3267" y="1903"/>
                    </a:lnTo>
                    <a:lnTo>
                      <a:pt x="3269" y="1907"/>
                    </a:lnTo>
                    <a:lnTo>
                      <a:pt x="3273" y="1914"/>
                    </a:lnTo>
                    <a:lnTo>
                      <a:pt x="3275" y="1917"/>
                    </a:lnTo>
                    <a:lnTo>
                      <a:pt x="3277" y="1918"/>
                    </a:lnTo>
                    <a:lnTo>
                      <a:pt x="3278" y="1918"/>
                    </a:lnTo>
                    <a:lnTo>
                      <a:pt x="3279" y="1917"/>
                    </a:lnTo>
                    <a:lnTo>
                      <a:pt x="3281" y="1915"/>
                    </a:lnTo>
                    <a:lnTo>
                      <a:pt x="3288" y="1904"/>
                    </a:lnTo>
                    <a:lnTo>
                      <a:pt x="3291" y="1899"/>
                    </a:lnTo>
                    <a:lnTo>
                      <a:pt x="3291" y="1895"/>
                    </a:lnTo>
                    <a:lnTo>
                      <a:pt x="3292" y="1883"/>
                    </a:lnTo>
                    <a:lnTo>
                      <a:pt x="3293" y="1870"/>
                    </a:lnTo>
                    <a:lnTo>
                      <a:pt x="3295" y="1856"/>
                    </a:lnTo>
                    <a:lnTo>
                      <a:pt x="3300" y="1837"/>
                    </a:lnTo>
                    <a:lnTo>
                      <a:pt x="3302" y="1826"/>
                    </a:lnTo>
                    <a:lnTo>
                      <a:pt x="3303" y="1821"/>
                    </a:lnTo>
                    <a:lnTo>
                      <a:pt x="3303" y="1813"/>
                    </a:lnTo>
                    <a:lnTo>
                      <a:pt x="3303" y="1809"/>
                    </a:lnTo>
                    <a:lnTo>
                      <a:pt x="3303" y="1807"/>
                    </a:lnTo>
                    <a:lnTo>
                      <a:pt x="3302" y="1805"/>
                    </a:lnTo>
                    <a:lnTo>
                      <a:pt x="3301" y="1805"/>
                    </a:lnTo>
                    <a:lnTo>
                      <a:pt x="3296" y="1809"/>
                    </a:lnTo>
                    <a:lnTo>
                      <a:pt x="3293" y="1814"/>
                    </a:lnTo>
                    <a:lnTo>
                      <a:pt x="3291" y="1816"/>
                    </a:lnTo>
                    <a:lnTo>
                      <a:pt x="3290" y="1819"/>
                    </a:lnTo>
                    <a:lnTo>
                      <a:pt x="3288" y="1819"/>
                    </a:lnTo>
                    <a:lnTo>
                      <a:pt x="3287" y="1817"/>
                    </a:lnTo>
                    <a:lnTo>
                      <a:pt x="3285" y="1814"/>
                    </a:lnTo>
                    <a:lnTo>
                      <a:pt x="3282" y="1810"/>
                    </a:lnTo>
                    <a:lnTo>
                      <a:pt x="3281" y="1809"/>
                    </a:lnTo>
                    <a:lnTo>
                      <a:pt x="3279" y="1808"/>
                    </a:lnTo>
                    <a:lnTo>
                      <a:pt x="3278" y="1809"/>
                    </a:lnTo>
                    <a:lnTo>
                      <a:pt x="3275" y="1810"/>
                    </a:lnTo>
                    <a:lnTo>
                      <a:pt x="3268" y="1817"/>
                    </a:lnTo>
                    <a:lnTo>
                      <a:pt x="3263" y="1821"/>
                    </a:lnTo>
                    <a:lnTo>
                      <a:pt x="3251" y="1828"/>
                    </a:lnTo>
                    <a:lnTo>
                      <a:pt x="3241" y="1834"/>
                    </a:lnTo>
                    <a:lnTo>
                      <a:pt x="3240" y="1831"/>
                    </a:lnTo>
                    <a:lnTo>
                      <a:pt x="3238" y="1825"/>
                    </a:lnTo>
                    <a:lnTo>
                      <a:pt x="3236" y="1816"/>
                    </a:lnTo>
                    <a:lnTo>
                      <a:pt x="3236" y="1808"/>
                    </a:lnTo>
                    <a:lnTo>
                      <a:pt x="3238" y="1795"/>
                    </a:lnTo>
                    <a:lnTo>
                      <a:pt x="3240" y="1784"/>
                    </a:lnTo>
                    <a:lnTo>
                      <a:pt x="3239" y="1777"/>
                    </a:lnTo>
                    <a:lnTo>
                      <a:pt x="3238" y="1769"/>
                    </a:lnTo>
                    <a:lnTo>
                      <a:pt x="3237" y="1761"/>
                    </a:lnTo>
                    <a:lnTo>
                      <a:pt x="3238" y="1754"/>
                    </a:lnTo>
                    <a:lnTo>
                      <a:pt x="3240" y="1745"/>
                    </a:lnTo>
                    <a:lnTo>
                      <a:pt x="3242" y="1736"/>
                    </a:lnTo>
                    <a:lnTo>
                      <a:pt x="3245" y="1727"/>
                    </a:lnTo>
                    <a:lnTo>
                      <a:pt x="3246" y="1722"/>
                    </a:lnTo>
                    <a:lnTo>
                      <a:pt x="3240" y="1727"/>
                    </a:lnTo>
                    <a:lnTo>
                      <a:pt x="3229" y="1735"/>
                    </a:lnTo>
                    <a:lnTo>
                      <a:pt x="3227" y="1746"/>
                    </a:lnTo>
                    <a:lnTo>
                      <a:pt x="3225" y="1757"/>
                    </a:lnTo>
                    <a:lnTo>
                      <a:pt x="3222" y="1753"/>
                    </a:lnTo>
                    <a:lnTo>
                      <a:pt x="3217" y="1745"/>
                    </a:lnTo>
                    <a:lnTo>
                      <a:pt x="3215" y="1742"/>
                    </a:lnTo>
                    <a:lnTo>
                      <a:pt x="3212" y="1739"/>
                    </a:lnTo>
                    <a:lnTo>
                      <a:pt x="3210" y="1738"/>
                    </a:lnTo>
                    <a:lnTo>
                      <a:pt x="3209" y="1738"/>
                    </a:lnTo>
                    <a:lnTo>
                      <a:pt x="3209" y="1738"/>
                    </a:lnTo>
                    <a:lnTo>
                      <a:pt x="3208" y="1739"/>
                    </a:lnTo>
                    <a:lnTo>
                      <a:pt x="3207" y="1744"/>
                    </a:lnTo>
                    <a:lnTo>
                      <a:pt x="3207" y="1753"/>
                    </a:lnTo>
                    <a:lnTo>
                      <a:pt x="3208" y="1761"/>
                    </a:lnTo>
                    <a:lnTo>
                      <a:pt x="3209" y="1770"/>
                    </a:lnTo>
                    <a:lnTo>
                      <a:pt x="3209" y="1776"/>
                    </a:lnTo>
                    <a:lnTo>
                      <a:pt x="3209" y="1781"/>
                    </a:lnTo>
                    <a:lnTo>
                      <a:pt x="3208" y="1786"/>
                    </a:lnTo>
                    <a:lnTo>
                      <a:pt x="3206" y="1790"/>
                    </a:lnTo>
                    <a:lnTo>
                      <a:pt x="3203" y="1797"/>
                    </a:lnTo>
                    <a:lnTo>
                      <a:pt x="3202" y="1800"/>
                    </a:lnTo>
                    <a:lnTo>
                      <a:pt x="3200" y="1797"/>
                    </a:lnTo>
                    <a:lnTo>
                      <a:pt x="3195" y="1790"/>
                    </a:lnTo>
                    <a:lnTo>
                      <a:pt x="3191" y="1783"/>
                    </a:lnTo>
                    <a:lnTo>
                      <a:pt x="3188" y="1777"/>
                    </a:lnTo>
                    <a:lnTo>
                      <a:pt x="3187" y="1767"/>
                    </a:lnTo>
                    <a:lnTo>
                      <a:pt x="3183" y="1748"/>
                    </a:lnTo>
                    <a:lnTo>
                      <a:pt x="3179" y="1731"/>
                    </a:lnTo>
                    <a:lnTo>
                      <a:pt x="3178" y="1721"/>
                    </a:lnTo>
                    <a:lnTo>
                      <a:pt x="3175" y="1711"/>
                    </a:lnTo>
                    <a:lnTo>
                      <a:pt x="3170" y="1698"/>
                    </a:lnTo>
                    <a:lnTo>
                      <a:pt x="3163" y="1691"/>
                    </a:lnTo>
                    <a:lnTo>
                      <a:pt x="3151" y="1677"/>
                    </a:lnTo>
                    <a:lnTo>
                      <a:pt x="3137" y="1662"/>
                    </a:lnTo>
                    <a:lnTo>
                      <a:pt x="3128" y="1651"/>
                    </a:lnTo>
                    <a:lnTo>
                      <a:pt x="3121" y="1639"/>
                    </a:lnTo>
                    <a:lnTo>
                      <a:pt x="3115" y="1625"/>
                    </a:lnTo>
                    <a:lnTo>
                      <a:pt x="3112" y="1617"/>
                    </a:lnTo>
                    <a:lnTo>
                      <a:pt x="3109" y="1612"/>
                    </a:lnTo>
                    <a:lnTo>
                      <a:pt x="3108" y="1610"/>
                    </a:lnTo>
                    <a:lnTo>
                      <a:pt x="3107" y="1609"/>
                    </a:lnTo>
                    <a:lnTo>
                      <a:pt x="3106" y="1609"/>
                    </a:lnTo>
                    <a:lnTo>
                      <a:pt x="3106" y="1610"/>
                    </a:lnTo>
                    <a:lnTo>
                      <a:pt x="3100" y="1620"/>
                    </a:lnTo>
                    <a:lnTo>
                      <a:pt x="3097" y="1626"/>
                    </a:lnTo>
                    <a:lnTo>
                      <a:pt x="3100" y="1634"/>
                    </a:lnTo>
                    <a:lnTo>
                      <a:pt x="3106" y="1646"/>
                    </a:lnTo>
                    <a:lnTo>
                      <a:pt x="3109" y="1651"/>
                    </a:lnTo>
                    <a:lnTo>
                      <a:pt x="3111" y="1658"/>
                    </a:lnTo>
                    <a:lnTo>
                      <a:pt x="3113" y="1663"/>
                    </a:lnTo>
                    <a:lnTo>
                      <a:pt x="3116" y="1668"/>
                    </a:lnTo>
                    <a:lnTo>
                      <a:pt x="3119" y="1674"/>
                    </a:lnTo>
                    <a:lnTo>
                      <a:pt x="3125" y="1679"/>
                    </a:lnTo>
                    <a:lnTo>
                      <a:pt x="3137" y="1693"/>
                    </a:lnTo>
                    <a:lnTo>
                      <a:pt x="3151" y="1707"/>
                    </a:lnTo>
                    <a:lnTo>
                      <a:pt x="3162" y="1721"/>
                    </a:lnTo>
                    <a:lnTo>
                      <a:pt x="3168" y="1727"/>
                    </a:lnTo>
                    <a:lnTo>
                      <a:pt x="3168" y="1741"/>
                    </a:lnTo>
                    <a:lnTo>
                      <a:pt x="3166" y="1750"/>
                    </a:lnTo>
                    <a:lnTo>
                      <a:pt x="3163" y="1747"/>
                    </a:lnTo>
                    <a:lnTo>
                      <a:pt x="3158" y="1742"/>
                    </a:lnTo>
                    <a:lnTo>
                      <a:pt x="3155" y="1739"/>
                    </a:lnTo>
                    <a:lnTo>
                      <a:pt x="3153" y="1738"/>
                    </a:lnTo>
                    <a:lnTo>
                      <a:pt x="3152" y="1738"/>
                    </a:lnTo>
                    <a:lnTo>
                      <a:pt x="3151" y="1738"/>
                    </a:lnTo>
                    <a:lnTo>
                      <a:pt x="3151" y="1738"/>
                    </a:lnTo>
                    <a:lnTo>
                      <a:pt x="3151" y="1739"/>
                    </a:lnTo>
                    <a:lnTo>
                      <a:pt x="3154" y="1754"/>
                    </a:lnTo>
                    <a:lnTo>
                      <a:pt x="3156" y="1764"/>
                    </a:lnTo>
                    <a:lnTo>
                      <a:pt x="3153" y="1770"/>
                    </a:lnTo>
                    <a:lnTo>
                      <a:pt x="3146" y="1781"/>
                    </a:lnTo>
                    <a:lnTo>
                      <a:pt x="3142" y="1786"/>
                    </a:lnTo>
                    <a:lnTo>
                      <a:pt x="3139" y="1790"/>
                    </a:lnTo>
                    <a:lnTo>
                      <a:pt x="3137" y="1792"/>
                    </a:lnTo>
                    <a:lnTo>
                      <a:pt x="3135" y="1792"/>
                    </a:lnTo>
                    <a:lnTo>
                      <a:pt x="3134" y="1791"/>
                    </a:lnTo>
                    <a:lnTo>
                      <a:pt x="3133" y="1791"/>
                    </a:lnTo>
                    <a:lnTo>
                      <a:pt x="3133" y="1791"/>
                    </a:lnTo>
                    <a:lnTo>
                      <a:pt x="3132" y="1792"/>
                    </a:lnTo>
                    <a:lnTo>
                      <a:pt x="3131" y="1794"/>
                    </a:lnTo>
                    <a:lnTo>
                      <a:pt x="3131" y="1797"/>
                    </a:lnTo>
                    <a:lnTo>
                      <a:pt x="3131" y="1801"/>
                    </a:lnTo>
                    <a:lnTo>
                      <a:pt x="3130" y="1805"/>
                    </a:lnTo>
                    <a:lnTo>
                      <a:pt x="3129" y="1809"/>
                    </a:lnTo>
                    <a:lnTo>
                      <a:pt x="3126" y="1811"/>
                    </a:lnTo>
                    <a:lnTo>
                      <a:pt x="3119" y="1809"/>
                    </a:lnTo>
                    <a:lnTo>
                      <a:pt x="3109" y="1802"/>
                    </a:lnTo>
                    <a:lnTo>
                      <a:pt x="3105" y="1799"/>
                    </a:lnTo>
                    <a:lnTo>
                      <a:pt x="3100" y="1794"/>
                    </a:lnTo>
                    <a:lnTo>
                      <a:pt x="3098" y="1791"/>
                    </a:lnTo>
                    <a:lnTo>
                      <a:pt x="3098" y="1789"/>
                    </a:lnTo>
                    <a:lnTo>
                      <a:pt x="3110" y="1784"/>
                    </a:lnTo>
                    <a:lnTo>
                      <a:pt x="3121" y="1780"/>
                    </a:lnTo>
                    <a:lnTo>
                      <a:pt x="3125" y="1782"/>
                    </a:lnTo>
                    <a:lnTo>
                      <a:pt x="3129" y="1785"/>
                    </a:lnTo>
                    <a:lnTo>
                      <a:pt x="3130" y="1786"/>
                    </a:lnTo>
                    <a:lnTo>
                      <a:pt x="3131" y="1787"/>
                    </a:lnTo>
                    <a:lnTo>
                      <a:pt x="3132" y="1786"/>
                    </a:lnTo>
                    <a:lnTo>
                      <a:pt x="3132" y="1785"/>
                    </a:lnTo>
                    <a:lnTo>
                      <a:pt x="3134" y="1773"/>
                    </a:lnTo>
                    <a:lnTo>
                      <a:pt x="3136" y="1764"/>
                    </a:lnTo>
                    <a:lnTo>
                      <a:pt x="3137" y="1762"/>
                    </a:lnTo>
                    <a:lnTo>
                      <a:pt x="3138" y="1758"/>
                    </a:lnTo>
                    <a:lnTo>
                      <a:pt x="3138" y="1754"/>
                    </a:lnTo>
                    <a:lnTo>
                      <a:pt x="3136" y="1749"/>
                    </a:lnTo>
                    <a:lnTo>
                      <a:pt x="3128" y="1739"/>
                    </a:lnTo>
                    <a:lnTo>
                      <a:pt x="3112" y="1722"/>
                    </a:lnTo>
                    <a:lnTo>
                      <a:pt x="3096" y="1704"/>
                    </a:lnTo>
                    <a:lnTo>
                      <a:pt x="3087" y="1693"/>
                    </a:lnTo>
                    <a:lnTo>
                      <a:pt x="3082" y="1681"/>
                    </a:lnTo>
                    <a:lnTo>
                      <a:pt x="3072" y="1662"/>
                    </a:lnTo>
                    <a:lnTo>
                      <a:pt x="3064" y="1646"/>
                    </a:lnTo>
                    <a:lnTo>
                      <a:pt x="3060" y="1638"/>
                    </a:lnTo>
                    <a:lnTo>
                      <a:pt x="3053" y="1644"/>
                    </a:lnTo>
                    <a:lnTo>
                      <a:pt x="3046" y="1652"/>
                    </a:lnTo>
                    <a:lnTo>
                      <a:pt x="3041" y="1657"/>
                    </a:lnTo>
                    <a:lnTo>
                      <a:pt x="3033" y="1667"/>
                    </a:lnTo>
                    <a:lnTo>
                      <a:pt x="3029" y="1672"/>
                    </a:lnTo>
                    <a:lnTo>
                      <a:pt x="3025" y="1675"/>
                    </a:lnTo>
                    <a:lnTo>
                      <a:pt x="3023" y="1676"/>
                    </a:lnTo>
                    <a:lnTo>
                      <a:pt x="3021" y="1677"/>
                    </a:lnTo>
                    <a:lnTo>
                      <a:pt x="3019" y="1677"/>
                    </a:lnTo>
                    <a:lnTo>
                      <a:pt x="3018" y="1676"/>
                    </a:lnTo>
                    <a:lnTo>
                      <a:pt x="3009" y="1670"/>
                    </a:lnTo>
                    <a:lnTo>
                      <a:pt x="3001" y="1663"/>
                    </a:lnTo>
                    <a:lnTo>
                      <a:pt x="2997" y="1661"/>
                    </a:lnTo>
                    <a:lnTo>
                      <a:pt x="2993" y="1660"/>
                    </a:lnTo>
                    <a:lnTo>
                      <a:pt x="2990" y="1660"/>
                    </a:lnTo>
                    <a:lnTo>
                      <a:pt x="2989" y="1661"/>
                    </a:lnTo>
                    <a:lnTo>
                      <a:pt x="2988" y="1662"/>
                    </a:lnTo>
                    <a:lnTo>
                      <a:pt x="2987" y="1664"/>
                    </a:lnTo>
                    <a:lnTo>
                      <a:pt x="2984" y="1672"/>
                    </a:lnTo>
                    <a:lnTo>
                      <a:pt x="2982" y="1677"/>
                    </a:lnTo>
                    <a:lnTo>
                      <a:pt x="2983" y="1681"/>
                    </a:lnTo>
                    <a:lnTo>
                      <a:pt x="2985" y="1684"/>
                    </a:lnTo>
                    <a:lnTo>
                      <a:pt x="2987" y="1689"/>
                    </a:lnTo>
                    <a:lnTo>
                      <a:pt x="2988" y="1693"/>
                    </a:lnTo>
                    <a:lnTo>
                      <a:pt x="2987" y="1697"/>
                    </a:lnTo>
                    <a:lnTo>
                      <a:pt x="2986" y="1699"/>
                    </a:lnTo>
                    <a:lnTo>
                      <a:pt x="2980" y="1703"/>
                    </a:lnTo>
                    <a:lnTo>
                      <a:pt x="2972" y="1712"/>
                    </a:lnTo>
                    <a:lnTo>
                      <a:pt x="2966" y="1719"/>
                    </a:lnTo>
                    <a:lnTo>
                      <a:pt x="2961" y="1725"/>
                    </a:lnTo>
                    <a:lnTo>
                      <a:pt x="2956" y="1729"/>
                    </a:lnTo>
                    <a:lnTo>
                      <a:pt x="2953" y="1733"/>
                    </a:lnTo>
                    <a:lnTo>
                      <a:pt x="2950" y="1737"/>
                    </a:lnTo>
                    <a:lnTo>
                      <a:pt x="2945" y="1743"/>
                    </a:lnTo>
                    <a:lnTo>
                      <a:pt x="2943" y="1747"/>
                    </a:lnTo>
                    <a:lnTo>
                      <a:pt x="2942" y="1751"/>
                    </a:lnTo>
                    <a:lnTo>
                      <a:pt x="2940" y="1757"/>
                    </a:lnTo>
                    <a:lnTo>
                      <a:pt x="2940" y="1762"/>
                    </a:lnTo>
                    <a:lnTo>
                      <a:pt x="2940" y="1769"/>
                    </a:lnTo>
                    <a:lnTo>
                      <a:pt x="2940" y="1772"/>
                    </a:lnTo>
                    <a:lnTo>
                      <a:pt x="2940" y="1775"/>
                    </a:lnTo>
                    <a:lnTo>
                      <a:pt x="2938" y="1780"/>
                    </a:lnTo>
                    <a:lnTo>
                      <a:pt x="2934" y="1789"/>
                    </a:lnTo>
                    <a:lnTo>
                      <a:pt x="2928" y="1800"/>
                    </a:lnTo>
                    <a:lnTo>
                      <a:pt x="2924" y="1805"/>
                    </a:lnTo>
                    <a:lnTo>
                      <a:pt x="2921" y="1810"/>
                    </a:lnTo>
                    <a:lnTo>
                      <a:pt x="2917" y="1814"/>
                    </a:lnTo>
                    <a:lnTo>
                      <a:pt x="2913" y="1817"/>
                    </a:lnTo>
                    <a:lnTo>
                      <a:pt x="2908" y="1819"/>
                    </a:lnTo>
                    <a:lnTo>
                      <a:pt x="2902" y="1821"/>
                    </a:lnTo>
                    <a:lnTo>
                      <a:pt x="2896" y="1821"/>
                    </a:lnTo>
                    <a:lnTo>
                      <a:pt x="2891" y="1822"/>
                    </a:lnTo>
                    <a:lnTo>
                      <a:pt x="2879" y="1823"/>
                    </a:lnTo>
                    <a:lnTo>
                      <a:pt x="2873" y="1825"/>
                    </a:lnTo>
                    <a:lnTo>
                      <a:pt x="2864" y="1833"/>
                    </a:lnTo>
                    <a:lnTo>
                      <a:pt x="2856" y="1836"/>
                    </a:lnTo>
                    <a:lnTo>
                      <a:pt x="2849" y="1828"/>
                    </a:lnTo>
                    <a:lnTo>
                      <a:pt x="2842" y="1820"/>
                    </a:lnTo>
                    <a:lnTo>
                      <a:pt x="2839" y="1816"/>
                    </a:lnTo>
                    <a:lnTo>
                      <a:pt x="2833" y="1814"/>
                    </a:lnTo>
                    <a:lnTo>
                      <a:pt x="2828" y="1812"/>
                    </a:lnTo>
                    <a:lnTo>
                      <a:pt x="2824" y="1813"/>
                    </a:lnTo>
                    <a:lnTo>
                      <a:pt x="2822" y="1813"/>
                    </a:lnTo>
                    <a:lnTo>
                      <a:pt x="2820" y="1812"/>
                    </a:lnTo>
                    <a:lnTo>
                      <a:pt x="2815" y="1810"/>
                    </a:lnTo>
                    <a:lnTo>
                      <a:pt x="2812" y="1808"/>
                    </a:lnTo>
                    <a:lnTo>
                      <a:pt x="2806" y="1803"/>
                    </a:lnTo>
                    <a:lnTo>
                      <a:pt x="2803" y="1800"/>
                    </a:lnTo>
                    <a:lnTo>
                      <a:pt x="2801" y="1790"/>
                    </a:lnTo>
                    <a:lnTo>
                      <a:pt x="2796" y="1773"/>
                    </a:lnTo>
                    <a:lnTo>
                      <a:pt x="2793" y="1764"/>
                    </a:lnTo>
                    <a:lnTo>
                      <a:pt x="2792" y="1755"/>
                    </a:lnTo>
                    <a:lnTo>
                      <a:pt x="2791" y="1747"/>
                    </a:lnTo>
                    <a:lnTo>
                      <a:pt x="2792" y="1741"/>
                    </a:lnTo>
                    <a:lnTo>
                      <a:pt x="2797" y="1731"/>
                    </a:lnTo>
                    <a:lnTo>
                      <a:pt x="2800" y="1718"/>
                    </a:lnTo>
                    <a:lnTo>
                      <a:pt x="2803" y="1706"/>
                    </a:lnTo>
                    <a:lnTo>
                      <a:pt x="2804" y="1698"/>
                    </a:lnTo>
                    <a:lnTo>
                      <a:pt x="2801" y="1682"/>
                    </a:lnTo>
                    <a:lnTo>
                      <a:pt x="2799" y="1674"/>
                    </a:lnTo>
                    <a:lnTo>
                      <a:pt x="2798" y="1672"/>
                    </a:lnTo>
                    <a:lnTo>
                      <a:pt x="2797" y="1667"/>
                    </a:lnTo>
                    <a:lnTo>
                      <a:pt x="2796" y="1663"/>
                    </a:lnTo>
                    <a:lnTo>
                      <a:pt x="2797" y="1660"/>
                    </a:lnTo>
                    <a:lnTo>
                      <a:pt x="2798" y="1658"/>
                    </a:lnTo>
                    <a:lnTo>
                      <a:pt x="2800" y="1655"/>
                    </a:lnTo>
                    <a:lnTo>
                      <a:pt x="2805" y="1652"/>
                    </a:lnTo>
                    <a:lnTo>
                      <a:pt x="2809" y="1647"/>
                    </a:lnTo>
                    <a:lnTo>
                      <a:pt x="2811" y="1646"/>
                    </a:lnTo>
                    <a:lnTo>
                      <a:pt x="2813" y="1644"/>
                    </a:lnTo>
                    <a:lnTo>
                      <a:pt x="2815" y="1644"/>
                    </a:lnTo>
                    <a:lnTo>
                      <a:pt x="2818" y="1645"/>
                    </a:lnTo>
                    <a:lnTo>
                      <a:pt x="2826" y="1647"/>
                    </a:lnTo>
                    <a:lnTo>
                      <a:pt x="2835" y="1648"/>
                    </a:lnTo>
                    <a:lnTo>
                      <a:pt x="2841" y="1647"/>
                    </a:lnTo>
                    <a:lnTo>
                      <a:pt x="2847" y="1646"/>
                    </a:lnTo>
                    <a:lnTo>
                      <a:pt x="2853" y="1645"/>
                    </a:lnTo>
                    <a:lnTo>
                      <a:pt x="2857" y="1646"/>
                    </a:lnTo>
                    <a:lnTo>
                      <a:pt x="2861" y="1648"/>
                    </a:lnTo>
                    <a:lnTo>
                      <a:pt x="2866" y="1650"/>
                    </a:lnTo>
                    <a:lnTo>
                      <a:pt x="2872" y="1652"/>
                    </a:lnTo>
                    <a:lnTo>
                      <a:pt x="2878" y="1652"/>
                    </a:lnTo>
                    <a:lnTo>
                      <a:pt x="2888" y="1651"/>
                    </a:lnTo>
                    <a:lnTo>
                      <a:pt x="2899" y="1651"/>
                    </a:lnTo>
                    <a:lnTo>
                      <a:pt x="2910" y="1651"/>
                    </a:lnTo>
                    <a:lnTo>
                      <a:pt x="2915" y="1649"/>
                    </a:lnTo>
                    <a:lnTo>
                      <a:pt x="2917" y="1642"/>
                    </a:lnTo>
                    <a:lnTo>
                      <a:pt x="2921" y="1630"/>
                    </a:lnTo>
                    <a:lnTo>
                      <a:pt x="2922" y="1623"/>
                    </a:lnTo>
                    <a:lnTo>
                      <a:pt x="2923" y="1614"/>
                    </a:lnTo>
                    <a:lnTo>
                      <a:pt x="2923" y="1607"/>
                    </a:lnTo>
                    <a:lnTo>
                      <a:pt x="2922" y="1602"/>
                    </a:lnTo>
                    <a:lnTo>
                      <a:pt x="2920" y="1590"/>
                    </a:lnTo>
                    <a:lnTo>
                      <a:pt x="2917" y="1579"/>
                    </a:lnTo>
                    <a:lnTo>
                      <a:pt x="2916" y="1573"/>
                    </a:lnTo>
                    <a:lnTo>
                      <a:pt x="2915" y="1569"/>
                    </a:lnTo>
                    <a:lnTo>
                      <a:pt x="2913" y="1566"/>
                    </a:lnTo>
                    <a:lnTo>
                      <a:pt x="2911" y="1564"/>
                    </a:lnTo>
                    <a:lnTo>
                      <a:pt x="2901" y="1553"/>
                    </a:lnTo>
                    <a:lnTo>
                      <a:pt x="2886" y="1536"/>
                    </a:lnTo>
                    <a:lnTo>
                      <a:pt x="2871" y="1518"/>
                    </a:lnTo>
                    <a:lnTo>
                      <a:pt x="2865" y="1510"/>
                    </a:lnTo>
                    <a:lnTo>
                      <a:pt x="2869" y="1507"/>
                    </a:lnTo>
                    <a:lnTo>
                      <a:pt x="2876" y="1503"/>
                    </a:lnTo>
                    <a:lnTo>
                      <a:pt x="2884" y="1506"/>
                    </a:lnTo>
                    <a:lnTo>
                      <a:pt x="2896" y="1512"/>
                    </a:lnTo>
                    <a:lnTo>
                      <a:pt x="2901" y="1515"/>
                    </a:lnTo>
                    <a:lnTo>
                      <a:pt x="2907" y="1516"/>
                    </a:lnTo>
                    <a:lnTo>
                      <a:pt x="2908" y="1517"/>
                    </a:lnTo>
                    <a:lnTo>
                      <a:pt x="2909" y="1517"/>
                    </a:lnTo>
                    <a:lnTo>
                      <a:pt x="2910" y="1516"/>
                    </a:lnTo>
                    <a:lnTo>
                      <a:pt x="2909" y="1515"/>
                    </a:lnTo>
                    <a:lnTo>
                      <a:pt x="2906" y="1508"/>
                    </a:lnTo>
                    <a:lnTo>
                      <a:pt x="2905" y="1499"/>
                    </a:lnTo>
                    <a:lnTo>
                      <a:pt x="2904" y="1492"/>
                    </a:lnTo>
                    <a:lnTo>
                      <a:pt x="2905" y="1488"/>
                    </a:lnTo>
                    <a:lnTo>
                      <a:pt x="2915" y="1488"/>
                    </a:lnTo>
                    <a:lnTo>
                      <a:pt x="2924" y="1487"/>
                    </a:lnTo>
                    <a:lnTo>
                      <a:pt x="2930" y="1487"/>
                    </a:lnTo>
                    <a:lnTo>
                      <a:pt x="2938" y="1484"/>
                    </a:lnTo>
                    <a:lnTo>
                      <a:pt x="2942" y="1482"/>
                    </a:lnTo>
                    <a:lnTo>
                      <a:pt x="2945" y="1480"/>
                    </a:lnTo>
                    <a:lnTo>
                      <a:pt x="2949" y="1478"/>
                    </a:lnTo>
                    <a:lnTo>
                      <a:pt x="2950" y="1475"/>
                    </a:lnTo>
                    <a:lnTo>
                      <a:pt x="2957" y="1460"/>
                    </a:lnTo>
                    <a:lnTo>
                      <a:pt x="2964" y="1447"/>
                    </a:lnTo>
                    <a:lnTo>
                      <a:pt x="2966" y="1443"/>
                    </a:lnTo>
                    <a:lnTo>
                      <a:pt x="2968" y="1438"/>
                    </a:lnTo>
                    <a:lnTo>
                      <a:pt x="2973" y="1433"/>
                    </a:lnTo>
                    <a:lnTo>
                      <a:pt x="2978" y="1428"/>
                    </a:lnTo>
                    <a:lnTo>
                      <a:pt x="2981" y="1422"/>
                    </a:lnTo>
                    <a:lnTo>
                      <a:pt x="2984" y="1415"/>
                    </a:lnTo>
                    <a:lnTo>
                      <a:pt x="2987" y="1407"/>
                    </a:lnTo>
                    <a:lnTo>
                      <a:pt x="2990" y="1396"/>
                    </a:lnTo>
                    <a:lnTo>
                      <a:pt x="2995" y="1378"/>
                    </a:lnTo>
                    <a:lnTo>
                      <a:pt x="2997" y="1371"/>
                    </a:lnTo>
                    <a:lnTo>
                      <a:pt x="2998" y="1366"/>
                    </a:lnTo>
                    <a:lnTo>
                      <a:pt x="3002" y="1355"/>
                    </a:lnTo>
                    <a:lnTo>
                      <a:pt x="3004" y="1350"/>
                    </a:lnTo>
                    <a:lnTo>
                      <a:pt x="3006" y="1346"/>
                    </a:lnTo>
                    <a:lnTo>
                      <a:pt x="3008" y="1343"/>
                    </a:lnTo>
                    <a:lnTo>
                      <a:pt x="3009" y="1343"/>
                    </a:lnTo>
                    <a:lnTo>
                      <a:pt x="3009" y="1349"/>
                    </a:lnTo>
                    <a:lnTo>
                      <a:pt x="3009" y="1361"/>
                    </a:lnTo>
                    <a:lnTo>
                      <a:pt x="3009" y="1365"/>
                    </a:lnTo>
                    <a:lnTo>
                      <a:pt x="3010" y="1369"/>
                    </a:lnTo>
                    <a:lnTo>
                      <a:pt x="3010" y="1370"/>
                    </a:lnTo>
                    <a:lnTo>
                      <a:pt x="3010" y="1371"/>
                    </a:lnTo>
                    <a:lnTo>
                      <a:pt x="3011" y="1372"/>
                    </a:lnTo>
                    <a:lnTo>
                      <a:pt x="3012" y="1371"/>
                    </a:lnTo>
                    <a:lnTo>
                      <a:pt x="3016" y="1369"/>
                    </a:lnTo>
                    <a:lnTo>
                      <a:pt x="3019" y="1365"/>
                    </a:lnTo>
                    <a:lnTo>
                      <a:pt x="3021" y="1361"/>
                    </a:lnTo>
                    <a:lnTo>
                      <a:pt x="3023" y="1358"/>
                    </a:lnTo>
                    <a:lnTo>
                      <a:pt x="3024" y="1351"/>
                    </a:lnTo>
                    <a:lnTo>
                      <a:pt x="3026" y="1340"/>
                    </a:lnTo>
                    <a:lnTo>
                      <a:pt x="3027" y="1333"/>
                    </a:lnTo>
                    <a:lnTo>
                      <a:pt x="3027" y="1327"/>
                    </a:lnTo>
                    <a:lnTo>
                      <a:pt x="3026" y="1321"/>
                    </a:lnTo>
                    <a:lnTo>
                      <a:pt x="3025" y="1315"/>
                    </a:lnTo>
                    <a:lnTo>
                      <a:pt x="3023" y="1302"/>
                    </a:lnTo>
                    <a:lnTo>
                      <a:pt x="3023" y="1288"/>
                    </a:lnTo>
                    <a:lnTo>
                      <a:pt x="3023" y="1281"/>
                    </a:lnTo>
                    <a:lnTo>
                      <a:pt x="3024" y="1276"/>
                    </a:lnTo>
                    <a:lnTo>
                      <a:pt x="3025" y="1272"/>
                    </a:lnTo>
                    <a:lnTo>
                      <a:pt x="3026" y="1269"/>
                    </a:lnTo>
                    <a:lnTo>
                      <a:pt x="3030" y="1264"/>
                    </a:lnTo>
                    <a:lnTo>
                      <a:pt x="3037" y="1255"/>
                    </a:lnTo>
                    <a:lnTo>
                      <a:pt x="3040" y="1251"/>
                    </a:lnTo>
                    <a:lnTo>
                      <a:pt x="3043" y="1249"/>
                    </a:lnTo>
                    <a:lnTo>
                      <a:pt x="3044" y="1247"/>
                    </a:lnTo>
                    <a:lnTo>
                      <a:pt x="3045" y="1247"/>
                    </a:lnTo>
                    <a:lnTo>
                      <a:pt x="3046" y="1247"/>
                    </a:lnTo>
                    <a:lnTo>
                      <a:pt x="3047" y="1249"/>
                    </a:lnTo>
                    <a:lnTo>
                      <a:pt x="3050" y="1260"/>
                    </a:lnTo>
                    <a:lnTo>
                      <a:pt x="3056" y="1275"/>
                    </a:lnTo>
                    <a:lnTo>
                      <a:pt x="3060" y="1281"/>
                    </a:lnTo>
                    <a:lnTo>
                      <a:pt x="3063" y="1286"/>
                    </a:lnTo>
                    <a:lnTo>
                      <a:pt x="3064" y="1288"/>
                    </a:lnTo>
                    <a:lnTo>
                      <a:pt x="3066" y="1289"/>
                    </a:lnTo>
                    <a:lnTo>
                      <a:pt x="3067" y="1289"/>
                    </a:lnTo>
                    <a:lnTo>
                      <a:pt x="3068" y="1289"/>
                    </a:lnTo>
                    <a:lnTo>
                      <a:pt x="3070" y="1286"/>
                    </a:lnTo>
                    <a:lnTo>
                      <a:pt x="3071" y="1283"/>
                    </a:lnTo>
                    <a:lnTo>
                      <a:pt x="3071" y="1280"/>
                    </a:lnTo>
                    <a:lnTo>
                      <a:pt x="3070" y="1278"/>
                    </a:lnTo>
                    <a:lnTo>
                      <a:pt x="3066" y="1266"/>
                    </a:lnTo>
                    <a:lnTo>
                      <a:pt x="3060" y="1253"/>
                    </a:lnTo>
                    <a:lnTo>
                      <a:pt x="3058" y="1243"/>
                    </a:lnTo>
                    <a:lnTo>
                      <a:pt x="3054" y="1229"/>
                    </a:lnTo>
                    <a:lnTo>
                      <a:pt x="3051" y="1215"/>
                    </a:lnTo>
                    <a:lnTo>
                      <a:pt x="3049" y="1209"/>
                    </a:lnTo>
                    <a:lnTo>
                      <a:pt x="3048" y="1208"/>
                    </a:lnTo>
                    <a:lnTo>
                      <a:pt x="3046" y="1207"/>
                    </a:lnTo>
                    <a:lnTo>
                      <a:pt x="3044" y="1207"/>
                    </a:lnTo>
                    <a:lnTo>
                      <a:pt x="3041" y="1209"/>
                    </a:lnTo>
                    <a:lnTo>
                      <a:pt x="3034" y="1220"/>
                    </a:lnTo>
                    <a:lnTo>
                      <a:pt x="3025" y="1233"/>
                    </a:lnTo>
                    <a:lnTo>
                      <a:pt x="3022" y="1235"/>
                    </a:lnTo>
                    <a:lnTo>
                      <a:pt x="3020" y="1236"/>
                    </a:lnTo>
                    <a:lnTo>
                      <a:pt x="3017" y="1237"/>
                    </a:lnTo>
                    <a:lnTo>
                      <a:pt x="3014" y="1237"/>
                    </a:lnTo>
                    <a:lnTo>
                      <a:pt x="3008" y="1236"/>
                    </a:lnTo>
                    <a:lnTo>
                      <a:pt x="3005" y="1235"/>
                    </a:lnTo>
                    <a:lnTo>
                      <a:pt x="2999" y="1227"/>
                    </a:lnTo>
                    <a:lnTo>
                      <a:pt x="2985" y="1206"/>
                    </a:lnTo>
                    <a:lnTo>
                      <a:pt x="2979" y="1194"/>
                    </a:lnTo>
                    <a:lnTo>
                      <a:pt x="2973" y="1183"/>
                    </a:lnTo>
                    <a:lnTo>
                      <a:pt x="2968" y="1174"/>
                    </a:lnTo>
                    <a:lnTo>
                      <a:pt x="2967" y="1168"/>
                    </a:lnTo>
                    <a:lnTo>
                      <a:pt x="2968" y="1163"/>
                    </a:lnTo>
                    <a:lnTo>
                      <a:pt x="2971" y="1161"/>
                    </a:lnTo>
                    <a:lnTo>
                      <a:pt x="2971" y="1159"/>
                    </a:lnTo>
                    <a:lnTo>
                      <a:pt x="2971" y="1158"/>
                    </a:lnTo>
                    <a:lnTo>
                      <a:pt x="2971" y="1157"/>
                    </a:lnTo>
                    <a:lnTo>
                      <a:pt x="2970" y="1155"/>
                    </a:lnTo>
                    <a:lnTo>
                      <a:pt x="2967" y="1151"/>
                    </a:lnTo>
                    <a:lnTo>
                      <a:pt x="2964" y="1146"/>
                    </a:lnTo>
                    <a:lnTo>
                      <a:pt x="2963" y="1141"/>
                    </a:lnTo>
                    <a:lnTo>
                      <a:pt x="2962" y="1136"/>
                    </a:lnTo>
                    <a:lnTo>
                      <a:pt x="2960" y="1124"/>
                    </a:lnTo>
                    <a:lnTo>
                      <a:pt x="2961" y="1114"/>
                    </a:lnTo>
                    <a:lnTo>
                      <a:pt x="2962" y="1109"/>
                    </a:lnTo>
                    <a:lnTo>
                      <a:pt x="2963" y="1100"/>
                    </a:lnTo>
                    <a:lnTo>
                      <a:pt x="2965" y="1089"/>
                    </a:lnTo>
                    <a:lnTo>
                      <a:pt x="2967" y="1083"/>
                    </a:lnTo>
                    <a:lnTo>
                      <a:pt x="2971" y="1076"/>
                    </a:lnTo>
                    <a:lnTo>
                      <a:pt x="2976" y="1064"/>
                    </a:lnTo>
                    <a:lnTo>
                      <a:pt x="2981" y="1052"/>
                    </a:lnTo>
                    <a:lnTo>
                      <a:pt x="2985" y="1043"/>
                    </a:lnTo>
                    <a:lnTo>
                      <a:pt x="2990" y="1037"/>
                    </a:lnTo>
                    <a:lnTo>
                      <a:pt x="2996" y="1029"/>
                    </a:lnTo>
                    <a:lnTo>
                      <a:pt x="2999" y="1024"/>
                    </a:lnTo>
                    <a:lnTo>
                      <a:pt x="3002" y="1021"/>
                    </a:lnTo>
                    <a:lnTo>
                      <a:pt x="3004" y="1020"/>
                    </a:lnTo>
                    <a:lnTo>
                      <a:pt x="3006" y="1019"/>
                    </a:lnTo>
                    <a:lnTo>
                      <a:pt x="3008" y="1020"/>
                    </a:lnTo>
                    <a:lnTo>
                      <a:pt x="3010" y="1019"/>
                    </a:lnTo>
                    <a:lnTo>
                      <a:pt x="3011" y="1015"/>
                    </a:lnTo>
                    <a:lnTo>
                      <a:pt x="3012" y="1008"/>
                    </a:lnTo>
                    <a:lnTo>
                      <a:pt x="3012" y="1004"/>
                    </a:lnTo>
                    <a:lnTo>
                      <a:pt x="3015" y="1002"/>
                    </a:lnTo>
                    <a:lnTo>
                      <a:pt x="3016" y="1001"/>
                    </a:lnTo>
                    <a:lnTo>
                      <a:pt x="3018" y="1001"/>
                    </a:lnTo>
                    <a:lnTo>
                      <a:pt x="3019" y="1001"/>
                    </a:lnTo>
                    <a:lnTo>
                      <a:pt x="3021" y="1000"/>
                    </a:lnTo>
                    <a:lnTo>
                      <a:pt x="3021" y="998"/>
                    </a:lnTo>
                    <a:lnTo>
                      <a:pt x="3021" y="995"/>
                    </a:lnTo>
                    <a:lnTo>
                      <a:pt x="3018" y="983"/>
                    </a:lnTo>
                    <a:lnTo>
                      <a:pt x="3016" y="972"/>
                    </a:lnTo>
                    <a:lnTo>
                      <a:pt x="3015" y="964"/>
                    </a:lnTo>
                    <a:lnTo>
                      <a:pt x="3015" y="958"/>
                    </a:lnTo>
                    <a:lnTo>
                      <a:pt x="3017" y="948"/>
                    </a:lnTo>
                    <a:lnTo>
                      <a:pt x="3021" y="935"/>
                    </a:lnTo>
                    <a:lnTo>
                      <a:pt x="3023" y="931"/>
                    </a:lnTo>
                    <a:lnTo>
                      <a:pt x="3026" y="926"/>
                    </a:lnTo>
                    <a:lnTo>
                      <a:pt x="3027" y="920"/>
                    </a:lnTo>
                    <a:lnTo>
                      <a:pt x="3028" y="915"/>
                    </a:lnTo>
                    <a:lnTo>
                      <a:pt x="3030" y="907"/>
                    </a:lnTo>
                    <a:lnTo>
                      <a:pt x="3030" y="900"/>
                    </a:lnTo>
                    <a:lnTo>
                      <a:pt x="3028" y="896"/>
                    </a:lnTo>
                    <a:lnTo>
                      <a:pt x="3027" y="893"/>
                    </a:lnTo>
                    <a:lnTo>
                      <a:pt x="3025" y="891"/>
                    </a:lnTo>
                    <a:lnTo>
                      <a:pt x="3023" y="890"/>
                    </a:lnTo>
                    <a:lnTo>
                      <a:pt x="3020" y="892"/>
                    </a:lnTo>
                    <a:lnTo>
                      <a:pt x="3017" y="895"/>
                    </a:lnTo>
                    <a:lnTo>
                      <a:pt x="3016" y="895"/>
                    </a:lnTo>
                    <a:lnTo>
                      <a:pt x="3014" y="894"/>
                    </a:lnTo>
                    <a:lnTo>
                      <a:pt x="3012" y="894"/>
                    </a:lnTo>
                    <a:lnTo>
                      <a:pt x="3011" y="895"/>
                    </a:lnTo>
                    <a:lnTo>
                      <a:pt x="3011" y="896"/>
                    </a:lnTo>
                    <a:lnTo>
                      <a:pt x="3011" y="899"/>
                    </a:lnTo>
                    <a:lnTo>
                      <a:pt x="3015" y="907"/>
                    </a:lnTo>
                    <a:lnTo>
                      <a:pt x="3016" y="909"/>
                    </a:lnTo>
                    <a:lnTo>
                      <a:pt x="3014" y="909"/>
                    </a:lnTo>
                    <a:lnTo>
                      <a:pt x="3009" y="906"/>
                    </a:lnTo>
                    <a:lnTo>
                      <a:pt x="3007" y="902"/>
                    </a:lnTo>
                    <a:lnTo>
                      <a:pt x="3004" y="898"/>
                    </a:lnTo>
                    <a:lnTo>
                      <a:pt x="3004" y="894"/>
                    </a:lnTo>
                    <a:lnTo>
                      <a:pt x="3004" y="892"/>
                    </a:lnTo>
                    <a:lnTo>
                      <a:pt x="3004" y="890"/>
                    </a:lnTo>
                    <a:lnTo>
                      <a:pt x="3005" y="888"/>
                    </a:lnTo>
                    <a:lnTo>
                      <a:pt x="3010" y="880"/>
                    </a:lnTo>
                    <a:lnTo>
                      <a:pt x="3014" y="873"/>
                    </a:lnTo>
                    <a:lnTo>
                      <a:pt x="3015" y="866"/>
                    </a:lnTo>
                    <a:lnTo>
                      <a:pt x="3017" y="857"/>
                    </a:lnTo>
                    <a:lnTo>
                      <a:pt x="3021" y="849"/>
                    </a:lnTo>
                    <a:lnTo>
                      <a:pt x="3024" y="846"/>
                    </a:lnTo>
                    <a:lnTo>
                      <a:pt x="3026" y="847"/>
                    </a:lnTo>
                    <a:lnTo>
                      <a:pt x="3028" y="848"/>
                    </a:lnTo>
                    <a:lnTo>
                      <a:pt x="3030" y="848"/>
                    </a:lnTo>
                    <a:lnTo>
                      <a:pt x="3031" y="847"/>
                    </a:lnTo>
                    <a:lnTo>
                      <a:pt x="3037" y="842"/>
                    </a:lnTo>
                    <a:lnTo>
                      <a:pt x="3041" y="838"/>
                    </a:lnTo>
                    <a:lnTo>
                      <a:pt x="3041" y="835"/>
                    </a:lnTo>
                    <a:lnTo>
                      <a:pt x="3041" y="828"/>
                    </a:lnTo>
                    <a:lnTo>
                      <a:pt x="3041" y="825"/>
                    </a:lnTo>
                    <a:lnTo>
                      <a:pt x="3042" y="823"/>
                    </a:lnTo>
                    <a:lnTo>
                      <a:pt x="3043" y="822"/>
                    </a:lnTo>
                    <a:lnTo>
                      <a:pt x="3044" y="822"/>
                    </a:lnTo>
                    <a:lnTo>
                      <a:pt x="3045" y="822"/>
                    </a:lnTo>
                    <a:lnTo>
                      <a:pt x="3046" y="823"/>
                    </a:lnTo>
                    <a:lnTo>
                      <a:pt x="3051" y="826"/>
                    </a:lnTo>
                    <a:lnTo>
                      <a:pt x="3056" y="829"/>
                    </a:lnTo>
                    <a:lnTo>
                      <a:pt x="3059" y="832"/>
                    </a:lnTo>
                    <a:lnTo>
                      <a:pt x="3060" y="833"/>
                    </a:lnTo>
                    <a:lnTo>
                      <a:pt x="3061" y="832"/>
                    </a:lnTo>
                    <a:lnTo>
                      <a:pt x="3062" y="830"/>
                    </a:lnTo>
                    <a:lnTo>
                      <a:pt x="3063" y="826"/>
                    </a:lnTo>
                    <a:lnTo>
                      <a:pt x="3065" y="823"/>
                    </a:lnTo>
                    <a:lnTo>
                      <a:pt x="3069" y="823"/>
                    </a:lnTo>
                    <a:lnTo>
                      <a:pt x="3076" y="825"/>
                    </a:lnTo>
                    <a:lnTo>
                      <a:pt x="3085" y="828"/>
                    </a:lnTo>
                    <a:lnTo>
                      <a:pt x="3090" y="833"/>
                    </a:lnTo>
                    <a:lnTo>
                      <a:pt x="3100" y="841"/>
                    </a:lnTo>
                    <a:lnTo>
                      <a:pt x="3107" y="845"/>
                    </a:lnTo>
                    <a:lnTo>
                      <a:pt x="3109" y="847"/>
                    </a:lnTo>
                    <a:lnTo>
                      <a:pt x="3115" y="856"/>
                    </a:lnTo>
                    <a:lnTo>
                      <a:pt x="3120" y="861"/>
                    </a:lnTo>
                    <a:lnTo>
                      <a:pt x="3127" y="869"/>
                    </a:lnTo>
                    <a:lnTo>
                      <a:pt x="3130" y="873"/>
                    </a:lnTo>
                    <a:lnTo>
                      <a:pt x="3132" y="877"/>
                    </a:lnTo>
                    <a:lnTo>
                      <a:pt x="3133" y="881"/>
                    </a:lnTo>
                    <a:lnTo>
                      <a:pt x="3133" y="883"/>
                    </a:lnTo>
                    <a:lnTo>
                      <a:pt x="3132" y="889"/>
                    </a:lnTo>
                    <a:lnTo>
                      <a:pt x="3133" y="892"/>
                    </a:lnTo>
                    <a:lnTo>
                      <a:pt x="3134" y="894"/>
                    </a:lnTo>
                    <a:lnTo>
                      <a:pt x="3136" y="899"/>
                    </a:lnTo>
                    <a:lnTo>
                      <a:pt x="3138" y="901"/>
                    </a:lnTo>
                    <a:lnTo>
                      <a:pt x="3139" y="902"/>
                    </a:lnTo>
                    <a:lnTo>
                      <a:pt x="3140" y="902"/>
                    </a:lnTo>
                    <a:lnTo>
                      <a:pt x="3141" y="902"/>
                    </a:lnTo>
                    <a:lnTo>
                      <a:pt x="3142" y="901"/>
                    </a:lnTo>
                    <a:lnTo>
                      <a:pt x="3143" y="901"/>
                    </a:lnTo>
                    <a:lnTo>
                      <a:pt x="3144" y="901"/>
                    </a:lnTo>
                    <a:lnTo>
                      <a:pt x="3146" y="902"/>
                    </a:lnTo>
                    <a:lnTo>
                      <a:pt x="3148" y="905"/>
                    </a:lnTo>
                    <a:lnTo>
                      <a:pt x="3151" y="909"/>
                    </a:lnTo>
                    <a:lnTo>
                      <a:pt x="3160" y="922"/>
                    </a:lnTo>
                    <a:lnTo>
                      <a:pt x="3171" y="934"/>
                    </a:lnTo>
                    <a:lnTo>
                      <a:pt x="3175" y="943"/>
                    </a:lnTo>
                    <a:lnTo>
                      <a:pt x="3181" y="952"/>
                    </a:lnTo>
                    <a:lnTo>
                      <a:pt x="3187" y="963"/>
                    </a:lnTo>
                    <a:lnTo>
                      <a:pt x="3194" y="973"/>
                    </a:lnTo>
                    <a:lnTo>
                      <a:pt x="3198" y="982"/>
                    </a:lnTo>
                    <a:lnTo>
                      <a:pt x="3203" y="992"/>
                    </a:lnTo>
                    <a:lnTo>
                      <a:pt x="3207" y="1000"/>
                    </a:lnTo>
                    <a:lnTo>
                      <a:pt x="3210" y="1007"/>
                    </a:lnTo>
                    <a:lnTo>
                      <a:pt x="3216" y="1015"/>
                    </a:lnTo>
                    <a:lnTo>
                      <a:pt x="3221" y="1026"/>
                    </a:lnTo>
                    <a:lnTo>
                      <a:pt x="3225" y="1038"/>
                    </a:lnTo>
                    <a:lnTo>
                      <a:pt x="3228" y="1047"/>
                    </a:lnTo>
                    <a:lnTo>
                      <a:pt x="3229" y="1057"/>
                    </a:lnTo>
                    <a:lnTo>
                      <a:pt x="3228" y="1062"/>
                    </a:lnTo>
                    <a:lnTo>
                      <a:pt x="3228" y="1062"/>
                    </a:lnTo>
                    <a:lnTo>
                      <a:pt x="3227" y="1063"/>
                    </a:lnTo>
                    <a:lnTo>
                      <a:pt x="3226" y="1063"/>
                    </a:lnTo>
                    <a:lnTo>
                      <a:pt x="3225" y="1061"/>
                    </a:lnTo>
                    <a:lnTo>
                      <a:pt x="3221" y="1057"/>
                    </a:lnTo>
                    <a:lnTo>
                      <a:pt x="3216" y="1048"/>
                    </a:lnTo>
                    <a:lnTo>
                      <a:pt x="3203" y="1034"/>
                    </a:lnTo>
                    <a:lnTo>
                      <a:pt x="3195" y="1022"/>
                    </a:lnTo>
                    <a:lnTo>
                      <a:pt x="3194" y="1022"/>
                    </a:lnTo>
                    <a:lnTo>
                      <a:pt x="3192" y="1021"/>
                    </a:lnTo>
                    <a:lnTo>
                      <a:pt x="3192" y="1021"/>
                    </a:lnTo>
                    <a:lnTo>
                      <a:pt x="3194" y="1026"/>
                    </a:lnTo>
                    <a:lnTo>
                      <a:pt x="3201" y="1040"/>
                    </a:lnTo>
                    <a:lnTo>
                      <a:pt x="3205" y="1045"/>
                    </a:lnTo>
                    <a:lnTo>
                      <a:pt x="3206" y="1046"/>
                    </a:lnTo>
                    <a:lnTo>
                      <a:pt x="3208" y="1047"/>
                    </a:lnTo>
                    <a:lnTo>
                      <a:pt x="3210" y="1052"/>
                    </a:lnTo>
                    <a:lnTo>
                      <a:pt x="3212" y="1058"/>
                    </a:lnTo>
                    <a:lnTo>
                      <a:pt x="3212" y="1063"/>
                    </a:lnTo>
                    <a:lnTo>
                      <a:pt x="3212" y="1066"/>
                    </a:lnTo>
                    <a:lnTo>
                      <a:pt x="3213" y="1068"/>
                    </a:lnTo>
                    <a:lnTo>
                      <a:pt x="3215" y="1073"/>
                    </a:lnTo>
                    <a:lnTo>
                      <a:pt x="3218" y="1083"/>
                    </a:lnTo>
                    <a:lnTo>
                      <a:pt x="3221" y="1090"/>
                    </a:lnTo>
                    <a:lnTo>
                      <a:pt x="3224" y="1098"/>
                    </a:lnTo>
                    <a:lnTo>
                      <a:pt x="3228" y="1106"/>
                    </a:lnTo>
                    <a:lnTo>
                      <a:pt x="3233" y="1112"/>
                    </a:lnTo>
                    <a:lnTo>
                      <a:pt x="3236" y="1120"/>
                    </a:lnTo>
                    <a:lnTo>
                      <a:pt x="3238" y="1125"/>
                    </a:lnTo>
                    <a:lnTo>
                      <a:pt x="3240" y="1127"/>
                    </a:lnTo>
                    <a:lnTo>
                      <a:pt x="3240" y="1121"/>
                    </a:lnTo>
                    <a:lnTo>
                      <a:pt x="3239" y="1113"/>
                    </a:lnTo>
                    <a:lnTo>
                      <a:pt x="3235" y="1107"/>
                    </a:lnTo>
                    <a:lnTo>
                      <a:pt x="3229" y="1100"/>
                    </a:lnTo>
                    <a:lnTo>
                      <a:pt x="3226" y="1092"/>
                    </a:lnTo>
                    <a:lnTo>
                      <a:pt x="3224" y="1085"/>
                    </a:lnTo>
                    <a:lnTo>
                      <a:pt x="3223" y="1081"/>
                    </a:lnTo>
                    <a:lnTo>
                      <a:pt x="3223" y="1078"/>
                    </a:lnTo>
                    <a:lnTo>
                      <a:pt x="3224" y="1078"/>
                    </a:lnTo>
                    <a:lnTo>
                      <a:pt x="3228" y="1084"/>
                    </a:lnTo>
                    <a:lnTo>
                      <a:pt x="3235" y="1096"/>
                    </a:lnTo>
                    <a:lnTo>
                      <a:pt x="3239" y="1104"/>
                    </a:lnTo>
                    <a:lnTo>
                      <a:pt x="3243" y="1113"/>
                    </a:lnTo>
                    <a:lnTo>
                      <a:pt x="3245" y="1118"/>
                    </a:lnTo>
                    <a:lnTo>
                      <a:pt x="3245" y="1109"/>
                    </a:lnTo>
                    <a:lnTo>
                      <a:pt x="3242" y="1101"/>
                    </a:lnTo>
                    <a:lnTo>
                      <a:pt x="3239" y="1092"/>
                    </a:lnTo>
                    <a:lnTo>
                      <a:pt x="3236" y="1085"/>
                    </a:lnTo>
                    <a:lnTo>
                      <a:pt x="3236" y="1077"/>
                    </a:lnTo>
                    <a:lnTo>
                      <a:pt x="3236" y="1070"/>
                    </a:lnTo>
                    <a:lnTo>
                      <a:pt x="3235" y="1060"/>
                    </a:lnTo>
                    <a:lnTo>
                      <a:pt x="3231" y="1049"/>
                    </a:lnTo>
                    <a:lnTo>
                      <a:pt x="3233" y="1049"/>
                    </a:lnTo>
                    <a:lnTo>
                      <a:pt x="3237" y="1059"/>
                    </a:lnTo>
                    <a:lnTo>
                      <a:pt x="3240" y="1068"/>
                    </a:lnTo>
                    <a:lnTo>
                      <a:pt x="3241" y="1071"/>
                    </a:lnTo>
                    <a:lnTo>
                      <a:pt x="3245" y="1081"/>
                    </a:lnTo>
                    <a:lnTo>
                      <a:pt x="3247" y="1086"/>
                    </a:lnTo>
                    <a:lnTo>
                      <a:pt x="3245" y="1079"/>
                    </a:lnTo>
                    <a:lnTo>
                      <a:pt x="3241" y="1067"/>
                    </a:lnTo>
                    <a:lnTo>
                      <a:pt x="3239" y="1061"/>
                    </a:lnTo>
                    <a:lnTo>
                      <a:pt x="3236" y="1054"/>
                    </a:lnTo>
                    <a:lnTo>
                      <a:pt x="3233" y="1047"/>
                    </a:lnTo>
                    <a:lnTo>
                      <a:pt x="3229" y="1039"/>
                    </a:lnTo>
                    <a:lnTo>
                      <a:pt x="3227" y="1033"/>
                    </a:lnTo>
                    <a:lnTo>
                      <a:pt x="3226" y="1030"/>
                    </a:lnTo>
                    <a:lnTo>
                      <a:pt x="3225" y="1025"/>
                    </a:lnTo>
                    <a:lnTo>
                      <a:pt x="3221" y="1017"/>
                    </a:lnTo>
                    <a:lnTo>
                      <a:pt x="3217" y="1007"/>
                    </a:lnTo>
                    <a:lnTo>
                      <a:pt x="3214" y="999"/>
                    </a:lnTo>
                    <a:lnTo>
                      <a:pt x="3214" y="999"/>
                    </a:lnTo>
                    <a:lnTo>
                      <a:pt x="3217" y="1005"/>
                    </a:lnTo>
                    <a:lnTo>
                      <a:pt x="3221" y="1013"/>
                    </a:lnTo>
                    <a:lnTo>
                      <a:pt x="3225" y="1022"/>
                    </a:lnTo>
                    <a:lnTo>
                      <a:pt x="3229" y="1032"/>
                    </a:lnTo>
                    <a:lnTo>
                      <a:pt x="3231" y="1038"/>
                    </a:lnTo>
                    <a:lnTo>
                      <a:pt x="3234" y="1042"/>
                    </a:lnTo>
                    <a:lnTo>
                      <a:pt x="3235" y="1044"/>
                    </a:lnTo>
                    <a:lnTo>
                      <a:pt x="3234" y="1045"/>
                    </a:lnTo>
                    <a:lnTo>
                      <a:pt x="3235" y="1048"/>
                    </a:lnTo>
                    <a:lnTo>
                      <a:pt x="3238" y="1054"/>
                    </a:lnTo>
                    <a:lnTo>
                      <a:pt x="3241" y="1061"/>
                    </a:lnTo>
                    <a:lnTo>
                      <a:pt x="3243" y="1065"/>
                    </a:lnTo>
                    <a:lnTo>
                      <a:pt x="3244" y="1067"/>
                    </a:lnTo>
                    <a:lnTo>
                      <a:pt x="3243" y="1066"/>
                    </a:lnTo>
                    <a:lnTo>
                      <a:pt x="3242" y="1062"/>
                    </a:lnTo>
                    <a:lnTo>
                      <a:pt x="3240" y="1056"/>
                    </a:lnTo>
                    <a:lnTo>
                      <a:pt x="3238" y="1053"/>
                    </a:lnTo>
                    <a:lnTo>
                      <a:pt x="3239" y="1053"/>
                    </a:lnTo>
                    <a:close/>
                    <a:moveTo>
                      <a:pt x="1425" y="939"/>
                    </a:moveTo>
                    <a:lnTo>
                      <a:pt x="1427" y="944"/>
                    </a:lnTo>
                    <a:lnTo>
                      <a:pt x="1430" y="946"/>
                    </a:lnTo>
                    <a:lnTo>
                      <a:pt x="1431" y="946"/>
                    </a:lnTo>
                    <a:lnTo>
                      <a:pt x="1434" y="946"/>
                    </a:lnTo>
                    <a:lnTo>
                      <a:pt x="1435" y="946"/>
                    </a:lnTo>
                    <a:lnTo>
                      <a:pt x="1437" y="944"/>
                    </a:lnTo>
                    <a:lnTo>
                      <a:pt x="1441" y="938"/>
                    </a:lnTo>
                    <a:lnTo>
                      <a:pt x="1444" y="933"/>
                    </a:lnTo>
                    <a:lnTo>
                      <a:pt x="1445" y="930"/>
                    </a:lnTo>
                    <a:lnTo>
                      <a:pt x="1445" y="928"/>
                    </a:lnTo>
                    <a:lnTo>
                      <a:pt x="1444" y="927"/>
                    </a:lnTo>
                    <a:lnTo>
                      <a:pt x="1442" y="927"/>
                    </a:lnTo>
                    <a:lnTo>
                      <a:pt x="1435" y="928"/>
                    </a:lnTo>
                    <a:lnTo>
                      <a:pt x="1430" y="929"/>
                    </a:lnTo>
                    <a:lnTo>
                      <a:pt x="1427" y="932"/>
                    </a:lnTo>
                    <a:lnTo>
                      <a:pt x="1424" y="935"/>
                    </a:lnTo>
                    <a:lnTo>
                      <a:pt x="1424" y="937"/>
                    </a:lnTo>
                    <a:lnTo>
                      <a:pt x="1425" y="939"/>
                    </a:lnTo>
                    <a:close/>
                    <a:moveTo>
                      <a:pt x="1380" y="999"/>
                    </a:moveTo>
                    <a:lnTo>
                      <a:pt x="1381" y="1004"/>
                    </a:lnTo>
                    <a:lnTo>
                      <a:pt x="1382" y="1010"/>
                    </a:lnTo>
                    <a:lnTo>
                      <a:pt x="1383" y="1011"/>
                    </a:lnTo>
                    <a:lnTo>
                      <a:pt x="1384" y="1012"/>
                    </a:lnTo>
                    <a:lnTo>
                      <a:pt x="1385" y="1012"/>
                    </a:lnTo>
                    <a:lnTo>
                      <a:pt x="1387" y="1012"/>
                    </a:lnTo>
                    <a:lnTo>
                      <a:pt x="1393" y="1008"/>
                    </a:lnTo>
                    <a:lnTo>
                      <a:pt x="1398" y="1004"/>
                    </a:lnTo>
                    <a:lnTo>
                      <a:pt x="1399" y="1002"/>
                    </a:lnTo>
                    <a:lnTo>
                      <a:pt x="1401" y="999"/>
                    </a:lnTo>
                    <a:lnTo>
                      <a:pt x="1401" y="997"/>
                    </a:lnTo>
                    <a:lnTo>
                      <a:pt x="1400" y="994"/>
                    </a:lnTo>
                    <a:lnTo>
                      <a:pt x="1399" y="987"/>
                    </a:lnTo>
                    <a:lnTo>
                      <a:pt x="1398" y="981"/>
                    </a:lnTo>
                    <a:lnTo>
                      <a:pt x="1397" y="980"/>
                    </a:lnTo>
                    <a:lnTo>
                      <a:pt x="1396" y="979"/>
                    </a:lnTo>
                    <a:lnTo>
                      <a:pt x="1395" y="980"/>
                    </a:lnTo>
                    <a:lnTo>
                      <a:pt x="1392" y="982"/>
                    </a:lnTo>
                    <a:lnTo>
                      <a:pt x="1383" y="993"/>
                    </a:lnTo>
                    <a:lnTo>
                      <a:pt x="1380" y="999"/>
                    </a:lnTo>
                    <a:close/>
                    <a:moveTo>
                      <a:pt x="1293" y="983"/>
                    </a:moveTo>
                    <a:lnTo>
                      <a:pt x="1296" y="991"/>
                    </a:lnTo>
                    <a:lnTo>
                      <a:pt x="1300" y="995"/>
                    </a:lnTo>
                    <a:lnTo>
                      <a:pt x="1305" y="997"/>
                    </a:lnTo>
                    <a:lnTo>
                      <a:pt x="1309" y="997"/>
                    </a:lnTo>
                    <a:lnTo>
                      <a:pt x="1313" y="996"/>
                    </a:lnTo>
                    <a:lnTo>
                      <a:pt x="1317" y="994"/>
                    </a:lnTo>
                    <a:lnTo>
                      <a:pt x="1320" y="992"/>
                    </a:lnTo>
                    <a:lnTo>
                      <a:pt x="1323" y="989"/>
                    </a:lnTo>
                    <a:lnTo>
                      <a:pt x="1332" y="982"/>
                    </a:lnTo>
                    <a:lnTo>
                      <a:pt x="1341" y="974"/>
                    </a:lnTo>
                    <a:lnTo>
                      <a:pt x="1344" y="970"/>
                    </a:lnTo>
                    <a:lnTo>
                      <a:pt x="1347" y="966"/>
                    </a:lnTo>
                    <a:lnTo>
                      <a:pt x="1347" y="965"/>
                    </a:lnTo>
                    <a:lnTo>
                      <a:pt x="1347" y="964"/>
                    </a:lnTo>
                    <a:lnTo>
                      <a:pt x="1344" y="963"/>
                    </a:lnTo>
                    <a:lnTo>
                      <a:pt x="1342" y="961"/>
                    </a:lnTo>
                    <a:lnTo>
                      <a:pt x="1332" y="959"/>
                    </a:lnTo>
                    <a:lnTo>
                      <a:pt x="1322" y="959"/>
                    </a:lnTo>
                    <a:lnTo>
                      <a:pt x="1318" y="959"/>
                    </a:lnTo>
                    <a:lnTo>
                      <a:pt x="1315" y="961"/>
                    </a:lnTo>
                    <a:lnTo>
                      <a:pt x="1313" y="964"/>
                    </a:lnTo>
                    <a:lnTo>
                      <a:pt x="1311" y="967"/>
                    </a:lnTo>
                    <a:lnTo>
                      <a:pt x="1310" y="970"/>
                    </a:lnTo>
                    <a:lnTo>
                      <a:pt x="1308" y="974"/>
                    </a:lnTo>
                    <a:lnTo>
                      <a:pt x="1305" y="976"/>
                    </a:lnTo>
                    <a:lnTo>
                      <a:pt x="1301" y="979"/>
                    </a:lnTo>
                    <a:lnTo>
                      <a:pt x="1296" y="982"/>
                    </a:lnTo>
                    <a:lnTo>
                      <a:pt x="1293" y="983"/>
                    </a:lnTo>
                    <a:close/>
                    <a:moveTo>
                      <a:pt x="1449" y="732"/>
                    </a:moveTo>
                    <a:lnTo>
                      <a:pt x="1446" y="740"/>
                    </a:lnTo>
                    <a:lnTo>
                      <a:pt x="1445" y="749"/>
                    </a:lnTo>
                    <a:lnTo>
                      <a:pt x="1445" y="753"/>
                    </a:lnTo>
                    <a:lnTo>
                      <a:pt x="1447" y="756"/>
                    </a:lnTo>
                    <a:lnTo>
                      <a:pt x="1450" y="759"/>
                    </a:lnTo>
                    <a:lnTo>
                      <a:pt x="1457" y="762"/>
                    </a:lnTo>
                    <a:lnTo>
                      <a:pt x="1463" y="764"/>
                    </a:lnTo>
                    <a:lnTo>
                      <a:pt x="1470" y="764"/>
                    </a:lnTo>
                    <a:lnTo>
                      <a:pt x="1475" y="764"/>
                    </a:lnTo>
                    <a:lnTo>
                      <a:pt x="1481" y="762"/>
                    </a:lnTo>
                    <a:lnTo>
                      <a:pt x="1486" y="760"/>
                    </a:lnTo>
                    <a:lnTo>
                      <a:pt x="1490" y="757"/>
                    </a:lnTo>
                    <a:lnTo>
                      <a:pt x="1492" y="753"/>
                    </a:lnTo>
                    <a:lnTo>
                      <a:pt x="1494" y="749"/>
                    </a:lnTo>
                    <a:lnTo>
                      <a:pt x="1495" y="745"/>
                    </a:lnTo>
                    <a:lnTo>
                      <a:pt x="1494" y="738"/>
                    </a:lnTo>
                    <a:lnTo>
                      <a:pt x="1493" y="733"/>
                    </a:lnTo>
                    <a:lnTo>
                      <a:pt x="1491" y="728"/>
                    </a:lnTo>
                    <a:lnTo>
                      <a:pt x="1489" y="724"/>
                    </a:lnTo>
                    <a:lnTo>
                      <a:pt x="1486" y="720"/>
                    </a:lnTo>
                    <a:lnTo>
                      <a:pt x="1483" y="718"/>
                    </a:lnTo>
                    <a:lnTo>
                      <a:pt x="1480" y="718"/>
                    </a:lnTo>
                    <a:lnTo>
                      <a:pt x="1472" y="720"/>
                    </a:lnTo>
                    <a:lnTo>
                      <a:pt x="1466" y="723"/>
                    </a:lnTo>
                    <a:lnTo>
                      <a:pt x="1464" y="725"/>
                    </a:lnTo>
                    <a:lnTo>
                      <a:pt x="1461" y="726"/>
                    </a:lnTo>
                    <a:lnTo>
                      <a:pt x="1460" y="728"/>
                    </a:lnTo>
                    <a:lnTo>
                      <a:pt x="1458" y="730"/>
                    </a:lnTo>
                    <a:lnTo>
                      <a:pt x="1457" y="733"/>
                    </a:lnTo>
                    <a:lnTo>
                      <a:pt x="1456" y="732"/>
                    </a:lnTo>
                    <a:lnTo>
                      <a:pt x="1456" y="731"/>
                    </a:lnTo>
                    <a:lnTo>
                      <a:pt x="1454" y="729"/>
                    </a:lnTo>
                    <a:lnTo>
                      <a:pt x="1452" y="728"/>
                    </a:lnTo>
                    <a:lnTo>
                      <a:pt x="1450" y="729"/>
                    </a:lnTo>
                    <a:lnTo>
                      <a:pt x="1449" y="731"/>
                    </a:lnTo>
                    <a:lnTo>
                      <a:pt x="1449" y="732"/>
                    </a:lnTo>
                    <a:close/>
                    <a:moveTo>
                      <a:pt x="1193" y="200"/>
                    </a:moveTo>
                    <a:lnTo>
                      <a:pt x="1200" y="204"/>
                    </a:lnTo>
                    <a:lnTo>
                      <a:pt x="1207" y="206"/>
                    </a:lnTo>
                    <a:lnTo>
                      <a:pt x="1215" y="207"/>
                    </a:lnTo>
                    <a:lnTo>
                      <a:pt x="1221" y="208"/>
                    </a:lnTo>
                    <a:lnTo>
                      <a:pt x="1225" y="208"/>
                    </a:lnTo>
                    <a:lnTo>
                      <a:pt x="1227" y="210"/>
                    </a:lnTo>
                    <a:lnTo>
                      <a:pt x="1227" y="212"/>
                    </a:lnTo>
                    <a:lnTo>
                      <a:pt x="1223" y="215"/>
                    </a:lnTo>
                    <a:lnTo>
                      <a:pt x="1217" y="219"/>
                    </a:lnTo>
                    <a:lnTo>
                      <a:pt x="1210" y="221"/>
                    </a:lnTo>
                    <a:lnTo>
                      <a:pt x="1206" y="222"/>
                    </a:lnTo>
                    <a:lnTo>
                      <a:pt x="1202" y="222"/>
                    </a:lnTo>
                    <a:lnTo>
                      <a:pt x="1200" y="223"/>
                    </a:lnTo>
                    <a:lnTo>
                      <a:pt x="1200" y="223"/>
                    </a:lnTo>
                    <a:lnTo>
                      <a:pt x="1202" y="224"/>
                    </a:lnTo>
                    <a:lnTo>
                      <a:pt x="1207" y="227"/>
                    </a:lnTo>
                    <a:lnTo>
                      <a:pt x="1213" y="230"/>
                    </a:lnTo>
                    <a:lnTo>
                      <a:pt x="1220" y="232"/>
                    </a:lnTo>
                    <a:lnTo>
                      <a:pt x="1225" y="233"/>
                    </a:lnTo>
                    <a:lnTo>
                      <a:pt x="1231" y="232"/>
                    </a:lnTo>
                    <a:lnTo>
                      <a:pt x="1237" y="231"/>
                    </a:lnTo>
                    <a:lnTo>
                      <a:pt x="1241" y="230"/>
                    </a:lnTo>
                    <a:lnTo>
                      <a:pt x="1244" y="228"/>
                    </a:lnTo>
                    <a:lnTo>
                      <a:pt x="1245" y="226"/>
                    </a:lnTo>
                    <a:lnTo>
                      <a:pt x="1247" y="221"/>
                    </a:lnTo>
                    <a:lnTo>
                      <a:pt x="1249" y="213"/>
                    </a:lnTo>
                    <a:lnTo>
                      <a:pt x="1251" y="210"/>
                    </a:lnTo>
                    <a:lnTo>
                      <a:pt x="1252" y="208"/>
                    </a:lnTo>
                    <a:lnTo>
                      <a:pt x="1255" y="207"/>
                    </a:lnTo>
                    <a:lnTo>
                      <a:pt x="1257" y="208"/>
                    </a:lnTo>
                    <a:lnTo>
                      <a:pt x="1261" y="220"/>
                    </a:lnTo>
                    <a:lnTo>
                      <a:pt x="1264" y="225"/>
                    </a:lnTo>
                    <a:lnTo>
                      <a:pt x="1266" y="224"/>
                    </a:lnTo>
                    <a:lnTo>
                      <a:pt x="1268" y="222"/>
                    </a:lnTo>
                    <a:lnTo>
                      <a:pt x="1269" y="219"/>
                    </a:lnTo>
                    <a:lnTo>
                      <a:pt x="1271" y="215"/>
                    </a:lnTo>
                    <a:lnTo>
                      <a:pt x="1273" y="209"/>
                    </a:lnTo>
                    <a:lnTo>
                      <a:pt x="1274" y="206"/>
                    </a:lnTo>
                    <a:lnTo>
                      <a:pt x="1276" y="201"/>
                    </a:lnTo>
                    <a:lnTo>
                      <a:pt x="1277" y="194"/>
                    </a:lnTo>
                    <a:lnTo>
                      <a:pt x="1278" y="191"/>
                    </a:lnTo>
                    <a:lnTo>
                      <a:pt x="1279" y="188"/>
                    </a:lnTo>
                    <a:lnTo>
                      <a:pt x="1282" y="186"/>
                    </a:lnTo>
                    <a:lnTo>
                      <a:pt x="1285" y="186"/>
                    </a:lnTo>
                    <a:lnTo>
                      <a:pt x="1292" y="185"/>
                    </a:lnTo>
                    <a:lnTo>
                      <a:pt x="1300" y="183"/>
                    </a:lnTo>
                    <a:lnTo>
                      <a:pt x="1308" y="181"/>
                    </a:lnTo>
                    <a:lnTo>
                      <a:pt x="1312" y="179"/>
                    </a:lnTo>
                    <a:lnTo>
                      <a:pt x="1323" y="174"/>
                    </a:lnTo>
                    <a:lnTo>
                      <a:pt x="1336" y="166"/>
                    </a:lnTo>
                    <a:lnTo>
                      <a:pt x="1335" y="164"/>
                    </a:lnTo>
                    <a:lnTo>
                      <a:pt x="1332" y="161"/>
                    </a:lnTo>
                    <a:lnTo>
                      <a:pt x="1327" y="158"/>
                    </a:lnTo>
                    <a:lnTo>
                      <a:pt x="1320" y="157"/>
                    </a:lnTo>
                    <a:lnTo>
                      <a:pt x="1313" y="158"/>
                    </a:lnTo>
                    <a:lnTo>
                      <a:pt x="1308" y="158"/>
                    </a:lnTo>
                    <a:lnTo>
                      <a:pt x="1306" y="158"/>
                    </a:lnTo>
                    <a:lnTo>
                      <a:pt x="1304" y="157"/>
                    </a:lnTo>
                    <a:lnTo>
                      <a:pt x="1303" y="157"/>
                    </a:lnTo>
                    <a:lnTo>
                      <a:pt x="1301" y="155"/>
                    </a:lnTo>
                    <a:lnTo>
                      <a:pt x="1305" y="152"/>
                    </a:lnTo>
                    <a:lnTo>
                      <a:pt x="1309" y="148"/>
                    </a:lnTo>
                    <a:lnTo>
                      <a:pt x="1310" y="146"/>
                    </a:lnTo>
                    <a:lnTo>
                      <a:pt x="1311" y="145"/>
                    </a:lnTo>
                    <a:lnTo>
                      <a:pt x="1311" y="143"/>
                    </a:lnTo>
                    <a:lnTo>
                      <a:pt x="1309" y="142"/>
                    </a:lnTo>
                    <a:lnTo>
                      <a:pt x="1299" y="140"/>
                    </a:lnTo>
                    <a:lnTo>
                      <a:pt x="1289" y="138"/>
                    </a:lnTo>
                    <a:lnTo>
                      <a:pt x="1285" y="137"/>
                    </a:lnTo>
                    <a:lnTo>
                      <a:pt x="1281" y="136"/>
                    </a:lnTo>
                    <a:lnTo>
                      <a:pt x="1278" y="135"/>
                    </a:lnTo>
                    <a:lnTo>
                      <a:pt x="1278" y="133"/>
                    </a:lnTo>
                    <a:lnTo>
                      <a:pt x="1281" y="128"/>
                    </a:lnTo>
                    <a:lnTo>
                      <a:pt x="1282" y="123"/>
                    </a:lnTo>
                    <a:lnTo>
                      <a:pt x="1282" y="121"/>
                    </a:lnTo>
                    <a:lnTo>
                      <a:pt x="1282" y="119"/>
                    </a:lnTo>
                    <a:lnTo>
                      <a:pt x="1281" y="118"/>
                    </a:lnTo>
                    <a:lnTo>
                      <a:pt x="1278" y="117"/>
                    </a:lnTo>
                    <a:lnTo>
                      <a:pt x="1270" y="116"/>
                    </a:lnTo>
                    <a:lnTo>
                      <a:pt x="1262" y="114"/>
                    </a:lnTo>
                    <a:lnTo>
                      <a:pt x="1255" y="113"/>
                    </a:lnTo>
                    <a:lnTo>
                      <a:pt x="1253" y="110"/>
                    </a:lnTo>
                    <a:lnTo>
                      <a:pt x="1253" y="106"/>
                    </a:lnTo>
                    <a:lnTo>
                      <a:pt x="1254" y="100"/>
                    </a:lnTo>
                    <a:lnTo>
                      <a:pt x="1253" y="95"/>
                    </a:lnTo>
                    <a:lnTo>
                      <a:pt x="1252" y="93"/>
                    </a:lnTo>
                    <a:lnTo>
                      <a:pt x="1250" y="92"/>
                    </a:lnTo>
                    <a:lnTo>
                      <a:pt x="1246" y="90"/>
                    </a:lnTo>
                    <a:lnTo>
                      <a:pt x="1241" y="89"/>
                    </a:lnTo>
                    <a:lnTo>
                      <a:pt x="1235" y="90"/>
                    </a:lnTo>
                    <a:lnTo>
                      <a:pt x="1225" y="93"/>
                    </a:lnTo>
                    <a:lnTo>
                      <a:pt x="1220" y="95"/>
                    </a:lnTo>
                    <a:lnTo>
                      <a:pt x="1228" y="95"/>
                    </a:lnTo>
                    <a:lnTo>
                      <a:pt x="1232" y="96"/>
                    </a:lnTo>
                    <a:lnTo>
                      <a:pt x="1232" y="97"/>
                    </a:lnTo>
                    <a:lnTo>
                      <a:pt x="1231" y="98"/>
                    </a:lnTo>
                    <a:lnTo>
                      <a:pt x="1230" y="100"/>
                    </a:lnTo>
                    <a:lnTo>
                      <a:pt x="1225" y="102"/>
                    </a:lnTo>
                    <a:lnTo>
                      <a:pt x="1219" y="106"/>
                    </a:lnTo>
                    <a:lnTo>
                      <a:pt x="1212" y="110"/>
                    </a:lnTo>
                    <a:lnTo>
                      <a:pt x="1208" y="112"/>
                    </a:lnTo>
                    <a:lnTo>
                      <a:pt x="1208" y="114"/>
                    </a:lnTo>
                    <a:lnTo>
                      <a:pt x="1212" y="116"/>
                    </a:lnTo>
                    <a:lnTo>
                      <a:pt x="1218" y="118"/>
                    </a:lnTo>
                    <a:lnTo>
                      <a:pt x="1219" y="120"/>
                    </a:lnTo>
                    <a:lnTo>
                      <a:pt x="1221" y="121"/>
                    </a:lnTo>
                    <a:lnTo>
                      <a:pt x="1221" y="122"/>
                    </a:lnTo>
                    <a:lnTo>
                      <a:pt x="1219" y="122"/>
                    </a:lnTo>
                    <a:lnTo>
                      <a:pt x="1205" y="123"/>
                    </a:lnTo>
                    <a:lnTo>
                      <a:pt x="1197" y="124"/>
                    </a:lnTo>
                    <a:lnTo>
                      <a:pt x="1193" y="126"/>
                    </a:lnTo>
                    <a:lnTo>
                      <a:pt x="1189" y="130"/>
                    </a:lnTo>
                    <a:lnTo>
                      <a:pt x="1200" y="136"/>
                    </a:lnTo>
                    <a:lnTo>
                      <a:pt x="1208" y="141"/>
                    </a:lnTo>
                    <a:lnTo>
                      <a:pt x="1207" y="143"/>
                    </a:lnTo>
                    <a:lnTo>
                      <a:pt x="1199" y="148"/>
                    </a:lnTo>
                    <a:lnTo>
                      <a:pt x="1193" y="152"/>
                    </a:lnTo>
                    <a:lnTo>
                      <a:pt x="1186" y="154"/>
                    </a:lnTo>
                    <a:lnTo>
                      <a:pt x="1184" y="155"/>
                    </a:lnTo>
                    <a:lnTo>
                      <a:pt x="1183" y="155"/>
                    </a:lnTo>
                    <a:lnTo>
                      <a:pt x="1182" y="154"/>
                    </a:lnTo>
                    <a:lnTo>
                      <a:pt x="1182" y="153"/>
                    </a:lnTo>
                    <a:lnTo>
                      <a:pt x="1181" y="150"/>
                    </a:lnTo>
                    <a:lnTo>
                      <a:pt x="1180" y="147"/>
                    </a:lnTo>
                    <a:lnTo>
                      <a:pt x="1179" y="147"/>
                    </a:lnTo>
                    <a:lnTo>
                      <a:pt x="1178" y="147"/>
                    </a:lnTo>
                    <a:lnTo>
                      <a:pt x="1177" y="147"/>
                    </a:lnTo>
                    <a:lnTo>
                      <a:pt x="1175" y="148"/>
                    </a:lnTo>
                    <a:lnTo>
                      <a:pt x="1172" y="152"/>
                    </a:lnTo>
                    <a:lnTo>
                      <a:pt x="1171" y="154"/>
                    </a:lnTo>
                    <a:lnTo>
                      <a:pt x="1169" y="157"/>
                    </a:lnTo>
                    <a:lnTo>
                      <a:pt x="1169" y="159"/>
                    </a:lnTo>
                    <a:lnTo>
                      <a:pt x="1171" y="161"/>
                    </a:lnTo>
                    <a:lnTo>
                      <a:pt x="1174" y="162"/>
                    </a:lnTo>
                    <a:lnTo>
                      <a:pt x="1177" y="163"/>
                    </a:lnTo>
                    <a:lnTo>
                      <a:pt x="1182" y="164"/>
                    </a:lnTo>
                    <a:lnTo>
                      <a:pt x="1190" y="166"/>
                    </a:lnTo>
                    <a:lnTo>
                      <a:pt x="1204" y="168"/>
                    </a:lnTo>
                    <a:lnTo>
                      <a:pt x="1207" y="168"/>
                    </a:lnTo>
                    <a:lnTo>
                      <a:pt x="1207" y="168"/>
                    </a:lnTo>
                    <a:lnTo>
                      <a:pt x="1204" y="169"/>
                    </a:lnTo>
                    <a:lnTo>
                      <a:pt x="1199" y="169"/>
                    </a:lnTo>
                    <a:lnTo>
                      <a:pt x="1188" y="171"/>
                    </a:lnTo>
                    <a:lnTo>
                      <a:pt x="1181" y="175"/>
                    </a:lnTo>
                    <a:lnTo>
                      <a:pt x="1181" y="177"/>
                    </a:lnTo>
                    <a:lnTo>
                      <a:pt x="1183" y="178"/>
                    </a:lnTo>
                    <a:lnTo>
                      <a:pt x="1185" y="179"/>
                    </a:lnTo>
                    <a:lnTo>
                      <a:pt x="1188" y="180"/>
                    </a:lnTo>
                    <a:lnTo>
                      <a:pt x="1195" y="181"/>
                    </a:lnTo>
                    <a:lnTo>
                      <a:pt x="1200" y="180"/>
                    </a:lnTo>
                    <a:lnTo>
                      <a:pt x="1211" y="175"/>
                    </a:lnTo>
                    <a:lnTo>
                      <a:pt x="1222" y="169"/>
                    </a:lnTo>
                    <a:lnTo>
                      <a:pt x="1225" y="168"/>
                    </a:lnTo>
                    <a:lnTo>
                      <a:pt x="1230" y="168"/>
                    </a:lnTo>
                    <a:lnTo>
                      <a:pt x="1232" y="168"/>
                    </a:lnTo>
                    <a:lnTo>
                      <a:pt x="1234" y="168"/>
                    </a:lnTo>
                    <a:lnTo>
                      <a:pt x="1235" y="170"/>
                    </a:lnTo>
                    <a:lnTo>
                      <a:pt x="1235" y="171"/>
                    </a:lnTo>
                    <a:lnTo>
                      <a:pt x="1239" y="178"/>
                    </a:lnTo>
                    <a:lnTo>
                      <a:pt x="1241" y="181"/>
                    </a:lnTo>
                    <a:lnTo>
                      <a:pt x="1229" y="185"/>
                    </a:lnTo>
                    <a:lnTo>
                      <a:pt x="1215" y="187"/>
                    </a:lnTo>
                    <a:lnTo>
                      <a:pt x="1199" y="193"/>
                    </a:lnTo>
                    <a:lnTo>
                      <a:pt x="1185" y="199"/>
                    </a:lnTo>
                    <a:lnTo>
                      <a:pt x="1188" y="200"/>
                    </a:lnTo>
                    <a:lnTo>
                      <a:pt x="1193" y="200"/>
                    </a:lnTo>
                    <a:close/>
                    <a:moveTo>
                      <a:pt x="1086" y="398"/>
                    </a:moveTo>
                    <a:lnTo>
                      <a:pt x="1089" y="395"/>
                    </a:lnTo>
                    <a:lnTo>
                      <a:pt x="1093" y="389"/>
                    </a:lnTo>
                    <a:lnTo>
                      <a:pt x="1096" y="384"/>
                    </a:lnTo>
                    <a:lnTo>
                      <a:pt x="1100" y="378"/>
                    </a:lnTo>
                    <a:lnTo>
                      <a:pt x="1103" y="371"/>
                    </a:lnTo>
                    <a:lnTo>
                      <a:pt x="1106" y="364"/>
                    </a:lnTo>
                    <a:lnTo>
                      <a:pt x="1107" y="359"/>
                    </a:lnTo>
                    <a:lnTo>
                      <a:pt x="1107" y="354"/>
                    </a:lnTo>
                    <a:lnTo>
                      <a:pt x="1103" y="346"/>
                    </a:lnTo>
                    <a:lnTo>
                      <a:pt x="1101" y="337"/>
                    </a:lnTo>
                    <a:lnTo>
                      <a:pt x="1099" y="334"/>
                    </a:lnTo>
                    <a:lnTo>
                      <a:pt x="1097" y="331"/>
                    </a:lnTo>
                    <a:lnTo>
                      <a:pt x="1094" y="330"/>
                    </a:lnTo>
                    <a:lnTo>
                      <a:pt x="1090" y="330"/>
                    </a:lnTo>
                    <a:lnTo>
                      <a:pt x="1083" y="334"/>
                    </a:lnTo>
                    <a:lnTo>
                      <a:pt x="1076" y="339"/>
                    </a:lnTo>
                    <a:lnTo>
                      <a:pt x="1073" y="340"/>
                    </a:lnTo>
                    <a:lnTo>
                      <a:pt x="1071" y="341"/>
                    </a:lnTo>
                    <a:lnTo>
                      <a:pt x="1069" y="341"/>
                    </a:lnTo>
                    <a:lnTo>
                      <a:pt x="1067" y="338"/>
                    </a:lnTo>
                    <a:lnTo>
                      <a:pt x="1062" y="332"/>
                    </a:lnTo>
                    <a:lnTo>
                      <a:pt x="1056" y="328"/>
                    </a:lnTo>
                    <a:lnTo>
                      <a:pt x="1054" y="327"/>
                    </a:lnTo>
                    <a:lnTo>
                      <a:pt x="1051" y="327"/>
                    </a:lnTo>
                    <a:lnTo>
                      <a:pt x="1048" y="328"/>
                    </a:lnTo>
                    <a:lnTo>
                      <a:pt x="1046" y="331"/>
                    </a:lnTo>
                    <a:lnTo>
                      <a:pt x="1044" y="335"/>
                    </a:lnTo>
                    <a:lnTo>
                      <a:pt x="1044" y="339"/>
                    </a:lnTo>
                    <a:lnTo>
                      <a:pt x="1045" y="343"/>
                    </a:lnTo>
                    <a:lnTo>
                      <a:pt x="1046" y="347"/>
                    </a:lnTo>
                    <a:lnTo>
                      <a:pt x="1049" y="355"/>
                    </a:lnTo>
                    <a:lnTo>
                      <a:pt x="1048" y="360"/>
                    </a:lnTo>
                    <a:lnTo>
                      <a:pt x="1042" y="362"/>
                    </a:lnTo>
                    <a:lnTo>
                      <a:pt x="1032" y="363"/>
                    </a:lnTo>
                    <a:lnTo>
                      <a:pt x="1027" y="363"/>
                    </a:lnTo>
                    <a:lnTo>
                      <a:pt x="1022" y="363"/>
                    </a:lnTo>
                    <a:lnTo>
                      <a:pt x="1019" y="361"/>
                    </a:lnTo>
                    <a:lnTo>
                      <a:pt x="1015" y="360"/>
                    </a:lnTo>
                    <a:lnTo>
                      <a:pt x="1013" y="353"/>
                    </a:lnTo>
                    <a:lnTo>
                      <a:pt x="1011" y="345"/>
                    </a:lnTo>
                    <a:lnTo>
                      <a:pt x="1010" y="343"/>
                    </a:lnTo>
                    <a:lnTo>
                      <a:pt x="1008" y="341"/>
                    </a:lnTo>
                    <a:lnTo>
                      <a:pt x="1006" y="342"/>
                    </a:lnTo>
                    <a:lnTo>
                      <a:pt x="1002" y="344"/>
                    </a:lnTo>
                    <a:lnTo>
                      <a:pt x="999" y="349"/>
                    </a:lnTo>
                    <a:lnTo>
                      <a:pt x="996" y="353"/>
                    </a:lnTo>
                    <a:lnTo>
                      <a:pt x="995" y="356"/>
                    </a:lnTo>
                    <a:lnTo>
                      <a:pt x="995" y="359"/>
                    </a:lnTo>
                    <a:lnTo>
                      <a:pt x="997" y="364"/>
                    </a:lnTo>
                    <a:lnTo>
                      <a:pt x="1000" y="367"/>
                    </a:lnTo>
                    <a:lnTo>
                      <a:pt x="1002" y="368"/>
                    </a:lnTo>
                    <a:lnTo>
                      <a:pt x="1005" y="368"/>
                    </a:lnTo>
                    <a:lnTo>
                      <a:pt x="1009" y="368"/>
                    </a:lnTo>
                    <a:lnTo>
                      <a:pt x="1013" y="367"/>
                    </a:lnTo>
                    <a:lnTo>
                      <a:pt x="1017" y="366"/>
                    </a:lnTo>
                    <a:lnTo>
                      <a:pt x="1020" y="367"/>
                    </a:lnTo>
                    <a:lnTo>
                      <a:pt x="1021" y="367"/>
                    </a:lnTo>
                    <a:lnTo>
                      <a:pt x="1021" y="368"/>
                    </a:lnTo>
                    <a:lnTo>
                      <a:pt x="1021" y="371"/>
                    </a:lnTo>
                    <a:lnTo>
                      <a:pt x="1020" y="373"/>
                    </a:lnTo>
                    <a:lnTo>
                      <a:pt x="1017" y="380"/>
                    </a:lnTo>
                    <a:lnTo>
                      <a:pt x="1013" y="386"/>
                    </a:lnTo>
                    <a:lnTo>
                      <a:pt x="1013" y="388"/>
                    </a:lnTo>
                    <a:lnTo>
                      <a:pt x="1013" y="389"/>
                    </a:lnTo>
                    <a:lnTo>
                      <a:pt x="1013" y="390"/>
                    </a:lnTo>
                    <a:lnTo>
                      <a:pt x="1014" y="391"/>
                    </a:lnTo>
                    <a:lnTo>
                      <a:pt x="1028" y="385"/>
                    </a:lnTo>
                    <a:lnTo>
                      <a:pt x="1043" y="380"/>
                    </a:lnTo>
                    <a:lnTo>
                      <a:pt x="1047" y="381"/>
                    </a:lnTo>
                    <a:lnTo>
                      <a:pt x="1050" y="385"/>
                    </a:lnTo>
                    <a:lnTo>
                      <a:pt x="1051" y="387"/>
                    </a:lnTo>
                    <a:lnTo>
                      <a:pt x="1051" y="389"/>
                    </a:lnTo>
                    <a:lnTo>
                      <a:pt x="1051" y="391"/>
                    </a:lnTo>
                    <a:lnTo>
                      <a:pt x="1049" y="394"/>
                    </a:lnTo>
                    <a:lnTo>
                      <a:pt x="1045" y="400"/>
                    </a:lnTo>
                    <a:lnTo>
                      <a:pt x="1040" y="406"/>
                    </a:lnTo>
                    <a:lnTo>
                      <a:pt x="1036" y="410"/>
                    </a:lnTo>
                    <a:lnTo>
                      <a:pt x="1035" y="413"/>
                    </a:lnTo>
                    <a:lnTo>
                      <a:pt x="1035" y="416"/>
                    </a:lnTo>
                    <a:lnTo>
                      <a:pt x="1036" y="419"/>
                    </a:lnTo>
                    <a:lnTo>
                      <a:pt x="1040" y="420"/>
                    </a:lnTo>
                    <a:lnTo>
                      <a:pt x="1043" y="421"/>
                    </a:lnTo>
                    <a:lnTo>
                      <a:pt x="1047" y="422"/>
                    </a:lnTo>
                    <a:lnTo>
                      <a:pt x="1051" y="423"/>
                    </a:lnTo>
                    <a:lnTo>
                      <a:pt x="1055" y="422"/>
                    </a:lnTo>
                    <a:lnTo>
                      <a:pt x="1058" y="422"/>
                    </a:lnTo>
                    <a:lnTo>
                      <a:pt x="1063" y="420"/>
                    </a:lnTo>
                    <a:lnTo>
                      <a:pt x="1067" y="418"/>
                    </a:lnTo>
                    <a:lnTo>
                      <a:pt x="1079" y="405"/>
                    </a:lnTo>
                    <a:lnTo>
                      <a:pt x="1086" y="398"/>
                    </a:lnTo>
                    <a:close/>
                    <a:moveTo>
                      <a:pt x="1127" y="303"/>
                    </a:moveTo>
                    <a:lnTo>
                      <a:pt x="1119" y="305"/>
                    </a:lnTo>
                    <a:lnTo>
                      <a:pt x="1113" y="307"/>
                    </a:lnTo>
                    <a:lnTo>
                      <a:pt x="1113" y="309"/>
                    </a:lnTo>
                    <a:lnTo>
                      <a:pt x="1114" y="312"/>
                    </a:lnTo>
                    <a:lnTo>
                      <a:pt x="1116" y="315"/>
                    </a:lnTo>
                    <a:lnTo>
                      <a:pt x="1119" y="317"/>
                    </a:lnTo>
                    <a:lnTo>
                      <a:pt x="1127" y="324"/>
                    </a:lnTo>
                    <a:lnTo>
                      <a:pt x="1131" y="332"/>
                    </a:lnTo>
                    <a:lnTo>
                      <a:pt x="1135" y="338"/>
                    </a:lnTo>
                    <a:lnTo>
                      <a:pt x="1140" y="344"/>
                    </a:lnTo>
                    <a:lnTo>
                      <a:pt x="1141" y="347"/>
                    </a:lnTo>
                    <a:lnTo>
                      <a:pt x="1143" y="350"/>
                    </a:lnTo>
                    <a:lnTo>
                      <a:pt x="1144" y="352"/>
                    </a:lnTo>
                    <a:lnTo>
                      <a:pt x="1145" y="353"/>
                    </a:lnTo>
                    <a:lnTo>
                      <a:pt x="1144" y="355"/>
                    </a:lnTo>
                    <a:lnTo>
                      <a:pt x="1143" y="358"/>
                    </a:lnTo>
                    <a:lnTo>
                      <a:pt x="1139" y="366"/>
                    </a:lnTo>
                    <a:lnTo>
                      <a:pt x="1131" y="376"/>
                    </a:lnTo>
                    <a:lnTo>
                      <a:pt x="1123" y="383"/>
                    </a:lnTo>
                    <a:lnTo>
                      <a:pt x="1119" y="389"/>
                    </a:lnTo>
                    <a:lnTo>
                      <a:pt x="1115" y="391"/>
                    </a:lnTo>
                    <a:lnTo>
                      <a:pt x="1112" y="394"/>
                    </a:lnTo>
                    <a:lnTo>
                      <a:pt x="1110" y="395"/>
                    </a:lnTo>
                    <a:lnTo>
                      <a:pt x="1109" y="397"/>
                    </a:lnTo>
                    <a:lnTo>
                      <a:pt x="1108" y="400"/>
                    </a:lnTo>
                    <a:lnTo>
                      <a:pt x="1107" y="405"/>
                    </a:lnTo>
                    <a:lnTo>
                      <a:pt x="1107" y="409"/>
                    </a:lnTo>
                    <a:lnTo>
                      <a:pt x="1107" y="413"/>
                    </a:lnTo>
                    <a:lnTo>
                      <a:pt x="1108" y="416"/>
                    </a:lnTo>
                    <a:lnTo>
                      <a:pt x="1110" y="418"/>
                    </a:lnTo>
                    <a:lnTo>
                      <a:pt x="1114" y="422"/>
                    </a:lnTo>
                    <a:lnTo>
                      <a:pt x="1120" y="426"/>
                    </a:lnTo>
                    <a:lnTo>
                      <a:pt x="1124" y="428"/>
                    </a:lnTo>
                    <a:lnTo>
                      <a:pt x="1129" y="429"/>
                    </a:lnTo>
                    <a:lnTo>
                      <a:pt x="1133" y="428"/>
                    </a:lnTo>
                    <a:lnTo>
                      <a:pt x="1137" y="427"/>
                    </a:lnTo>
                    <a:lnTo>
                      <a:pt x="1146" y="424"/>
                    </a:lnTo>
                    <a:lnTo>
                      <a:pt x="1154" y="422"/>
                    </a:lnTo>
                    <a:lnTo>
                      <a:pt x="1158" y="422"/>
                    </a:lnTo>
                    <a:lnTo>
                      <a:pt x="1161" y="420"/>
                    </a:lnTo>
                    <a:lnTo>
                      <a:pt x="1163" y="419"/>
                    </a:lnTo>
                    <a:lnTo>
                      <a:pt x="1165" y="416"/>
                    </a:lnTo>
                    <a:lnTo>
                      <a:pt x="1167" y="413"/>
                    </a:lnTo>
                    <a:lnTo>
                      <a:pt x="1168" y="410"/>
                    </a:lnTo>
                    <a:lnTo>
                      <a:pt x="1168" y="406"/>
                    </a:lnTo>
                    <a:lnTo>
                      <a:pt x="1168" y="402"/>
                    </a:lnTo>
                    <a:lnTo>
                      <a:pt x="1166" y="399"/>
                    </a:lnTo>
                    <a:lnTo>
                      <a:pt x="1163" y="395"/>
                    </a:lnTo>
                    <a:lnTo>
                      <a:pt x="1159" y="391"/>
                    </a:lnTo>
                    <a:lnTo>
                      <a:pt x="1154" y="388"/>
                    </a:lnTo>
                    <a:lnTo>
                      <a:pt x="1150" y="385"/>
                    </a:lnTo>
                    <a:lnTo>
                      <a:pt x="1146" y="382"/>
                    </a:lnTo>
                    <a:lnTo>
                      <a:pt x="1146" y="380"/>
                    </a:lnTo>
                    <a:lnTo>
                      <a:pt x="1146" y="377"/>
                    </a:lnTo>
                    <a:lnTo>
                      <a:pt x="1147" y="375"/>
                    </a:lnTo>
                    <a:lnTo>
                      <a:pt x="1149" y="373"/>
                    </a:lnTo>
                    <a:lnTo>
                      <a:pt x="1152" y="367"/>
                    </a:lnTo>
                    <a:lnTo>
                      <a:pt x="1154" y="363"/>
                    </a:lnTo>
                    <a:lnTo>
                      <a:pt x="1155" y="359"/>
                    </a:lnTo>
                    <a:lnTo>
                      <a:pt x="1155" y="355"/>
                    </a:lnTo>
                    <a:lnTo>
                      <a:pt x="1154" y="351"/>
                    </a:lnTo>
                    <a:lnTo>
                      <a:pt x="1153" y="349"/>
                    </a:lnTo>
                    <a:lnTo>
                      <a:pt x="1153" y="347"/>
                    </a:lnTo>
                    <a:lnTo>
                      <a:pt x="1155" y="345"/>
                    </a:lnTo>
                    <a:lnTo>
                      <a:pt x="1157" y="342"/>
                    </a:lnTo>
                    <a:lnTo>
                      <a:pt x="1161" y="340"/>
                    </a:lnTo>
                    <a:lnTo>
                      <a:pt x="1167" y="335"/>
                    </a:lnTo>
                    <a:lnTo>
                      <a:pt x="1174" y="329"/>
                    </a:lnTo>
                    <a:lnTo>
                      <a:pt x="1177" y="327"/>
                    </a:lnTo>
                    <a:lnTo>
                      <a:pt x="1179" y="327"/>
                    </a:lnTo>
                    <a:lnTo>
                      <a:pt x="1180" y="329"/>
                    </a:lnTo>
                    <a:lnTo>
                      <a:pt x="1180" y="335"/>
                    </a:lnTo>
                    <a:lnTo>
                      <a:pt x="1180" y="342"/>
                    </a:lnTo>
                    <a:lnTo>
                      <a:pt x="1181" y="347"/>
                    </a:lnTo>
                    <a:lnTo>
                      <a:pt x="1183" y="352"/>
                    </a:lnTo>
                    <a:lnTo>
                      <a:pt x="1186" y="355"/>
                    </a:lnTo>
                    <a:lnTo>
                      <a:pt x="1193" y="358"/>
                    </a:lnTo>
                    <a:lnTo>
                      <a:pt x="1195" y="361"/>
                    </a:lnTo>
                    <a:lnTo>
                      <a:pt x="1186" y="369"/>
                    </a:lnTo>
                    <a:lnTo>
                      <a:pt x="1180" y="379"/>
                    </a:lnTo>
                    <a:lnTo>
                      <a:pt x="1179" y="385"/>
                    </a:lnTo>
                    <a:lnTo>
                      <a:pt x="1178" y="397"/>
                    </a:lnTo>
                    <a:lnTo>
                      <a:pt x="1178" y="402"/>
                    </a:lnTo>
                    <a:lnTo>
                      <a:pt x="1179" y="407"/>
                    </a:lnTo>
                    <a:lnTo>
                      <a:pt x="1181" y="412"/>
                    </a:lnTo>
                    <a:lnTo>
                      <a:pt x="1185" y="416"/>
                    </a:lnTo>
                    <a:lnTo>
                      <a:pt x="1202" y="418"/>
                    </a:lnTo>
                    <a:lnTo>
                      <a:pt x="1212" y="420"/>
                    </a:lnTo>
                    <a:lnTo>
                      <a:pt x="1226" y="417"/>
                    </a:lnTo>
                    <a:lnTo>
                      <a:pt x="1242" y="413"/>
                    </a:lnTo>
                    <a:lnTo>
                      <a:pt x="1247" y="418"/>
                    </a:lnTo>
                    <a:lnTo>
                      <a:pt x="1252" y="420"/>
                    </a:lnTo>
                    <a:lnTo>
                      <a:pt x="1262" y="422"/>
                    </a:lnTo>
                    <a:lnTo>
                      <a:pt x="1278" y="422"/>
                    </a:lnTo>
                    <a:lnTo>
                      <a:pt x="1289" y="422"/>
                    </a:lnTo>
                    <a:lnTo>
                      <a:pt x="1296" y="421"/>
                    </a:lnTo>
                    <a:lnTo>
                      <a:pt x="1301" y="419"/>
                    </a:lnTo>
                    <a:lnTo>
                      <a:pt x="1306" y="416"/>
                    </a:lnTo>
                    <a:lnTo>
                      <a:pt x="1309" y="413"/>
                    </a:lnTo>
                    <a:lnTo>
                      <a:pt x="1311" y="412"/>
                    </a:lnTo>
                    <a:lnTo>
                      <a:pt x="1313" y="412"/>
                    </a:lnTo>
                    <a:lnTo>
                      <a:pt x="1316" y="413"/>
                    </a:lnTo>
                    <a:lnTo>
                      <a:pt x="1332" y="410"/>
                    </a:lnTo>
                    <a:lnTo>
                      <a:pt x="1347" y="407"/>
                    </a:lnTo>
                    <a:lnTo>
                      <a:pt x="1350" y="409"/>
                    </a:lnTo>
                    <a:lnTo>
                      <a:pt x="1354" y="411"/>
                    </a:lnTo>
                    <a:lnTo>
                      <a:pt x="1359" y="411"/>
                    </a:lnTo>
                    <a:lnTo>
                      <a:pt x="1365" y="412"/>
                    </a:lnTo>
                    <a:lnTo>
                      <a:pt x="1378" y="412"/>
                    </a:lnTo>
                    <a:lnTo>
                      <a:pt x="1388" y="412"/>
                    </a:lnTo>
                    <a:lnTo>
                      <a:pt x="1393" y="411"/>
                    </a:lnTo>
                    <a:lnTo>
                      <a:pt x="1398" y="410"/>
                    </a:lnTo>
                    <a:lnTo>
                      <a:pt x="1403" y="407"/>
                    </a:lnTo>
                    <a:lnTo>
                      <a:pt x="1408" y="404"/>
                    </a:lnTo>
                    <a:lnTo>
                      <a:pt x="1413" y="401"/>
                    </a:lnTo>
                    <a:lnTo>
                      <a:pt x="1416" y="398"/>
                    </a:lnTo>
                    <a:lnTo>
                      <a:pt x="1416" y="396"/>
                    </a:lnTo>
                    <a:lnTo>
                      <a:pt x="1417" y="395"/>
                    </a:lnTo>
                    <a:lnTo>
                      <a:pt x="1416" y="394"/>
                    </a:lnTo>
                    <a:lnTo>
                      <a:pt x="1416" y="393"/>
                    </a:lnTo>
                    <a:lnTo>
                      <a:pt x="1408" y="389"/>
                    </a:lnTo>
                    <a:lnTo>
                      <a:pt x="1401" y="386"/>
                    </a:lnTo>
                    <a:lnTo>
                      <a:pt x="1399" y="385"/>
                    </a:lnTo>
                    <a:lnTo>
                      <a:pt x="1397" y="383"/>
                    </a:lnTo>
                    <a:lnTo>
                      <a:pt x="1398" y="381"/>
                    </a:lnTo>
                    <a:lnTo>
                      <a:pt x="1401" y="378"/>
                    </a:lnTo>
                    <a:lnTo>
                      <a:pt x="1408" y="374"/>
                    </a:lnTo>
                    <a:lnTo>
                      <a:pt x="1415" y="369"/>
                    </a:lnTo>
                    <a:lnTo>
                      <a:pt x="1416" y="367"/>
                    </a:lnTo>
                    <a:lnTo>
                      <a:pt x="1417" y="365"/>
                    </a:lnTo>
                    <a:lnTo>
                      <a:pt x="1416" y="364"/>
                    </a:lnTo>
                    <a:lnTo>
                      <a:pt x="1413" y="361"/>
                    </a:lnTo>
                    <a:lnTo>
                      <a:pt x="1404" y="355"/>
                    </a:lnTo>
                    <a:lnTo>
                      <a:pt x="1393" y="346"/>
                    </a:lnTo>
                    <a:lnTo>
                      <a:pt x="1387" y="343"/>
                    </a:lnTo>
                    <a:lnTo>
                      <a:pt x="1382" y="340"/>
                    </a:lnTo>
                    <a:lnTo>
                      <a:pt x="1377" y="338"/>
                    </a:lnTo>
                    <a:lnTo>
                      <a:pt x="1374" y="338"/>
                    </a:lnTo>
                    <a:lnTo>
                      <a:pt x="1366" y="341"/>
                    </a:lnTo>
                    <a:lnTo>
                      <a:pt x="1357" y="346"/>
                    </a:lnTo>
                    <a:lnTo>
                      <a:pt x="1353" y="349"/>
                    </a:lnTo>
                    <a:lnTo>
                      <a:pt x="1349" y="350"/>
                    </a:lnTo>
                    <a:lnTo>
                      <a:pt x="1346" y="350"/>
                    </a:lnTo>
                    <a:lnTo>
                      <a:pt x="1342" y="347"/>
                    </a:lnTo>
                    <a:lnTo>
                      <a:pt x="1340" y="343"/>
                    </a:lnTo>
                    <a:lnTo>
                      <a:pt x="1338" y="340"/>
                    </a:lnTo>
                    <a:lnTo>
                      <a:pt x="1337" y="339"/>
                    </a:lnTo>
                    <a:lnTo>
                      <a:pt x="1335" y="339"/>
                    </a:lnTo>
                    <a:lnTo>
                      <a:pt x="1334" y="340"/>
                    </a:lnTo>
                    <a:lnTo>
                      <a:pt x="1331" y="341"/>
                    </a:lnTo>
                    <a:lnTo>
                      <a:pt x="1328" y="345"/>
                    </a:lnTo>
                    <a:lnTo>
                      <a:pt x="1326" y="351"/>
                    </a:lnTo>
                    <a:lnTo>
                      <a:pt x="1325" y="354"/>
                    </a:lnTo>
                    <a:lnTo>
                      <a:pt x="1321" y="357"/>
                    </a:lnTo>
                    <a:lnTo>
                      <a:pt x="1317" y="359"/>
                    </a:lnTo>
                    <a:lnTo>
                      <a:pt x="1312" y="361"/>
                    </a:lnTo>
                    <a:lnTo>
                      <a:pt x="1298" y="364"/>
                    </a:lnTo>
                    <a:lnTo>
                      <a:pt x="1287" y="366"/>
                    </a:lnTo>
                    <a:lnTo>
                      <a:pt x="1279" y="367"/>
                    </a:lnTo>
                    <a:lnTo>
                      <a:pt x="1276" y="367"/>
                    </a:lnTo>
                    <a:lnTo>
                      <a:pt x="1275" y="365"/>
                    </a:lnTo>
                    <a:lnTo>
                      <a:pt x="1274" y="361"/>
                    </a:lnTo>
                    <a:lnTo>
                      <a:pt x="1272" y="360"/>
                    </a:lnTo>
                    <a:lnTo>
                      <a:pt x="1270" y="359"/>
                    </a:lnTo>
                    <a:lnTo>
                      <a:pt x="1268" y="359"/>
                    </a:lnTo>
                    <a:lnTo>
                      <a:pt x="1264" y="361"/>
                    </a:lnTo>
                    <a:lnTo>
                      <a:pt x="1252" y="369"/>
                    </a:lnTo>
                    <a:lnTo>
                      <a:pt x="1248" y="372"/>
                    </a:lnTo>
                    <a:lnTo>
                      <a:pt x="1244" y="368"/>
                    </a:lnTo>
                    <a:lnTo>
                      <a:pt x="1228" y="358"/>
                    </a:lnTo>
                    <a:lnTo>
                      <a:pt x="1223" y="355"/>
                    </a:lnTo>
                    <a:lnTo>
                      <a:pt x="1220" y="352"/>
                    </a:lnTo>
                    <a:lnTo>
                      <a:pt x="1218" y="349"/>
                    </a:lnTo>
                    <a:lnTo>
                      <a:pt x="1217" y="346"/>
                    </a:lnTo>
                    <a:lnTo>
                      <a:pt x="1216" y="344"/>
                    </a:lnTo>
                    <a:lnTo>
                      <a:pt x="1217" y="343"/>
                    </a:lnTo>
                    <a:lnTo>
                      <a:pt x="1218" y="341"/>
                    </a:lnTo>
                    <a:lnTo>
                      <a:pt x="1220" y="341"/>
                    </a:lnTo>
                    <a:lnTo>
                      <a:pt x="1218" y="340"/>
                    </a:lnTo>
                    <a:lnTo>
                      <a:pt x="1210" y="339"/>
                    </a:lnTo>
                    <a:lnTo>
                      <a:pt x="1206" y="338"/>
                    </a:lnTo>
                    <a:lnTo>
                      <a:pt x="1203" y="337"/>
                    </a:lnTo>
                    <a:lnTo>
                      <a:pt x="1202" y="336"/>
                    </a:lnTo>
                    <a:lnTo>
                      <a:pt x="1202" y="336"/>
                    </a:lnTo>
                    <a:lnTo>
                      <a:pt x="1203" y="335"/>
                    </a:lnTo>
                    <a:lnTo>
                      <a:pt x="1204" y="334"/>
                    </a:lnTo>
                    <a:lnTo>
                      <a:pt x="1218" y="325"/>
                    </a:lnTo>
                    <a:lnTo>
                      <a:pt x="1227" y="320"/>
                    </a:lnTo>
                    <a:lnTo>
                      <a:pt x="1228" y="317"/>
                    </a:lnTo>
                    <a:lnTo>
                      <a:pt x="1232" y="311"/>
                    </a:lnTo>
                    <a:lnTo>
                      <a:pt x="1234" y="309"/>
                    </a:lnTo>
                    <a:lnTo>
                      <a:pt x="1238" y="307"/>
                    </a:lnTo>
                    <a:lnTo>
                      <a:pt x="1239" y="307"/>
                    </a:lnTo>
                    <a:lnTo>
                      <a:pt x="1241" y="308"/>
                    </a:lnTo>
                    <a:lnTo>
                      <a:pt x="1242" y="309"/>
                    </a:lnTo>
                    <a:lnTo>
                      <a:pt x="1244" y="310"/>
                    </a:lnTo>
                    <a:lnTo>
                      <a:pt x="1246" y="314"/>
                    </a:lnTo>
                    <a:lnTo>
                      <a:pt x="1249" y="317"/>
                    </a:lnTo>
                    <a:lnTo>
                      <a:pt x="1252" y="319"/>
                    </a:lnTo>
                    <a:lnTo>
                      <a:pt x="1255" y="320"/>
                    </a:lnTo>
                    <a:lnTo>
                      <a:pt x="1263" y="321"/>
                    </a:lnTo>
                    <a:lnTo>
                      <a:pt x="1272" y="320"/>
                    </a:lnTo>
                    <a:lnTo>
                      <a:pt x="1277" y="319"/>
                    </a:lnTo>
                    <a:lnTo>
                      <a:pt x="1282" y="316"/>
                    </a:lnTo>
                    <a:lnTo>
                      <a:pt x="1285" y="313"/>
                    </a:lnTo>
                    <a:lnTo>
                      <a:pt x="1289" y="309"/>
                    </a:lnTo>
                    <a:lnTo>
                      <a:pt x="1292" y="307"/>
                    </a:lnTo>
                    <a:lnTo>
                      <a:pt x="1294" y="305"/>
                    </a:lnTo>
                    <a:lnTo>
                      <a:pt x="1296" y="305"/>
                    </a:lnTo>
                    <a:lnTo>
                      <a:pt x="1297" y="306"/>
                    </a:lnTo>
                    <a:lnTo>
                      <a:pt x="1298" y="307"/>
                    </a:lnTo>
                    <a:lnTo>
                      <a:pt x="1299" y="308"/>
                    </a:lnTo>
                    <a:lnTo>
                      <a:pt x="1304" y="312"/>
                    </a:lnTo>
                    <a:lnTo>
                      <a:pt x="1308" y="314"/>
                    </a:lnTo>
                    <a:lnTo>
                      <a:pt x="1312" y="315"/>
                    </a:lnTo>
                    <a:lnTo>
                      <a:pt x="1317" y="316"/>
                    </a:lnTo>
                    <a:lnTo>
                      <a:pt x="1321" y="316"/>
                    </a:lnTo>
                    <a:lnTo>
                      <a:pt x="1326" y="315"/>
                    </a:lnTo>
                    <a:lnTo>
                      <a:pt x="1329" y="313"/>
                    </a:lnTo>
                    <a:lnTo>
                      <a:pt x="1330" y="312"/>
                    </a:lnTo>
                    <a:lnTo>
                      <a:pt x="1332" y="308"/>
                    </a:lnTo>
                    <a:lnTo>
                      <a:pt x="1334" y="303"/>
                    </a:lnTo>
                    <a:lnTo>
                      <a:pt x="1335" y="302"/>
                    </a:lnTo>
                    <a:lnTo>
                      <a:pt x="1336" y="301"/>
                    </a:lnTo>
                    <a:lnTo>
                      <a:pt x="1338" y="301"/>
                    </a:lnTo>
                    <a:lnTo>
                      <a:pt x="1340" y="302"/>
                    </a:lnTo>
                    <a:lnTo>
                      <a:pt x="1344" y="306"/>
                    </a:lnTo>
                    <a:lnTo>
                      <a:pt x="1348" y="309"/>
                    </a:lnTo>
                    <a:lnTo>
                      <a:pt x="1352" y="310"/>
                    </a:lnTo>
                    <a:lnTo>
                      <a:pt x="1355" y="310"/>
                    </a:lnTo>
                    <a:lnTo>
                      <a:pt x="1358" y="309"/>
                    </a:lnTo>
                    <a:lnTo>
                      <a:pt x="1364" y="307"/>
                    </a:lnTo>
                    <a:lnTo>
                      <a:pt x="1370" y="305"/>
                    </a:lnTo>
                    <a:lnTo>
                      <a:pt x="1376" y="303"/>
                    </a:lnTo>
                    <a:lnTo>
                      <a:pt x="1384" y="305"/>
                    </a:lnTo>
                    <a:lnTo>
                      <a:pt x="1394" y="308"/>
                    </a:lnTo>
                    <a:lnTo>
                      <a:pt x="1404" y="312"/>
                    </a:lnTo>
                    <a:lnTo>
                      <a:pt x="1414" y="316"/>
                    </a:lnTo>
                    <a:lnTo>
                      <a:pt x="1418" y="317"/>
                    </a:lnTo>
                    <a:lnTo>
                      <a:pt x="1422" y="316"/>
                    </a:lnTo>
                    <a:lnTo>
                      <a:pt x="1425" y="315"/>
                    </a:lnTo>
                    <a:lnTo>
                      <a:pt x="1428" y="312"/>
                    </a:lnTo>
                    <a:lnTo>
                      <a:pt x="1439" y="301"/>
                    </a:lnTo>
                    <a:lnTo>
                      <a:pt x="1445" y="295"/>
                    </a:lnTo>
                    <a:lnTo>
                      <a:pt x="1449" y="291"/>
                    </a:lnTo>
                    <a:lnTo>
                      <a:pt x="1454" y="287"/>
                    </a:lnTo>
                    <a:lnTo>
                      <a:pt x="1457" y="286"/>
                    </a:lnTo>
                    <a:lnTo>
                      <a:pt x="1458" y="284"/>
                    </a:lnTo>
                    <a:lnTo>
                      <a:pt x="1457" y="281"/>
                    </a:lnTo>
                    <a:lnTo>
                      <a:pt x="1454" y="280"/>
                    </a:lnTo>
                    <a:lnTo>
                      <a:pt x="1446" y="277"/>
                    </a:lnTo>
                    <a:lnTo>
                      <a:pt x="1436" y="275"/>
                    </a:lnTo>
                    <a:lnTo>
                      <a:pt x="1426" y="274"/>
                    </a:lnTo>
                    <a:lnTo>
                      <a:pt x="1417" y="272"/>
                    </a:lnTo>
                    <a:lnTo>
                      <a:pt x="1409" y="269"/>
                    </a:lnTo>
                    <a:lnTo>
                      <a:pt x="1402" y="268"/>
                    </a:lnTo>
                    <a:lnTo>
                      <a:pt x="1396" y="267"/>
                    </a:lnTo>
                    <a:lnTo>
                      <a:pt x="1391" y="268"/>
                    </a:lnTo>
                    <a:lnTo>
                      <a:pt x="1385" y="270"/>
                    </a:lnTo>
                    <a:lnTo>
                      <a:pt x="1378" y="271"/>
                    </a:lnTo>
                    <a:lnTo>
                      <a:pt x="1375" y="271"/>
                    </a:lnTo>
                    <a:lnTo>
                      <a:pt x="1374" y="270"/>
                    </a:lnTo>
                    <a:lnTo>
                      <a:pt x="1374" y="269"/>
                    </a:lnTo>
                    <a:lnTo>
                      <a:pt x="1376" y="267"/>
                    </a:lnTo>
                    <a:lnTo>
                      <a:pt x="1382" y="262"/>
                    </a:lnTo>
                    <a:lnTo>
                      <a:pt x="1388" y="256"/>
                    </a:lnTo>
                    <a:lnTo>
                      <a:pt x="1391" y="253"/>
                    </a:lnTo>
                    <a:lnTo>
                      <a:pt x="1394" y="252"/>
                    </a:lnTo>
                    <a:lnTo>
                      <a:pt x="1396" y="251"/>
                    </a:lnTo>
                    <a:lnTo>
                      <a:pt x="1397" y="252"/>
                    </a:lnTo>
                    <a:lnTo>
                      <a:pt x="1400" y="254"/>
                    </a:lnTo>
                    <a:lnTo>
                      <a:pt x="1402" y="256"/>
                    </a:lnTo>
                    <a:lnTo>
                      <a:pt x="1406" y="257"/>
                    </a:lnTo>
                    <a:lnTo>
                      <a:pt x="1412" y="258"/>
                    </a:lnTo>
                    <a:lnTo>
                      <a:pt x="1417" y="259"/>
                    </a:lnTo>
                    <a:lnTo>
                      <a:pt x="1420" y="259"/>
                    </a:lnTo>
                    <a:lnTo>
                      <a:pt x="1425" y="258"/>
                    </a:lnTo>
                    <a:lnTo>
                      <a:pt x="1437" y="255"/>
                    </a:lnTo>
                    <a:lnTo>
                      <a:pt x="1443" y="253"/>
                    </a:lnTo>
                    <a:lnTo>
                      <a:pt x="1448" y="251"/>
                    </a:lnTo>
                    <a:lnTo>
                      <a:pt x="1452" y="248"/>
                    </a:lnTo>
                    <a:lnTo>
                      <a:pt x="1454" y="245"/>
                    </a:lnTo>
                    <a:lnTo>
                      <a:pt x="1456" y="243"/>
                    </a:lnTo>
                    <a:lnTo>
                      <a:pt x="1456" y="240"/>
                    </a:lnTo>
                    <a:lnTo>
                      <a:pt x="1454" y="237"/>
                    </a:lnTo>
                    <a:lnTo>
                      <a:pt x="1453" y="235"/>
                    </a:lnTo>
                    <a:lnTo>
                      <a:pt x="1448" y="233"/>
                    </a:lnTo>
                    <a:lnTo>
                      <a:pt x="1443" y="230"/>
                    </a:lnTo>
                    <a:lnTo>
                      <a:pt x="1441" y="230"/>
                    </a:lnTo>
                    <a:lnTo>
                      <a:pt x="1440" y="229"/>
                    </a:lnTo>
                    <a:lnTo>
                      <a:pt x="1441" y="228"/>
                    </a:lnTo>
                    <a:lnTo>
                      <a:pt x="1443" y="228"/>
                    </a:lnTo>
                    <a:lnTo>
                      <a:pt x="1451" y="227"/>
                    </a:lnTo>
                    <a:lnTo>
                      <a:pt x="1461" y="227"/>
                    </a:lnTo>
                    <a:lnTo>
                      <a:pt x="1470" y="226"/>
                    </a:lnTo>
                    <a:lnTo>
                      <a:pt x="1479" y="225"/>
                    </a:lnTo>
                    <a:lnTo>
                      <a:pt x="1480" y="224"/>
                    </a:lnTo>
                    <a:lnTo>
                      <a:pt x="1481" y="224"/>
                    </a:lnTo>
                    <a:lnTo>
                      <a:pt x="1481" y="223"/>
                    </a:lnTo>
                    <a:lnTo>
                      <a:pt x="1480" y="222"/>
                    </a:lnTo>
                    <a:lnTo>
                      <a:pt x="1478" y="220"/>
                    </a:lnTo>
                    <a:lnTo>
                      <a:pt x="1475" y="218"/>
                    </a:lnTo>
                    <a:lnTo>
                      <a:pt x="1472" y="217"/>
                    </a:lnTo>
                    <a:lnTo>
                      <a:pt x="1471" y="214"/>
                    </a:lnTo>
                    <a:lnTo>
                      <a:pt x="1471" y="213"/>
                    </a:lnTo>
                    <a:lnTo>
                      <a:pt x="1474" y="212"/>
                    </a:lnTo>
                    <a:lnTo>
                      <a:pt x="1484" y="211"/>
                    </a:lnTo>
                    <a:lnTo>
                      <a:pt x="1492" y="212"/>
                    </a:lnTo>
                    <a:lnTo>
                      <a:pt x="1496" y="212"/>
                    </a:lnTo>
                    <a:lnTo>
                      <a:pt x="1500" y="211"/>
                    </a:lnTo>
                    <a:lnTo>
                      <a:pt x="1502" y="209"/>
                    </a:lnTo>
                    <a:lnTo>
                      <a:pt x="1503" y="206"/>
                    </a:lnTo>
                    <a:lnTo>
                      <a:pt x="1501" y="202"/>
                    </a:lnTo>
                    <a:lnTo>
                      <a:pt x="1498" y="200"/>
                    </a:lnTo>
                    <a:lnTo>
                      <a:pt x="1494" y="198"/>
                    </a:lnTo>
                    <a:lnTo>
                      <a:pt x="1490" y="197"/>
                    </a:lnTo>
                    <a:lnTo>
                      <a:pt x="1487" y="197"/>
                    </a:lnTo>
                    <a:lnTo>
                      <a:pt x="1485" y="196"/>
                    </a:lnTo>
                    <a:lnTo>
                      <a:pt x="1485" y="196"/>
                    </a:lnTo>
                    <a:lnTo>
                      <a:pt x="1488" y="194"/>
                    </a:lnTo>
                    <a:lnTo>
                      <a:pt x="1495" y="192"/>
                    </a:lnTo>
                    <a:lnTo>
                      <a:pt x="1503" y="191"/>
                    </a:lnTo>
                    <a:lnTo>
                      <a:pt x="1509" y="189"/>
                    </a:lnTo>
                    <a:lnTo>
                      <a:pt x="1511" y="187"/>
                    </a:lnTo>
                    <a:lnTo>
                      <a:pt x="1512" y="184"/>
                    </a:lnTo>
                    <a:lnTo>
                      <a:pt x="1513" y="182"/>
                    </a:lnTo>
                    <a:lnTo>
                      <a:pt x="1513" y="181"/>
                    </a:lnTo>
                    <a:lnTo>
                      <a:pt x="1512" y="179"/>
                    </a:lnTo>
                    <a:lnTo>
                      <a:pt x="1510" y="178"/>
                    </a:lnTo>
                    <a:lnTo>
                      <a:pt x="1506" y="177"/>
                    </a:lnTo>
                    <a:lnTo>
                      <a:pt x="1497" y="174"/>
                    </a:lnTo>
                    <a:lnTo>
                      <a:pt x="1489" y="170"/>
                    </a:lnTo>
                    <a:lnTo>
                      <a:pt x="1485" y="169"/>
                    </a:lnTo>
                    <a:lnTo>
                      <a:pt x="1482" y="169"/>
                    </a:lnTo>
                    <a:lnTo>
                      <a:pt x="1479" y="169"/>
                    </a:lnTo>
                    <a:lnTo>
                      <a:pt x="1475" y="170"/>
                    </a:lnTo>
                    <a:lnTo>
                      <a:pt x="1473" y="174"/>
                    </a:lnTo>
                    <a:lnTo>
                      <a:pt x="1473" y="177"/>
                    </a:lnTo>
                    <a:lnTo>
                      <a:pt x="1473" y="178"/>
                    </a:lnTo>
                    <a:lnTo>
                      <a:pt x="1471" y="178"/>
                    </a:lnTo>
                    <a:lnTo>
                      <a:pt x="1467" y="178"/>
                    </a:lnTo>
                    <a:lnTo>
                      <a:pt x="1461" y="176"/>
                    </a:lnTo>
                    <a:lnTo>
                      <a:pt x="1456" y="175"/>
                    </a:lnTo>
                    <a:lnTo>
                      <a:pt x="1454" y="172"/>
                    </a:lnTo>
                    <a:lnTo>
                      <a:pt x="1457" y="170"/>
                    </a:lnTo>
                    <a:lnTo>
                      <a:pt x="1460" y="169"/>
                    </a:lnTo>
                    <a:lnTo>
                      <a:pt x="1464" y="168"/>
                    </a:lnTo>
                    <a:lnTo>
                      <a:pt x="1468" y="167"/>
                    </a:lnTo>
                    <a:lnTo>
                      <a:pt x="1471" y="165"/>
                    </a:lnTo>
                    <a:lnTo>
                      <a:pt x="1472" y="164"/>
                    </a:lnTo>
                    <a:lnTo>
                      <a:pt x="1470" y="161"/>
                    </a:lnTo>
                    <a:lnTo>
                      <a:pt x="1469" y="159"/>
                    </a:lnTo>
                    <a:lnTo>
                      <a:pt x="1469" y="157"/>
                    </a:lnTo>
                    <a:lnTo>
                      <a:pt x="1471" y="155"/>
                    </a:lnTo>
                    <a:lnTo>
                      <a:pt x="1473" y="152"/>
                    </a:lnTo>
                    <a:lnTo>
                      <a:pt x="1474" y="148"/>
                    </a:lnTo>
                    <a:lnTo>
                      <a:pt x="1475" y="147"/>
                    </a:lnTo>
                    <a:lnTo>
                      <a:pt x="1478" y="146"/>
                    </a:lnTo>
                    <a:lnTo>
                      <a:pt x="1480" y="146"/>
                    </a:lnTo>
                    <a:lnTo>
                      <a:pt x="1484" y="147"/>
                    </a:lnTo>
                    <a:lnTo>
                      <a:pt x="1492" y="152"/>
                    </a:lnTo>
                    <a:lnTo>
                      <a:pt x="1498" y="155"/>
                    </a:lnTo>
                    <a:lnTo>
                      <a:pt x="1502" y="156"/>
                    </a:lnTo>
                    <a:lnTo>
                      <a:pt x="1506" y="155"/>
                    </a:lnTo>
                    <a:lnTo>
                      <a:pt x="1510" y="154"/>
                    </a:lnTo>
                    <a:lnTo>
                      <a:pt x="1514" y="152"/>
                    </a:lnTo>
                    <a:lnTo>
                      <a:pt x="1525" y="146"/>
                    </a:lnTo>
                    <a:lnTo>
                      <a:pt x="1531" y="143"/>
                    </a:lnTo>
                    <a:lnTo>
                      <a:pt x="1533" y="141"/>
                    </a:lnTo>
                    <a:lnTo>
                      <a:pt x="1535" y="140"/>
                    </a:lnTo>
                    <a:lnTo>
                      <a:pt x="1535" y="139"/>
                    </a:lnTo>
                    <a:lnTo>
                      <a:pt x="1535" y="137"/>
                    </a:lnTo>
                    <a:lnTo>
                      <a:pt x="1531" y="134"/>
                    </a:lnTo>
                    <a:lnTo>
                      <a:pt x="1526" y="131"/>
                    </a:lnTo>
                    <a:lnTo>
                      <a:pt x="1524" y="128"/>
                    </a:lnTo>
                    <a:lnTo>
                      <a:pt x="1523" y="127"/>
                    </a:lnTo>
                    <a:lnTo>
                      <a:pt x="1523" y="126"/>
                    </a:lnTo>
                    <a:lnTo>
                      <a:pt x="1525" y="126"/>
                    </a:lnTo>
                    <a:lnTo>
                      <a:pt x="1534" y="128"/>
                    </a:lnTo>
                    <a:lnTo>
                      <a:pt x="1548" y="133"/>
                    </a:lnTo>
                    <a:lnTo>
                      <a:pt x="1554" y="135"/>
                    </a:lnTo>
                    <a:lnTo>
                      <a:pt x="1559" y="136"/>
                    </a:lnTo>
                    <a:lnTo>
                      <a:pt x="1563" y="136"/>
                    </a:lnTo>
                    <a:lnTo>
                      <a:pt x="1566" y="135"/>
                    </a:lnTo>
                    <a:lnTo>
                      <a:pt x="1564" y="132"/>
                    </a:lnTo>
                    <a:lnTo>
                      <a:pt x="1562" y="130"/>
                    </a:lnTo>
                    <a:lnTo>
                      <a:pt x="1560" y="127"/>
                    </a:lnTo>
                    <a:lnTo>
                      <a:pt x="1557" y="125"/>
                    </a:lnTo>
                    <a:lnTo>
                      <a:pt x="1554" y="123"/>
                    </a:lnTo>
                    <a:lnTo>
                      <a:pt x="1553" y="121"/>
                    </a:lnTo>
                    <a:lnTo>
                      <a:pt x="1553" y="119"/>
                    </a:lnTo>
                    <a:lnTo>
                      <a:pt x="1555" y="117"/>
                    </a:lnTo>
                    <a:lnTo>
                      <a:pt x="1561" y="113"/>
                    </a:lnTo>
                    <a:lnTo>
                      <a:pt x="1568" y="111"/>
                    </a:lnTo>
                    <a:lnTo>
                      <a:pt x="1575" y="109"/>
                    </a:lnTo>
                    <a:lnTo>
                      <a:pt x="1583" y="106"/>
                    </a:lnTo>
                    <a:lnTo>
                      <a:pt x="1591" y="104"/>
                    </a:lnTo>
                    <a:lnTo>
                      <a:pt x="1597" y="101"/>
                    </a:lnTo>
                    <a:lnTo>
                      <a:pt x="1601" y="99"/>
                    </a:lnTo>
                    <a:lnTo>
                      <a:pt x="1603" y="95"/>
                    </a:lnTo>
                    <a:lnTo>
                      <a:pt x="1604" y="93"/>
                    </a:lnTo>
                    <a:lnTo>
                      <a:pt x="1607" y="91"/>
                    </a:lnTo>
                    <a:lnTo>
                      <a:pt x="1611" y="89"/>
                    </a:lnTo>
                    <a:lnTo>
                      <a:pt x="1615" y="88"/>
                    </a:lnTo>
                    <a:lnTo>
                      <a:pt x="1624" y="83"/>
                    </a:lnTo>
                    <a:lnTo>
                      <a:pt x="1633" y="80"/>
                    </a:lnTo>
                    <a:lnTo>
                      <a:pt x="1647" y="74"/>
                    </a:lnTo>
                    <a:lnTo>
                      <a:pt x="1669" y="65"/>
                    </a:lnTo>
                    <a:lnTo>
                      <a:pt x="1680" y="60"/>
                    </a:lnTo>
                    <a:lnTo>
                      <a:pt x="1688" y="56"/>
                    </a:lnTo>
                    <a:lnTo>
                      <a:pt x="1690" y="55"/>
                    </a:lnTo>
                    <a:lnTo>
                      <a:pt x="1692" y="53"/>
                    </a:lnTo>
                    <a:lnTo>
                      <a:pt x="1692" y="52"/>
                    </a:lnTo>
                    <a:lnTo>
                      <a:pt x="1690" y="52"/>
                    </a:lnTo>
                    <a:lnTo>
                      <a:pt x="1683" y="52"/>
                    </a:lnTo>
                    <a:lnTo>
                      <a:pt x="1670" y="53"/>
                    </a:lnTo>
                    <a:lnTo>
                      <a:pt x="1656" y="56"/>
                    </a:lnTo>
                    <a:lnTo>
                      <a:pt x="1639" y="59"/>
                    </a:lnTo>
                    <a:lnTo>
                      <a:pt x="1623" y="62"/>
                    </a:lnTo>
                    <a:lnTo>
                      <a:pt x="1611" y="65"/>
                    </a:lnTo>
                    <a:lnTo>
                      <a:pt x="1601" y="67"/>
                    </a:lnTo>
                    <a:lnTo>
                      <a:pt x="1598" y="66"/>
                    </a:lnTo>
                    <a:lnTo>
                      <a:pt x="1600" y="64"/>
                    </a:lnTo>
                    <a:lnTo>
                      <a:pt x="1604" y="61"/>
                    </a:lnTo>
                    <a:lnTo>
                      <a:pt x="1611" y="59"/>
                    </a:lnTo>
                    <a:lnTo>
                      <a:pt x="1618" y="57"/>
                    </a:lnTo>
                    <a:lnTo>
                      <a:pt x="1633" y="54"/>
                    </a:lnTo>
                    <a:lnTo>
                      <a:pt x="1639" y="53"/>
                    </a:lnTo>
                    <a:lnTo>
                      <a:pt x="1624" y="51"/>
                    </a:lnTo>
                    <a:lnTo>
                      <a:pt x="1611" y="49"/>
                    </a:lnTo>
                    <a:lnTo>
                      <a:pt x="1625" y="47"/>
                    </a:lnTo>
                    <a:lnTo>
                      <a:pt x="1641" y="46"/>
                    </a:lnTo>
                    <a:lnTo>
                      <a:pt x="1651" y="47"/>
                    </a:lnTo>
                    <a:lnTo>
                      <a:pt x="1667" y="47"/>
                    </a:lnTo>
                    <a:lnTo>
                      <a:pt x="1674" y="43"/>
                    </a:lnTo>
                    <a:lnTo>
                      <a:pt x="1679" y="40"/>
                    </a:lnTo>
                    <a:lnTo>
                      <a:pt x="1685" y="40"/>
                    </a:lnTo>
                    <a:lnTo>
                      <a:pt x="1696" y="38"/>
                    </a:lnTo>
                    <a:lnTo>
                      <a:pt x="1708" y="36"/>
                    </a:lnTo>
                    <a:lnTo>
                      <a:pt x="1714" y="34"/>
                    </a:lnTo>
                    <a:lnTo>
                      <a:pt x="1721" y="31"/>
                    </a:lnTo>
                    <a:lnTo>
                      <a:pt x="1730" y="28"/>
                    </a:lnTo>
                    <a:lnTo>
                      <a:pt x="1734" y="26"/>
                    </a:lnTo>
                    <a:lnTo>
                      <a:pt x="1737" y="24"/>
                    </a:lnTo>
                    <a:lnTo>
                      <a:pt x="1737" y="23"/>
                    </a:lnTo>
                    <a:lnTo>
                      <a:pt x="1737" y="22"/>
                    </a:lnTo>
                    <a:lnTo>
                      <a:pt x="1736" y="22"/>
                    </a:lnTo>
                    <a:lnTo>
                      <a:pt x="1735" y="21"/>
                    </a:lnTo>
                    <a:lnTo>
                      <a:pt x="1725" y="16"/>
                    </a:lnTo>
                    <a:lnTo>
                      <a:pt x="1719" y="14"/>
                    </a:lnTo>
                    <a:lnTo>
                      <a:pt x="1705" y="11"/>
                    </a:lnTo>
                    <a:lnTo>
                      <a:pt x="1696" y="8"/>
                    </a:lnTo>
                    <a:lnTo>
                      <a:pt x="1695" y="6"/>
                    </a:lnTo>
                    <a:lnTo>
                      <a:pt x="1692" y="4"/>
                    </a:lnTo>
                    <a:lnTo>
                      <a:pt x="1688" y="3"/>
                    </a:lnTo>
                    <a:lnTo>
                      <a:pt x="1683" y="2"/>
                    </a:lnTo>
                    <a:lnTo>
                      <a:pt x="1674" y="3"/>
                    </a:lnTo>
                    <a:lnTo>
                      <a:pt x="1663" y="4"/>
                    </a:lnTo>
                    <a:lnTo>
                      <a:pt x="1651" y="6"/>
                    </a:lnTo>
                    <a:lnTo>
                      <a:pt x="1642" y="8"/>
                    </a:lnTo>
                    <a:lnTo>
                      <a:pt x="1634" y="10"/>
                    </a:lnTo>
                    <a:lnTo>
                      <a:pt x="1626" y="11"/>
                    </a:lnTo>
                    <a:lnTo>
                      <a:pt x="1620" y="11"/>
                    </a:lnTo>
                    <a:lnTo>
                      <a:pt x="1617" y="10"/>
                    </a:lnTo>
                    <a:lnTo>
                      <a:pt x="1616" y="10"/>
                    </a:lnTo>
                    <a:lnTo>
                      <a:pt x="1616" y="9"/>
                    </a:lnTo>
                    <a:lnTo>
                      <a:pt x="1616" y="9"/>
                    </a:lnTo>
                    <a:lnTo>
                      <a:pt x="1617" y="9"/>
                    </a:lnTo>
                    <a:lnTo>
                      <a:pt x="1620" y="8"/>
                    </a:lnTo>
                    <a:lnTo>
                      <a:pt x="1627" y="6"/>
                    </a:lnTo>
                    <a:lnTo>
                      <a:pt x="1637" y="5"/>
                    </a:lnTo>
                    <a:lnTo>
                      <a:pt x="1649" y="3"/>
                    </a:lnTo>
                    <a:lnTo>
                      <a:pt x="1654" y="3"/>
                    </a:lnTo>
                    <a:lnTo>
                      <a:pt x="1656" y="2"/>
                    </a:lnTo>
                    <a:lnTo>
                      <a:pt x="1652" y="2"/>
                    </a:lnTo>
                    <a:lnTo>
                      <a:pt x="1645" y="2"/>
                    </a:lnTo>
                    <a:lnTo>
                      <a:pt x="1626" y="1"/>
                    </a:lnTo>
                    <a:lnTo>
                      <a:pt x="1612" y="1"/>
                    </a:lnTo>
                    <a:lnTo>
                      <a:pt x="1601" y="1"/>
                    </a:lnTo>
                    <a:lnTo>
                      <a:pt x="1594" y="1"/>
                    </a:lnTo>
                    <a:lnTo>
                      <a:pt x="1585" y="0"/>
                    </a:lnTo>
                    <a:lnTo>
                      <a:pt x="1579" y="2"/>
                    </a:lnTo>
                    <a:lnTo>
                      <a:pt x="1577" y="3"/>
                    </a:lnTo>
                    <a:lnTo>
                      <a:pt x="1575" y="4"/>
                    </a:lnTo>
                    <a:lnTo>
                      <a:pt x="1572" y="4"/>
                    </a:lnTo>
                    <a:lnTo>
                      <a:pt x="1569" y="4"/>
                    </a:lnTo>
                    <a:lnTo>
                      <a:pt x="1563" y="2"/>
                    </a:lnTo>
                    <a:lnTo>
                      <a:pt x="1555" y="1"/>
                    </a:lnTo>
                    <a:lnTo>
                      <a:pt x="1546" y="1"/>
                    </a:lnTo>
                    <a:lnTo>
                      <a:pt x="1541" y="2"/>
                    </a:lnTo>
                    <a:lnTo>
                      <a:pt x="1547" y="6"/>
                    </a:lnTo>
                    <a:lnTo>
                      <a:pt x="1552" y="8"/>
                    </a:lnTo>
                    <a:lnTo>
                      <a:pt x="1551" y="9"/>
                    </a:lnTo>
                    <a:lnTo>
                      <a:pt x="1549" y="11"/>
                    </a:lnTo>
                    <a:lnTo>
                      <a:pt x="1546" y="12"/>
                    </a:lnTo>
                    <a:lnTo>
                      <a:pt x="1540" y="11"/>
                    </a:lnTo>
                    <a:lnTo>
                      <a:pt x="1525" y="7"/>
                    </a:lnTo>
                    <a:lnTo>
                      <a:pt x="1517" y="4"/>
                    </a:lnTo>
                    <a:lnTo>
                      <a:pt x="1517" y="4"/>
                    </a:lnTo>
                    <a:lnTo>
                      <a:pt x="1516" y="3"/>
                    </a:lnTo>
                    <a:lnTo>
                      <a:pt x="1513" y="3"/>
                    </a:lnTo>
                    <a:lnTo>
                      <a:pt x="1506" y="4"/>
                    </a:lnTo>
                    <a:lnTo>
                      <a:pt x="1491" y="5"/>
                    </a:lnTo>
                    <a:lnTo>
                      <a:pt x="1482" y="6"/>
                    </a:lnTo>
                    <a:lnTo>
                      <a:pt x="1480" y="7"/>
                    </a:lnTo>
                    <a:lnTo>
                      <a:pt x="1480" y="8"/>
                    </a:lnTo>
                    <a:lnTo>
                      <a:pt x="1480" y="8"/>
                    </a:lnTo>
                    <a:lnTo>
                      <a:pt x="1481" y="9"/>
                    </a:lnTo>
                    <a:lnTo>
                      <a:pt x="1485" y="10"/>
                    </a:lnTo>
                    <a:lnTo>
                      <a:pt x="1489" y="10"/>
                    </a:lnTo>
                    <a:lnTo>
                      <a:pt x="1503" y="12"/>
                    </a:lnTo>
                    <a:lnTo>
                      <a:pt x="1513" y="15"/>
                    </a:lnTo>
                    <a:lnTo>
                      <a:pt x="1513" y="16"/>
                    </a:lnTo>
                    <a:lnTo>
                      <a:pt x="1513" y="18"/>
                    </a:lnTo>
                    <a:lnTo>
                      <a:pt x="1511" y="18"/>
                    </a:lnTo>
                    <a:lnTo>
                      <a:pt x="1505" y="18"/>
                    </a:lnTo>
                    <a:lnTo>
                      <a:pt x="1493" y="17"/>
                    </a:lnTo>
                    <a:lnTo>
                      <a:pt x="1486" y="15"/>
                    </a:lnTo>
                    <a:lnTo>
                      <a:pt x="1480" y="13"/>
                    </a:lnTo>
                    <a:lnTo>
                      <a:pt x="1475" y="11"/>
                    </a:lnTo>
                    <a:lnTo>
                      <a:pt x="1466" y="10"/>
                    </a:lnTo>
                    <a:lnTo>
                      <a:pt x="1460" y="9"/>
                    </a:lnTo>
                    <a:lnTo>
                      <a:pt x="1456" y="10"/>
                    </a:lnTo>
                    <a:lnTo>
                      <a:pt x="1447" y="11"/>
                    </a:lnTo>
                    <a:lnTo>
                      <a:pt x="1440" y="13"/>
                    </a:lnTo>
                    <a:lnTo>
                      <a:pt x="1440" y="14"/>
                    </a:lnTo>
                    <a:lnTo>
                      <a:pt x="1450" y="14"/>
                    </a:lnTo>
                    <a:lnTo>
                      <a:pt x="1451" y="15"/>
                    </a:lnTo>
                    <a:lnTo>
                      <a:pt x="1441" y="18"/>
                    </a:lnTo>
                    <a:lnTo>
                      <a:pt x="1434" y="20"/>
                    </a:lnTo>
                    <a:lnTo>
                      <a:pt x="1435" y="20"/>
                    </a:lnTo>
                    <a:lnTo>
                      <a:pt x="1435" y="21"/>
                    </a:lnTo>
                    <a:lnTo>
                      <a:pt x="1435" y="21"/>
                    </a:lnTo>
                    <a:lnTo>
                      <a:pt x="1430" y="23"/>
                    </a:lnTo>
                    <a:lnTo>
                      <a:pt x="1419" y="25"/>
                    </a:lnTo>
                    <a:lnTo>
                      <a:pt x="1412" y="26"/>
                    </a:lnTo>
                    <a:lnTo>
                      <a:pt x="1407" y="28"/>
                    </a:lnTo>
                    <a:lnTo>
                      <a:pt x="1401" y="31"/>
                    </a:lnTo>
                    <a:lnTo>
                      <a:pt x="1399" y="31"/>
                    </a:lnTo>
                    <a:lnTo>
                      <a:pt x="1399" y="32"/>
                    </a:lnTo>
                    <a:lnTo>
                      <a:pt x="1399" y="32"/>
                    </a:lnTo>
                    <a:lnTo>
                      <a:pt x="1400" y="33"/>
                    </a:lnTo>
                    <a:lnTo>
                      <a:pt x="1403" y="34"/>
                    </a:lnTo>
                    <a:lnTo>
                      <a:pt x="1406" y="34"/>
                    </a:lnTo>
                    <a:lnTo>
                      <a:pt x="1416" y="35"/>
                    </a:lnTo>
                    <a:lnTo>
                      <a:pt x="1422" y="38"/>
                    </a:lnTo>
                    <a:lnTo>
                      <a:pt x="1423" y="40"/>
                    </a:lnTo>
                    <a:lnTo>
                      <a:pt x="1421" y="43"/>
                    </a:lnTo>
                    <a:lnTo>
                      <a:pt x="1419" y="44"/>
                    </a:lnTo>
                    <a:lnTo>
                      <a:pt x="1418" y="44"/>
                    </a:lnTo>
                    <a:lnTo>
                      <a:pt x="1416" y="44"/>
                    </a:lnTo>
                    <a:lnTo>
                      <a:pt x="1413" y="43"/>
                    </a:lnTo>
                    <a:lnTo>
                      <a:pt x="1403" y="40"/>
                    </a:lnTo>
                    <a:lnTo>
                      <a:pt x="1395" y="38"/>
                    </a:lnTo>
                    <a:lnTo>
                      <a:pt x="1383" y="38"/>
                    </a:lnTo>
                    <a:lnTo>
                      <a:pt x="1374" y="36"/>
                    </a:lnTo>
                    <a:lnTo>
                      <a:pt x="1372" y="34"/>
                    </a:lnTo>
                    <a:lnTo>
                      <a:pt x="1369" y="33"/>
                    </a:lnTo>
                    <a:lnTo>
                      <a:pt x="1365" y="32"/>
                    </a:lnTo>
                    <a:lnTo>
                      <a:pt x="1363" y="31"/>
                    </a:lnTo>
                    <a:lnTo>
                      <a:pt x="1358" y="32"/>
                    </a:lnTo>
                    <a:lnTo>
                      <a:pt x="1353" y="34"/>
                    </a:lnTo>
                    <a:lnTo>
                      <a:pt x="1350" y="34"/>
                    </a:lnTo>
                    <a:lnTo>
                      <a:pt x="1349" y="35"/>
                    </a:lnTo>
                    <a:lnTo>
                      <a:pt x="1348" y="36"/>
                    </a:lnTo>
                    <a:lnTo>
                      <a:pt x="1349" y="37"/>
                    </a:lnTo>
                    <a:lnTo>
                      <a:pt x="1351" y="38"/>
                    </a:lnTo>
                    <a:lnTo>
                      <a:pt x="1352" y="38"/>
                    </a:lnTo>
                    <a:lnTo>
                      <a:pt x="1350" y="39"/>
                    </a:lnTo>
                    <a:lnTo>
                      <a:pt x="1346" y="42"/>
                    </a:lnTo>
                    <a:lnTo>
                      <a:pt x="1340" y="44"/>
                    </a:lnTo>
                    <a:lnTo>
                      <a:pt x="1336" y="45"/>
                    </a:lnTo>
                    <a:lnTo>
                      <a:pt x="1334" y="46"/>
                    </a:lnTo>
                    <a:lnTo>
                      <a:pt x="1333" y="46"/>
                    </a:lnTo>
                    <a:lnTo>
                      <a:pt x="1332" y="47"/>
                    </a:lnTo>
                    <a:lnTo>
                      <a:pt x="1333" y="47"/>
                    </a:lnTo>
                    <a:lnTo>
                      <a:pt x="1344" y="49"/>
                    </a:lnTo>
                    <a:lnTo>
                      <a:pt x="1348" y="50"/>
                    </a:lnTo>
                    <a:lnTo>
                      <a:pt x="1336" y="52"/>
                    </a:lnTo>
                    <a:lnTo>
                      <a:pt x="1326" y="53"/>
                    </a:lnTo>
                    <a:lnTo>
                      <a:pt x="1326" y="51"/>
                    </a:lnTo>
                    <a:lnTo>
                      <a:pt x="1327" y="50"/>
                    </a:lnTo>
                    <a:lnTo>
                      <a:pt x="1326" y="49"/>
                    </a:lnTo>
                    <a:lnTo>
                      <a:pt x="1320" y="50"/>
                    </a:lnTo>
                    <a:lnTo>
                      <a:pt x="1310" y="55"/>
                    </a:lnTo>
                    <a:lnTo>
                      <a:pt x="1303" y="57"/>
                    </a:lnTo>
                    <a:lnTo>
                      <a:pt x="1294" y="59"/>
                    </a:lnTo>
                    <a:lnTo>
                      <a:pt x="1288" y="62"/>
                    </a:lnTo>
                    <a:lnTo>
                      <a:pt x="1275" y="66"/>
                    </a:lnTo>
                    <a:lnTo>
                      <a:pt x="1263" y="71"/>
                    </a:lnTo>
                    <a:lnTo>
                      <a:pt x="1260" y="73"/>
                    </a:lnTo>
                    <a:lnTo>
                      <a:pt x="1259" y="75"/>
                    </a:lnTo>
                    <a:lnTo>
                      <a:pt x="1260" y="76"/>
                    </a:lnTo>
                    <a:lnTo>
                      <a:pt x="1262" y="77"/>
                    </a:lnTo>
                    <a:lnTo>
                      <a:pt x="1272" y="75"/>
                    </a:lnTo>
                    <a:lnTo>
                      <a:pt x="1282" y="73"/>
                    </a:lnTo>
                    <a:lnTo>
                      <a:pt x="1285" y="74"/>
                    </a:lnTo>
                    <a:lnTo>
                      <a:pt x="1287" y="75"/>
                    </a:lnTo>
                    <a:lnTo>
                      <a:pt x="1300" y="72"/>
                    </a:lnTo>
                    <a:lnTo>
                      <a:pt x="1309" y="70"/>
                    </a:lnTo>
                    <a:lnTo>
                      <a:pt x="1303" y="75"/>
                    </a:lnTo>
                    <a:lnTo>
                      <a:pt x="1297" y="79"/>
                    </a:lnTo>
                    <a:lnTo>
                      <a:pt x="1294" y="80"/>
                    </a:lnTo>
                    <a:lnTo>
                      <a:pt x="1291" y="81"/>
                    </a:lnTo>
                    <a:lnTo>
                      <a:pt x="1289" y="82"/>
                    </a:lnTo>
                    <a:lnTo>
                      <a:pt x="1286" y="86"/>
                    </a:lnTo>
                    <a:lnTo>
                      <a:pt x="1284" y="90"/>
                    </a:lnTo>
                    <a:lnTo>
                      <a:pt x="1282" y="92"/>
                    </a:lnTo>
                    <a:lnTo>
                      <a:pt x="1281" y="93"/>
                    </a:lnTo>
                    <a:lnTo>
                      <a:pt x="1281" y="94"/>
                    </a:lnTo>
                    <a:lnTo>
                      <a:pt x="1282" y="95"/>
                    </a:lnTo>
                    <a:lnTo>
                      <a:pt x="1284" y="95"/>
                    </a:lnTo>
                    <a:lnTo>
                      <a:pt x="1300" y="92"/>
                    </a:lnTo>
                    <a:lnTo>
                      <a:pt x="1314" y="90"/>
                    </a:lnTo>
                    <a:lnTo>
                      <a:pt x="1321" y="90"/>
                    </a:lnTo>
                    <a:lnTo>
                      <a:pt x="1331" y="87"/>
                    </a:lnTo>
                    <a:lnTo>
                      <a:pt x="1340" y="83"/>
                    </a:lnTo>
                    <a:lnTo>
                      <a:pt x="1347" y="82"/>
                    </a:lnTo>
                    <a:lnTo>
                      <a:pt x="1359" y="76"/>
                    </a:lnTo>
                    <a:lnTo>
                      <a:pt x="1365" y="75"/>
                    </a:lnTo>
                    <a:lnTo>
                      <a:pt x="1355" y="81"/>
                    </a:lnTo>
                    <a:lnTo>
                      <a:pt x="1343" y="86"/>
                    </a:lnTo>
                    <a:lnTo>
                      <a:pt x="1348" y="86"/>
                    </a:lnTo>
                    <a:lnTo>
                      <a:pt x="1359" y="83"/>
                    </a:lnTo>
                    <a:lnTo>
                      <a:pt x="1373" y="80"/>
                    </a:lnTo>
                    <a:lnTo>
                      <a:pt x="1381" y="79"/>
                    </a:lnTo>
                    <a:lnTo>
                      <a:pt x="1382" y="79"/>
                    </a:lnTo>
                    <a:lnTo>
                      <a:pt x="1383" y="80"/>
                    </a:lnTo>
                    <a:lnTo>
                      <a:pt x="1382" y="81"/>
                    </a:lnTo>
                    <a:lnTo>
                      <a:pt x="1382" y="82"/>
                    </a:lnTo>
                    <a:lnTo>
                      <a:pt x="1378" y="83"/>
                    </a:lnTo>
                    <a:lnTo>
                      <a:pt x="1371" y="86"/>
                    </a:lnTo>
                    <a:lnTo>
                      <a:pt x="1362" y="87"/>
                    </a:lnTo>
                    <a:lnTo>
                      <a:pt x="1354" y="87"/>
                    </a:lnTo>
                    <a:lnTo>
                      <a:pt x="1351" y="87"/>
                    </a:lnTo>
                    <a:lnTo>
                      <a:pt x="1348" y="88"/>
                    </a:lnTo>
                    <a:lnTo>
                      <a:pt x="1346" y="89"/>
                    </a:lnTo>
                    <a:lnTo>
                      <a:pt x="1344" y="90"/>
                    </a:lnTo>
                    <a:lnTo>
                      <a:pt x="1341" y="94"/>
                    </a:lnTo>
                    <a:lnTo>
                      <a:pt x="1337" y="97"/>
                    </a:lnTo>
                    <a:lnTo>
                      <a:pt x="1333" y="99"/>
                    </a:lnTo>
                    <a:lnTo>
                      <a:pt x="1330" y="98"/>
                    </a:lnTo>
                    <a:lnTo>
                      <a:pt x="1321" y="97"/>
                    </a:lnTo>
                    <a:lnTo>
                      <a:pt x="1310" y="97"/>
                    </a:lnTo>
                    <a:lnTo>
                      <a:pt x="1305" y="97"/>
                    </a:lnTo>
                    <a:lnTo>
                      <a:pt x="1299" y="97"/>
                    </a:lnTo>
                    <a:lnTo>
                      <a:pt x="1296" y="98"/>
                    </a:lnTo>
                    <a:lnTo>
                      <a:pt x="1294" y="99"/>
                    </a:lnTo>
                    <a:lnTo>
                      <a:pt x="1294" y="102"/>
                    </a:lnTo>
                    <a:lnTo>
                      <a:pt x="1296" y="106"/>
                    </a:lnTo>
                    <a:lnTo>
                      <a:pt x="1297" y="108"/>
                    </a:lnTo>
                    <a:lnTo>
                      <a:pt x="1300" y="109"/>
                    </a:lnTo>
                    <a:lnTo>
                      <a:pt x="1306" y="109"/>
                    </a:lnTo>
                    <a:lnTo>
                      <a:pt x="1311" y="108"/>
                    </a:lnTo>
                    <a:lnTo>
                      <a:pt x="1328" y="102"/>
                    </a:lnTo>
                    <a:lnTo>
                      <a:pt x="1333" y="102"/>
                    </a:lnTo>
                    <a:lnTo>
                      <a:pt x="1337" y="104"/>
                    </a:lnTo>
                    <a:lnTo>
                      <a:pt x="1340" y="106"/>
                    </a:lnTo>
                    <a:lnTo>
                      <a:pt x="1346" y="106"/>
                    </a:lnTo>
                    <a:lnTo>
                      <a:pt x="1354" y="106"/>
                    </a:lnTo>
                    <a:lnTo>
                      <a:pt x="1360" y="106"/>
                    </a:lnTo>
                    <a:lnTo>
                      <a:pt x="1368" y="103"/>
                    </a:lnTo>
                    <a:lnTo>
                      <a:pt x="1375" y="101"/>
                    </a:lnTo>
                    <a:lnTo>
                      <a:pt x="1382" y="98"/>
                    </a:lnTo>
                    <a:lnTo>
                      <a:pt x="1388" y="95"/>
                    </a:lnTo>
                    <a:lnTo>
                      <a:pt x="1394" y="93"/>
                    </a:lnTo>
                    <a:lnTo>
                      <a:pt x="1396" y="93"/>
                    </a:lnTo>
                    <a:lnTo>
                      <a:pt x="1397" y="93"/>
                    </a:lnTo>
                    <a:lnTo>
                      <a:pt x="1397" y="93"/>
                    </a:lnTo>
                    <a:lnTo>
                      <a:pt x="1397" y="94"/>
                    </a:lnTo>
                    <a:lnTo>
                      <a:pt x="1395" y="98"/>
                    </a:lnTo>
                    <a:lnTo>
                      <a:pt x="1395" y="100"/>
                    </a:lnTo>
                    <a:lnTo>
                      <a:pt x="1397" y="101"/>
                    </a:lnTo>
                    <a:lnTo>
                      <a:pt x="1402" y="100"/>
                    </a:lnTo>
                    <a:lnTo>
                      <a:pt x="1413" y="96"/>
                    </a:lnTo>
                    <a:lnTo>
                      <a:pt x="1425" y="91"/>
                    </a:lnTo>
                    <a:lnTo>
                      <a:pt x="1431" y="88"/>
                    </a:lnTo>
                    <a:lnTo>
                      <a:pt x="1438" y="84"/>
                    </a:lnTo>
                    <a:lnTo>
                      <a:pt x="1442" y="81"/>
                    </a:lnTo>
                    <a:lnTo>
                      <a:pt x="1444" y="78"/>
                    </a:lnTo>
                    <a:lnTo>
                      <a:pt x="1450" y="71"/>
                    </a:lnTo>
                    <a:lnTo>
                      <a:pt x="1458" y="65"/>
                    </a:lnTo>
                    <a:lnTo>
                      <a:pt x="1462" y="61"/>
                    </a:lnTo>
                    <a:lnTo>
                      <a:pt x="1465" y="59"/>
                    </a:lnTo>
                    <a:lnTo>
                      <a:pt x="1468" y="58"/>
                    </a:lnTo>
                    <a:lnTo>
                      <a:pt x="1470" y="59"/>
                    </a:lnTo>
                    <a:lnTo>
                      <a:pt x="1473" y="61"/>
                    </a:lnTo>
                    <a:lnTo>
                      <a:pt x="1475" y="64"/>
                    </a:lnTo>
                    <a:lnTo>
                      <a:pt x="1473" y="67"/>
                    </a:lnTo>
                    <a:lnTo>
                      <a:pt x="1466" y="70"/>
                    </a:lnTo>
                    <a:lnTo>
                      <a:pt x="1458" y="75"/>
                    </a:lnTo>
                    <a:lnTo>
                      <a:pt x="1450" y="78"/>
                    </a:lnTo>
                    <a:lnTo>
                      <a:pt x="1448" y="80"/>
                    </a:lnTo>
                    <a:lnTo>
                      <a:pt x="1447" y="81"/>
                    </a:lnTo>
                    <a:lnTo>
                      <a:pt x="1448" y="82"/>
                    </a:lnTo>
                    <a:lnTo>
                      <a:pt x="1451" y="82"/>
                    </a:lnTo>
                    <a:lnTo>
                      <a:pt x="1464" y="81"/>
                    </a:lnTo>
                    <a:lnTo>
                      <a:pt x="1479" y="79"/>
                    </a:lnTo>
                    <a:lnTo>
                      <a:pt x="1485" y="79"/>
                    </a:lnTo>
                    <a:lnTo>
                      <a:pt x="1489" y="79"/>
                    </a:lnTo>
                    <a:lnTo>
                      <a:pt x="1491" y="79"/>
                    </a:lnTo>
                    <a:lnTo>
                      <a:pt x="1491" y="80"/>
                    </a:lnTo>
                    <a:lnTo>
                      <a:pt x="1490" y="80"/>
                    </a:lnTo>
                    <a:lnTo>
                      <a:pt x="1489" y="81"/>
                    </a:lnTo>
                    <a:lnTo>
                      <a:pt x="1478" y="84"/>
                    </a:lnTo>
                    <a:lnTo>
                      <a:pt x="1463" y="86"/>
                    </a:lnTo>
                    <a:lnTo>
                      <a:pt x="1456" y="86"/>
                    </a:lnTo>
                    <a:lnTo>
                      <a:pt x="1448" y="87"/>
                    </a:lnTo>
                    <a:lnTo>
                      <a:pt x="1443" y="88"/>
                    </a:lnTo>
                    <a:lnTo>
                      <a:pt x="1439" y="90"/>
                    </a:lnTo>
                    <a:lnTo>
                      <a:pt x="1438" y="91"/>
                    </a:lnTo>
                    <a:lnTo>
                      <a:pt x="1438" y="92"/>
                    </a:lnTo>
                    <a:lnTo>
                      <a:pt x="1438" y="93"/>
                    </a:lnTo>
                    <a:lnTo>
                      <a:pt x="1439" y="94"/>
                    </a:lnTo>
                    <a:lnTo>
                      <a:pt x="1441" y="96"/>
                    </a:lnTo>
                    <a:lnTo>
                      <a:pt x="1443" y="97"/>
                    </a:lnTo>
                    <a:lnTo>
                      <a:pt x="1445" y="98"/>
                    </a:lnTo>
                    <a:lnTo>
                      <a:pt x="1446" y="99"/>
                    </a:lnTo>
                    <a:lnTo>
                      <a:pt x="1446" y="100"/>
                    </a:lnTo>
                    <a:lnTo>
                      <a:pt x="1442" y="100"/>
                    </a:lnTo>
                    <a:lnTo>
                      <a:pt x="1431" y="101"/>
                    </a:lnTo>
                    <a:lnTo>
                      <a:pt x="1421" y="102"/>
                    </a:lnTo>
                    <a:lnTo>
                      <a:pt x="1414" y="104"/>
                    </a:lnTo>
                    <a:lnTo>
                      <a:pt x="1408" y="105"/>
                    </a:lnTo>
                    <a:lnTo>
                      <a:pt x="1402" y="108"/>
                    </a:lnTo>
                    <a:lnTo>
                      <a:pt x="1393" y="110"/>
                    </a:lnTo>
                    <a:lnTo>
                      <a:pt x="1387" y="110"/>
                    </a:lnTo>
                    <a:lnTo>
                      <a:pt x="1384" y="111"/>
                    </a:lnTo>
                    <a:lnTo>
                      <a:pt x="1382" y="112"/>
                    </a:lnTo>
                    <a:lnTo>
                      <a:pt x="1381" y="113"/>
                    </a:lnTo>
                    <a:lnTo>
                      <a:pt x="1381" y="114"/>
                    </a:lnTo>
                    <a:lnTo>
                      <a:pt x="1382" y="114"/>
                    </a:lnTo>
                    <a:lnTo>
                      <a:pt x="1386" y="119"/>
                    </a:lnTo>
                    <a:lnTo>
                      <a:pt x="1393" y="123"/>
                    </a:lnTo>
                    <a:lnTo>
                      <a:pt x="1398" y="126"/>
                    </a:lnTo>
                    <a:lnTo>
                      <a:pt x="1402" y="128"/>
                    </a:lnTo>
                    <a:lnTo>
                      <a:pt x="1404" y="133"/>
                    </a:lnTo>
                    <a:lnTo>
                      <a:pt x="1408" y="138"/>
                    </a:lnTo>
                    <a:lnTo>
                      <a:pt x="1415" y="139"/>
                    </a:lnTo>
                    <a:lnTo>
                      <a:pt x="1424" y="138"/>
                    </a:lnTo>
                    <a:lnTo>
                      <a:pt x="1427" y="138"/>
                    </a:lnTo>
                    <a:lnTo>
                      <a:pt x="1429" y="139"/>
                    </a:lnTo>
                    <a:lnTo>
                      <a:pt x="1429" y="140"/>
                    </a:lnTo>
                    <a:lnTo>
                      <a:pt x="1426" y="142"/>
                    </a:lnTo>
                    <a:lnTo>
                      <a:pt x="1421" y="146"/>
                    </a:lnTo>
                    <a:lnTo>
                      <a:pt x="1419" y="149"/>
                    </a:lnTo>
                    <a:lnTo>
                      <a:pt x="1417" y="150"/>
                    </a:lnTo>
                    <a:lnTo>
                      <a:pt x="1412" y="149"/>
                    </a:lnTo>
                    <a:lnTo>
                      <a:pt x="1403" y="148"/>
                    </a:lnTo>
                    <a:lnTo>
                      <a:pt x="1395" y="147"/>
                    </a:lnTo>
                    <a:lnTo>
                      <a:pt x="1391" y="146"/>
                    </a:lnTo>
                    <a:lnTo>
                      <a:pt x="1387" y="145"/>
                    </a:lnTo>
                    <a:lnTo>
                      <a:pt x="1384" y="144"/>
                    </a:lnTo>
                    <a:lnTo>
                      <a:pt x="1383" y="142"/>
                    </a:lnTo>
                    <a:lnTo>
                      <a:pt x="1380" y="136"/>
                    </a:lnTo>
                    <a:lnTo>
                      <a:pt x="1374" y="127"/>
                    </a:lnTo>
                    <a:lnTo>
                      <a:pt x="1371" y="123"/>
                    </a:lnTo>
                    <a:lnTo>
                      <a:pt x="1366" y="120"/>
                    </a:lnTo>
                    <a:lnTo>
                      <a:pt x="1361" y="118"/>
                    </a:lnTo>
                    <a:lnTo>
                      <a:pt x="1356" y="117"/>
                    </a:lnTo>
                    <a:lnTo>
                      <a:pt x="1347" y="117"/>
                    </a:lnTo>
                    <a:lnTo>
                      <a:pt x="1341" y="116"/>
                    </a:lnTo>
                    <a:lnTo>
                      <a:pt x="1340" y="116"/>
                    </a:lnTo>
                    <a:lnTo>
                      <a:pt x="1339" y="116"/>
                    </a:lnTo>
                    <a:lnTo>
                      <a:pt x="1338" y="117"/>
                    </a:lnTo>
                    <a:lnTo>
                      <a:pt x="1337" y="119"/>
                    </a:lnTo>
                    <a:lnTo>
                      <a:pt x="1333" y="123"/>
                    </a:lnTo>
                    <a:lnTo>
                      <a:pt x="1330" y="125"/>
                    </a:lnTo>
                    <a:lnTo>
                      <a:pt x="1329" y="126"/>
                    </a:lnTo>
                    <a:lnTo>
                      <a:pt x="1328" y="127"/>
                    </a:lnTo>
                    <a:lnTo>
                      <a:pt x="1328" y="130"/>
                    </a:lnTo>
                    <a:lnTo>
                      <a:pt x="1330" y="132"/>
                    </a:lnTo>
                    <a:lnTo>
                      <a:pt x="1331" y="138"/>
                    </a:lnTo>
                    <a:lnTo>
                      <a:pt x="1332" y="143"/>
                    </a:lnTo>
                    <a:lnTo>
                      <a:pt x="1333" y="146"/>
                    </a:lnTo>
                    <a:lnTo>
                      <a:pt x="1334" y="149"/>
                    </a:lnTo>
                    <a:lnTo>
                      <a:pt x="1337" y="152"/>
                    </a:lnTo>
                    <a:lnTo>
                      <a:pt x="1340" y="154"/>
                    </a:lnTo>
                    <a:lnTo>
                      <a:pt x="1343" y="155"/>
                    </a:lnTo>
                    <a:lnTo>
                      <a:pt x="1347" y="155"/>
                    </a:lnTo>
                    <a:lnTo>
                      <a:pt x="1350" y="154"/>
                    </a:lnTo>
                    <a:lnTo>
                      <a:pt x="1353" y="153"/>
                    </a:lnTo>
                    <a:lnTo>
                      <a:pt x="1355" y="152"/>
                    </a:lnTo>
                    <a:lnTo>
                      <a:pt x="1357" y="152"/>
                    </a:lnTo>
                    <a:lnTo>
                      <a:pt x="1359" y="153"/>
                    </a:lnTo>
                    <a:lnTo>
                      <a:pt x="1359" y="155"/>
                    </a:lnTo>
                    <a:lnTo>
                      <a:pt x="1359" y="160"/>
                    </a:lnTo>
                    <a:lnTo>
                      <a:pt x="1359" y="163"/>
                    </a:lnTo>
                    <a:lnTo>
                      <a:pt x="1359" y="165"/>
                    </a:lnTo>
                    <a:lnTo>
                      <a:pt x="1361" y="167"/>
                    </a:lnTo>
                    <a:lnTo>
                      <a:pt x="1364" y="169"/>
                    </a:lnTo>
                    <a:lnTo>
                      <a:pt x="1370" y="171"/>
                    </a:lnTo>
                    <a:lnTo>
                      <a:pt x="1390" y="176"/>
                    </a:lnTo>
                    <a:lnTo>
                      <a:pt x="1400" y="178"/>
                    </a:lnTo>
                    <a:lnTo>
                      <a:pt x="1400" y="180"/>
                    </a:lnTo>
                    <a:lnTo>
                      <a:pt x="1399" y="182"/>
                    </a:lnTo>
                    <a:lnTo>
                      <a:pt x="1398" y="184"/>
                    </a:lnTo>
                    <a:lnTo>
                      <a:pt x="1396" y="186"/>
                    </a:lnTo>
                    <a:lnTo>
                      <a:pt x="1391" y="189"/>
                    </a:lnTo>
                    <a:lnTo>
                      <a:pt x="1383" y="191"/>
                    </a:lnTo>
                    <a:lnTo>
                      <a:pt x="1376" y="192"/>
                    </a:lnTo>
                    <a:lnTo>
                      <a:pt x="1368" y="194"/>
                    </a:lnTo>
                    <a:lnTo>
                      <a:pt x="1364" y="196"/>
                    </a:lnTo>
                    <a:lnTo>
                      <a:pt x="1360" y="197"/>
                    </a:lnTo>
                    <a:lnTo>
                      <a:pt x="1357" y="197"/>
                    </a:lnTo>
                    <a:lnTo>
                      <a:pt x="1355" y="196"/>
                    </a:lnTo>
                    <a:lnTo>
                      <a:pt x="1349" y="192"/>
                    </a:lnTo>
                    <a:lnTo>
                      <a:pt x="1342" y="190"/>
                    </a:lnTo>
                    <a:lnTo>
                      <a:pt x="1338" y="190"/>
                    </a:lnTo>
                    <a:lnTo>
                      <a:pt x="1334" y="190"/>
                    </a:lnTo>
                    <a:lnTo>
                      <a:pt x="1330" y="191"/>
                    </a:lnTo>
                    <a:lnTo>
                      <a:pt x="1326" y="193"/>
                    </a:lnTo>
                    <a:lnTo>
                      <a:pt x="1314" y="200"/>
                    </a:lnTo>
                    <a:lnTo>
                      <a:pt x="1301" y="207"/>
                    </a:lnTo>
                    <a:lnTo>
                      <a:pt x="1295" y="211"/>
                    </a:lnTo>
                    <a:lnTo>
                      <a:pt x="1291" y="214"/>
                    </a:lnTo>
                    <a:lnTo>
                      <a:pt x="1290" y="217"/>
                    </a:lnTo>
                    <a:lnTo>
                      <a:pt x="1289" y="218"/>
                    </a:lnTo>
                    <a:lnTo>
                      <a:pt x="1289" y="219"/>
                    </a:lnTo>
                    <a:lnTo>
                      <a:pt x="1289" y="220"/>
                    </a:lnTo>
                    <a:lnTo>
                      <a:pt x="1296" y="221"/>
                    </a:lnTo>
                    <a:lnTo>
                      <a:pt x="1307" y="221"/>
                    </a:lnTo>
                    <a:lnTo>
                      <a:pt x="1316" y="219"/>
                    </a:lnTo>
                    <a:lnTo>
                      <a:pt x="1321" y="218"/>
                    </a:lnTo>
                    <a:lnTo>
                      <a:pt x="1326" y="215"/>
                    </a:lnTo>
                    <a:lnTo>
                      <a:pt x="1333" y="212"/>
                    </a:lnTo>
                    <a:lnTo>
                      <a:pt x="1336" y="211"/>
                    </a:lnTo>
                    <a:lnTo>
                      <a:pt x="1338" y="211"/>
                    </a:lnTo>
                    <a:lnTo>
                      <a:pt x="1339" y="212"/>
                    </a:lnTo>
                    <a:lnTo>
                      <a:pt x="1338" y="214"/>
                    </a:lnTo>
                    <a:lnTo>
                      <a:pt x="1334" y="221"/>
                    </a:lnTo>
                    <a:lnTo>
                      <a:pt x="1329" y="226"/>
                    </a:lnTo>
                    <a:lnTo>
                      <a:pt x="1326" y="229"/>
                    </a:lnTo>
                    <a:lnTo>
                      <a:pt x="1325" y="231"/>
                    </a:lnTo>
                    <a:lnTo>
                      <a:pt x="1323" y="233"/>
                    </a:lnTo>
                    <a:lnTo>
                      <a:pt x="1325" y="236"/>
                    </a:lnTo>
                    <a:lnTo>
                      <a:pt x="1327" y="242"/>
                    </a:lnTo>
                    <a:lnTo>
                      <a:pt x="1330" y="247"/>
                    </a:lnTo>
                    <a:lnTo>
                      <a:pt x="1331" y="249"/>
                    </a:lnTo>
                    <a:lnTo>
                      <a:pt x="1333" y="250"/>
                    </a:lnTo>
                    <a:lnTo>
                      <a:pt x="1335" y="251"/>
                    </a:lnTo>
                    <a:lnTo>
                      <a:pt x="1338" y="251"/>
                    </a:lnTo>
                    <a:lnTo>
                      <a:pt x="1347" y="248"/>
                    </a:lnTo>
                    <a:lnTo>
                      <a:pt x="1359" y="243"/>
                    </a:lnTo>
                    <a:lnTo>
                      <a:pt x="1364" y="240"/>
                    </a:lnTo>
                    <a:lnTo>
                      <a:pt x="1370" y="239"/>
                    </a:lnTo>
                    <a:lnTo>
                      <a:pt x="1373" y="237"/>
                    </a:lnTo>
                    <a:lnTo>
                      <a:pt x="1374" y="239"/>
                    </a:lnTo>
                    <a:lnTo>
                      <a:pt x="1373" y="241"/>
                    </a:lnTo>
                    <a:lnTo>
                      <a:pt x="1372" y="243"/>
                    </a:lnTo>
                    <a:lnTo>
                      <a:pt x="1370" y="246"/>
                    </a:lnTo>
                    <a:lnTo>
                      <a:pt x="1366" y="249"/>
                    </a:lnTo>
                    <a:lnTo>
                      <a:pt x="1360" y="254"/>
                    </a:lnTo>
                    <a:lnTo>
                      <a:pt x="1355" y="257"/>
                    </a:lnTo>
                    <a:lnTo>
                      <a:pt x="1350" y="262"/>
                    </a:lnTo>
                    <a:lnTo>
                      <a:pt x="1344" y="267"/>
                    </a:lnTo>
                    <a:lnTo>
                      <a:pt x="1341" y="268"/>
                    </a:lnTo>
                    <a:lnTo>
                      <a:pt x="1337" y="269"/>
                    </a:lnTo>
                    <a:lnTo>
                      <a:pt x="1333" y="269"/>
                    </a:lnTo>
                    <a:lnTo>
                      <a:pt x="1328" y="268"/>
                    </a:lnTo>
                    <a:lnTo>
                      <a:pt x="1316" y="264"/>
                    </a:lnTo>
                    <a:lnTo>
                      <a:pt x="1306" y="259"/>
                    </a:lnTo>
                    <a:lnTo>
                      <a:pt x="1301" y="257"/>
                    </a:lnTo>
                    <a:lnTo>
                      <a:pt x="1298" y="255"/>
                    </a:lnTo>
                    <a:lnTo>
                      <a:pt x="1297" y="253"/>
                    </a:lnTo>
                    <a:lnTo>
                      <a:pt x="1296" y="251"/>
                    </a:lnTo>
                    <a:lnTo>
                      <a:pt x="1299" y="247"/>
                    </a:lnTo>
                    <a:lnTo>
                      <a:pt x="1303" y="242"/>
                    </a:lnTo>
                    <a:lnTo>
                      <a:pt x="1303" y="241"/>
                    </a:lnTo>
                    <a:lnTo>
                      <a:pt x="1301" y="239"/>
                    </a:lnTo>
                    <a:lnTo>
                      <a:pt x="1298" y="239"/>
                    </a:lnTo>
                    <a:lnTo>
                      <a:pt x="1294" y="240"/>
                    </a:lnTo>
                    <a:lnTo>
                      <a:pt x="1288" y="241"/>
                    </a:lnTo>
                    <a:lnTo>
                      <a:pt x="1284" y="241"/>
                    </a:lnTo>
                    <a:lnTo>
                      <a:pt x="1279" y="240"/>
                    </a:lnTo>
                    <a:lnTo>
                      <a:pt x="1276" y="239"/>
                    </a:lnTo>
                    <a:lnTo>
                      <a:pt x="1273" y="239"/>
                    </a:lnTo>
                    <a:lnTo>
                      <a:pt x="1272" y="240"/>
                    </a:lnTo>
                    <a:lnTo>
                      <a:pt x="1271" y="242"/>
                    </a:lnTo>
                    <a:lnTo>
                      <a:pt x="1271" y="247"/>
                    </a:lnTo>
                    <a:lnTo>
                      <a:pt x="1272" y="252"/>
                    </a:lnTo>
                    <a:lnTo>
                      <a:pt x="1273" y="255"/>
                    </a:lnTo>
                    <a:lnTo>
                      <a:pt x="1275" y="258"/>
                    </a:lnTo>
                    <a:lnTo>
                      <a:pt x="1277" y="261"/>
                    </a:lnTo>
                    <a:lnTo>
                      <a:pt x="1282" y="263"/>
                    </a:lnTo>
                    <a:lnTo>
                      <a:pt x="1287" y="266"/>
                    </a:lnTo>
                    <a:lnTo>
                      <a:pt x="1292" y="268"/>
                    </a:lnTo>
                    <a:lnTo>
                      <a:pt x="1296" y="270"/>
                    </a:lnTo>
                    <a:lnTo>
                      <a:pt x="1297" y="271"/>
                    </a:lnTo>
                    <a:lnTo>
                      <a:pt x="1297" y="272"/>
                    </a:lnTo>
                    <a:lnTo>
                      <a:pt x="1296" y="273"/>
                    </a:lnTo>
                    <a:lnTo>
                      <a:pt x="1295" y="275"/>
                    </a:lnTo>
                    <a:lnTo>
                      <a:pt x="1284" y="279"/>
                    </a:lnTo>
                    <a:lnTo>
                      <a:pt x="1271" y="284"/>
                    </a:lnTo>
                    <a:lnTo>
                      <a:pt x="1255" y="293"/>
                    </a:lnTo>
                    <a:lnTo>
                      <a:pt x="1241" y="301"/>
                    </a:lnTo>
                    <a:lnTo>
                      <a:pt x="1237" y="306"/>
                    </a:lnTo>
                    <a:lnTo>
                      <a:pt x="1230" y="310"/>
                    </a:lnTo>
                    <a:lnTo>
                      <a:pt x="1227" y="312"/>
                    </a:lnTo>
                    <a:lnTo>
                      <a:pt x="1224" y="313"/>
                    </a:lnTo>
                    <a:lnTo>
                      <a:pt x="1222" y="314"/>
                    </a:lnTo>
                    <a:lnTo>
                      <a:pt x="1220" y="313"/>
                    </a:lnTo>
                    <a:lnTo>
                      <a:pt x="1212" y="313"/>
                    </a:lnTo>
                    <a:lnTo>
                      <a:pt x="1199" y="315"/>
                    </a:lnTo>
                    <a:lnTo>
                      <a:pt x="1187" y="316"/>
                    </a:lnTo>
                    <a:lnTo>
                      <a:pt x="1182" y="317"/>
                    </a:lnTo>
                    <a:lnTo>
                      <a:pt x="1182" y="317"/>
                    </a:lnTo>
                    <a:lnTo>
                      <a:pt x="1183" y="316"/>
                    </a:lnTo>
                    <a:lnTo>
                      <a:pt x="1182" y="314"/>
                    </a:lnTo>
                    <a:lnTo>
                      <a:pt x="1178" y="310"/>
                    </a:lnTo>
                    <a:lnTo>
                      <a:pt x="1172" y="305"/>
                    </a:lnTo>
                    <a:lnTo>
                      <a:pt x="1166" y="300"/>
                    </a:lnTo>
                    <a:lnTo>
                      <a:pt x="1161" y="298"/>
                    </a:lnTo>
                    <a:lnTo>
                      <a:pt x="1156" y="298"/>
                    </a:lnTo>
                    <a:lnTo>
                      <a:pt x="1146" y="298"/>
                    </a:lnTo>
                    <a:lnTo>
                      <a:pt x="1141" y="298"/>
                    </a:lnTo>
                    <a:lnTo>
                      <a:pt x="1137" y="299"/>
                    </a:lnTo>
                    <a:lnTo>
                      <a:pt x="1133" y="299"/>
                    </a:lnTo>
                    <a:lnTo>
                      <a:pt x="1129" y="302"/>
                    </a:lnTo>
                    <a:lnTo>
                      <a:pt x="1127" y="303"/>
                    </a:lnTo>
                    <a:close/>
                    <a:moveTo>
                      <a:pt x="1227" y="268"/>
                    </a:moveTo>
                    <a:lnTo>
                      <a:pt x="1224" y="276"/>
                    </a:lnTo>
                    <a:lnTo>
                      <a:pt x="1219" y="283"/>
                    </a:lnTo>
                    <a:lnTo>
                      <a:pt x="1219" y="284"/>
                    </a:lnTo>
                    <a:lnTo>
                      <a:pt x="1220" y="287"/>
                    </a:lnTo>
                    <a:lnTo>
                      <a:pt x="1221" y="288"/>
                    </a:lnTo>
                    <a:lnTo>
                      <a:pt x="1222" y="288"/>
                    </a:lnTo>
                    <a:lnTo>
                      <a:pt x="1224" y="289"/>
                    </a:lnTo>
                    <a:lnTo>
                      <a:pt x="1226" y="288"/>
                    </a:lnTo>
                    <a:lnTo>
                      <a:pt x="1234" y="284"/>
                    </a:lnTo>
                    <a:lnTo>
                      <a:pt x="1242" y="278"/>
                    </a:lnTo>
                    <a:lnTo>
                      <a:pt x="1244" y="275"/>
                    </a:lnTo>
                    <a:lnTo>
                      <a:pt x="1243" y="271"/>
                    </a:lnTo>
                    <a:lnTo>
                      <a:pt x="1241" y="268"/>
                    </a:lnTo>
                    <a:lnTo>
                      <a:pt x="1240" y="266"/>
                    </a:lnTo>
                    <a:lnTo>
                      <a:pt x="1238" y="264"/>
                    </a:lnTo>
                    <a:lnTo>
                      <a:pt x="1234" y="262"/>
                    </a:lnTo>
                    <a:lnTo>
                      <a:pt x="1231" y="261"/>
                    </a:lnTo>
                    <a:lnTo>
                      <a:pt x="1229" y="262"/>
                    </a:lnTo>
                    <a:lnTo>
                      <a:pt x="1228" y="266"/>
                    </a:lnTo>
                    <a:lnTo>
                      <a:pt x="1227" y="268"/>
                    </a:lnTo>
                    <a:close/>
                    <a:moveTo>
                      <a:pt x="1143" y="274"/>
                    </a:moveTo>
                    <a:lnTo>
                      <a:pt x="1147" y="276"/>
                    </a:lnTo>
                    <a:lnTo>
                      <a:pt x="1156" y="277"/>
                    </a:lnTo>
                    <a:lnTo>
                      <a:pt x="1165" y="278"/>
                    </a:lnTo>
                    <a:lnTo>
                      <a:pt x="1172" y="277"/>
                    </a:lnTo>
                    <a:lnTo>
                      <a:pt x="1176" y="276"/>
                    </a:lnTo>
                    <a:lnTo>
                      <a:pt x="1181" y="276"/>
                    </a:lnTo>
                    <a:lnTo>
                      <a:pt x="1183" y="276"/>
                    </a:lnTo>
                    <a:lnTo>
                      <a:pt x="1185" y="274"/>
                    </a:lnTo>
                    <a:lnTo>
                      <a:pt x="1186" y="273"/>
                    </a:lnTo>
                    <a:lnTo>
                      <a:pt x="1186" y="270"/>
                    </a:lnTo>
                    <a:lnTo>
                      <a:pt x="1185" y="267"/>
                    </a:lnTo>
                    <a:lnTo>
                      <a:pt x="1183" y="265"/>
                    </a:lnTo>
                    <a:lnTo>
                      <a:pt x="1180" y="263"/>
                    </a:lnTo>
                    <a:lnTo>
                      <a:pt x="1177" y="263"/>
                    </a:lnTo>
                    <a:lnTo>
                      <a:pt x="1171" y="263"/>
                    </a:lnTo>
                    <a:lnTo>
                      <a:pt x="1166" y="263"/>
                    </a:lnTo>
                    <a:lnTo>
                      <a:pt x="1164" y="263"/>
                    </a:lnTo>
                    <a:lnTo>
                      <a:pt x="1160" y="263"/>
                    </a:lnTo>
                    <a:lnTo>
                      <a:pt x="1156" y="264"/>
                    </a:lnTo>
                    <a:lnTo>
                      <a:pt x="1152" y="266"/>
                    </a:lnTo>
                    <a:lnTo>
                      <a:pt x="1145" y="271"/>
                    </a:lnTo>
                    <a:lnTo>
                      <a:pt x="1143" y="274"/>
                    </a:lnTo>
                    <a:close/>
                    <a:moveTo>
                      <a:pt x="984" y="288"/>
                    </a:moveTo>
                    <a:lnTo>
                      <a:pt x="983" y="290"/>
                    </a:lnTo>
                    <a:lnTo>
                      <a:pt x="982" y="293"/>
                    </a:lnTo>
                    <a:lnTo>
                      <a:pt x="981" y="298"/>
                    </a:lnTo>
                    <a:lnTo>
                      <a:pt x="981" y="303"/>
                    </a:lnTo>
                    <a:lnTo>
                      <a:pt x="981" y="309"/>
                    </a:lnTo>
                    <a:lnTo>
                      <a:pt x="981" y="314"/>
                    </a:lnTo>
                    <a:lnTo>
                      <a:pt x="983" y="318"/>
                    </a:lnTo>
                    <a:lnTo>
                      <a:pt x="985" y="322"/>
                    </a:lnTo>
                    <a:lnTo>
                      <a:pt x="987" y="324"/>
                    </a:lnTo>
                    <a:lnTo>
                      <a:pt x="991" y="325"/>
                    </a:lnTo>
                    <a:lnTo>
                      <a:pt x="995" y="327"/>
                    </a:lnTo>
                    <a:lnTo>
                      <a:pt x="999" y="325"/>
                    </a:lnTo>
                    <a:lnTo>
                      <a:pt x="1003" y="324"/>
                    </a:lnTo>
                    <a:lnTo>
                      <a:pt x="1005" y="323"/>
                    </a:lnTo>
                    <a:lnTo>
                      <a:pt x="1007" y="320"/>
                    </a:lnTo>
                    <a:lnTo>
                      <a:pt x="1006" y="318"/>
                    </a:lnTo>
                    <a:lnTo>
                      <a:pt x="998" y="306"/>
                    </a:lnTo>
                    <a:lnTo>
                      <a:pt x="991" y="297"/>
                    </a:lnTo>
                    <a:lnTo>
                      <a:pt x="987" y="292"/>
                    </a:lnTo>
                    <a:lnTo>
                      <a:pt x="984" y="288"/>
                    </a:lnTo>
                    <a:close/>
                    <a:moveTo>
                      <a:pt x="1115" y="164"/>
                    </a:moveTo>
                    <a:lnTo>
                      <a:pt x="1114" y="167"/>
                    </a:lnTo>
                    <a:lnTo>
                      <a:pt x="1114" y="170"/>
                    </a:lnTo>
                    <a:lnTo>
                      <a:pt x="1115" y="174"/>
                    </a:lnTo>
                    <a:lnTo>
                      <a:pt x="1117" y="177"/>
                    </a:lnTo>
                    <a:lnTo>
                      <a:pt x="1119" y="179"/>
                    </a:lnTo>
                    <a:lnTo>
                      <a:pt x="1121" y="181"/>
                    </a:lnTo>
                    <a:lnTo>
                      <a:pt x="1123" y="181"/>
                    </a:lnTo>
                    <a:lnTo>
                      <a:pt x="1125" y="179"/>
                    </a:lnTo>
                    <a:lnTo>
                      <a:pt x="1131" y="174"/>
                    </a:lnTo>
                    <a:lnTo>
                      <a:pt x="1136" y="167"/>
                    </a:lnTo>
                    <a:lnTo>
                      <a:pt x="1138" y="165"/>
                    </a:lnTo>
                    <a:lnTo>
                      <a:pt x="1140" y="162"/>
                    </a:lnTo>
                    <a:lnTo>
                      <a:pt x="1140" y="160"/>
                    </a:lnTo>
                    <a:lnTo>
                      <a:pt x="1139" y="159"/>
                    </a:lnTo>
                    <a:lnTo>
                      <a:pt x="1136" y="157"/>
                    </a:lnTo>
                    <a:lnTo>
                      <a:pt x="1135" y="156"/>
                    </a:lnTo>
                    <a:lnTo>
                      <a:pt x="1133" y="156"/>
                    </a:lnTo>
                    <a:lnTo>
                      <a:pt x="1130" y="157"/>
                    </a:lnTo>
                    <a:lnTo>
                      <a:pt x="1120" y="161"/>
                    </a:lnTo>
                    <a:lnTo>
                      <a:pt x="1115" y="164"/>
                    </a:lnTo>
                    <a:close/>
                    <a:moveTo>
                      <a:pt x="1124" y="220"/>
                    </a:moveTo>
                    <a:lnTo>
                      <a:pt x="1123" y="223"/>
                    </a:lnTo>
                    <a:lnTo>
                      <a:pt x="1124" y="226"/>
                    </a:lnTo>
                    <a:lnTo>
                      <a:pt x="1125" y="229"/>
                    </a:lnTo>
                    <a:lnTo>
                      <a:pt x="1128" y="231"/>
                    </a:lnTo>
                    <a:lnTo>
                      <a:pt x="1131" y="236"/>
                    </a:lnTo>
                    <a:lnTo>
                      <a:pt x="1132" y="241"/>
                    </a:lnTo>
                    <a:lnTo>
                      <a:pt x="1128" y="245"/>
                    </a:lnTo>
                    <a:lnTo>
                      <a:pt x="1122" y="248"/>
                    </a:lnTo>
                    <a:lnTo>
                      <a:pt x="1121" y="249"/>
                    </a:lnTo>
                    <a:lnTo>
                      <a:pt x="1120" y="252"/>
                    </a:lnTo>
                    <a:lnTo>
                      <a:pt x="1122" y="254"/>
                    </a:lnTo>
                    <a:lnTo>
                      <a:pt x="1125" y="257"/>
                    </a:lnTo>
                    <a:lnTo>
                      <a:pt x="1131" y="261"/>
                    </a:lnTo>
                    <a:lnTo>
                      <a:pt x="1136" y="262"/>
                    </a:lnTo>
                    <a:lnTo>
                      <a:pt x="1139" y="262"/>
                    </a:lnTo>
                    <a:lnTo>
                      <a:pt x="1143" y="261"/>
                    </a:lnTo>
                    <a:lnTo>
                      <a:pt x="1149" y="258"/>
                    </a:lnTo>
                    <a:lnTo>
                      <a:pt x="1153" y="255"/>
                    </a:lnTo>
                    <a:lnTo>
                      <a:pt x="1160" y="252"/>
                    </a:lnTo>
                    <a:lnTo>
                      <a:pt x="1168" y="249"/>
                    </a:lnTo>
                    <a:lnTo>
                      <a:pt x="1173" y="246"/>
                    </a:lnTo>
                    <a:lnTo>
                      <a:pt x="1175" y="244"/>
                    </a:lnTo>
                    <a:lnTo>
                      <a:pt x="1176" y="243"/>
                    </a:lnTo>
                    <a:lnTo>
                      <a:pt x="1176" y="241"/>
                    </a:lnTo>
                    <a:lnTo>
                      <a:pt x="1176" y="240"/>
                    </a:lnTo>
                    <a:lnTo>
                      <a:pt x="1175" y="237"/>
                    </a:lnTo>
                    <a:lnTo>
                      <a:pt x="1172" y="231"/>
                    </a:lnTo>
                    <a:lnTo>
                      <a:pt x="1171" y="225"/>
                    </a:lnTo>
                    <a:lnTo>
                      <a:pt x="1168" y="223"/>
                    </a:lnTo>
                    <a:lnTo>
                      <a:pt x="1165" y="221"/>
                    </a:lnTo>
                    <a:lnTo>
                      <a:pt x="1160" y="219"/>
                    </a:lnTo>
                    <a:lnTo>
                      <a:pt x="1154" y="218"/>
                    </a:lnTo>
                    <a:lnTo>
                      <a:pt x="1139" y="218"/>
                    </a:lnTo>
                    <a:lnTo>
                      <a:pt x="1131" y="218"/>
                    </a:lnTo>
                    <a:lnTo>
                      <a:pt x="1125" y="220"/>
                    </a:lnTo>
                    <a:lnTo>
                      <a:pt x="1124" y="220"/>
                    </a:lnTo>
                    <a:close/>
                    <a:moveTo>
                      <a:pt x="1007" y="218"/>
                    </a:moveTo>
                    <a:lnTo>
                      <a:pt x="1006" y="220"/>
                    </a:lnTo>
                    <a:lnTo>
                      <a:pt x="1005" y="222"/>
                    </a:lnTo>
                    <a:lnTo>
                      <a:pt x="1005" y="223"/>
                    </a:lnTo>
                    <a:lnTo>
                      <a:pt x="1005" y="225"/>
                    </a:lnTo>
                    <a:lnTo>
                      <a:pt x="1007" y="227"/>
                    </a:lnTo>
                    <a:lnTo>
                      <a:pt x="1011" y="228"/>
                    </a:lnTo>
                    <a:lnTo>
                      <a:pt x="1019" y="231"/>
                    </a:lnTo>
                    <a:lnTo>
                      <a:pt x="1024" y="233"/>
                    </a:lnTo>
                    <a:lnTo>
                      <a:pt x="1029" y="235"/>
                    </a:lnTo>
                    <a:lnTo>
                      <a:pt x="1034" y="235"/>
                    </a:lnTo>
                    <a:lnTo>
                      <a:pt x="1036" y="236"/>
                    </a:lnTo>
                    <a:lnTo>
                      <a:pt x="1037" y="237"/>
                    </a:lnTo>
                    <a:lnTo>
                      <a:pt x="1036" y="239"/>
                    </a:lnTo>
                    <a:lnTo>
                      <a:pt x="1032" y="242"/>
                    </a:lnTo>
                    <a:lnTo>
                      <a:pt x="1023" y="247"/>
                    </a:lnTo>
                    <a:lnTo>
                      <a:pt x="1014" y="249"/>
                    </a:lnTo>
                    <a:lnTo>
                      <a:pt x="1012" y="250"/>
                    </a:lnTo>
                    <a:lnTo>
                      <a:pt x="1010" y="251"/>
                    </a:lnTo>
                    <a:lnTo>
                      <a:pt x="1010" y="252"/>
                    </a:lnTo>
                    <a:lnTo>
                      <a:pt x="1010" y="253"/>
                    </a:lnTo>
                    <a:lnTo>
                      <a:pt x="1011" y="255"/>
                    </a:lnTo>
                    <a:lnTo>
                      <a:pt x="1013" y="256"/>
                    </a:lnTo>
                    <a:lnTo>
                      <a:pt x="1015" y="258"/>
                    </a:lnTo>
                    <a:lnTo>
                      <a:pt x="1019" y="258"/>
                    </a:lnTo>
                    <a:lnTo>
                      <a:pt x="1024" y="259"/>
                    </a:lnTo>
                    <a:lnTo>
                      <a:pt x="1030" y="259"/>
                    </a:lnTo>
                    <a:lnTo>
                      <a:pt x="1043" y="254"/>
                    </a:lnTo>
                    <a:lnTo>
                      <a:pt x="1052" y="251"/>
                    </a:lnTo>
                    <a:lnTo>
                      <a:pt x="1056" y="253"/>
                    </a:lnTo>
                    <a:lnTo>
                      <a:pt x="1062" y="254"/>
                    </a:lnTo>
                    <a:lnTo>
                      <a:pt x="1065" y="254"/>
                    </a:lnTo>
                    <a:lnTo>
                      <a:pt x="1067" y="255"/>
                    </a:lnTo>
                    <a:lnTo>
                      <a:pt x="1068" y="256"/>
                    </a:lnTo>
                    <a:lnTo>
                      <a:pt x="1068" y="258"/>
                    </a:lnTo>
                    <a:lnTo>
                      <a:pt x="1067" y="262"/>
                    </a:lnTo>
                    <a:lnTo>
                      <a:pt x="1066" y="264"/>
                    </a:lnTo>
                    <a:lnTo>
                      <a:pt x="1066" y="266"/>
                    </a:lnTo>
                    <a:lnTo>
                      <a:pt x="1067" y="267"/>
                    </a:lnTo>
                    <a:lnTo>
                      <a:pt x="1070" y="268"/>
                    </a:lnTo>
                    <a:lnTo>
                      <a:pt x="1074" y="268"/>
                    </a:lnTo>
                    <a:lnTo>
                      <a:pt x="1081" y="270"/>
                    </a:lnTo>
                    <a:lnTo>
                      <a:pt x="1086" y="271"/>
                    </a:lnTo>
                    <a:lnTo>
                      <a:pt x="1088" y="270"/>
                    </a:lnTo>
                    <a:lnTo>
                      <a:pt x="1089" y="269"/>
                    </a:lnTo>
                    <a:lnTo>
                      <a:pt x="1091" y="267"/>
                    </a:lnTo>
                    <a:lnTo>
                      <a:pt x="1092" y="264"/>
                    </a:lnTo>
                    <a:lnTo>
                      <a:pt x="1094" y="261"/>
                    </a:lnTo>
                    <a:lnTo>
                      <a:pt x="1095" y="256"/>
                    </a:lnTo>
                    <a:lnTo>
                      <a:pt x="1095" y="253"/>
                    </a:lnTo>
                    <a:lnTo>
                      <a:pt x="1095" y="249"/>
                    </a:lnTo>
                    <a:lnTo>
                      <a:pt x="1095" y="243"/>
                    </a:lnTo>
                    <a:lnTo>
                      <a:pt x="1093" y="235"/>
                    </a:lnTo>
                    <a:lnTo>
                      <a:pt x="1092" y="232"/>
                    </a:lnTo>
                    <a:lnTo>
                      <a:pt x="1089" y="230"/>
                    </a:lnTo>
                    <a:lnTo>
                      <a:pt x="1084" y="227"/>
                    </a:lnTo>
                    <a:lnTo>
                      <a:pt x="1078" y="225"/>
                    </a:lnTo>
                    <a:lnTo>
                      <a:pt x="1066" y="222"/>
                    </a:lnTo>
                    <a:lnTo>
                      <a:pt x="1054" y="219"/>
                    </a:lnTo>
                    <a:lnTo>
                      <a:pt x="1043" y="212"/>
                    </a:lnTo>
                    <a:lnTo>
                      <a:pt x="1036" y="208"/>
                    </a:lnTo>
                    <a:lnTo>
                      <a:pt x="1033" y="208"/>
                    </a:lnTo>
                    <a:lnTo>
                      <a:pt x="1029" y="209"/>
                    </a:lnTo>
                    <a:lnTo>
                      <a:pt x="1023" y="210"/>
                    </a:lnTo>
                    <a:lnTo>
                      <a:pt x="1018" y="213"/>
                    </a:lnTo>
                    <a:lnTo>
                      <a:pt x="1009" y="218"/>
                    </a:lnTo>
                    <a:lnTo>
                      <a:pt x="1007" y="218"/>
                    </a:lnTo>
                    <a:close/>
                    <a:moveTo>
                      <a:pt x="875" y="290"/>
                    </a:moveTo>
                    <a:lnTo>
                      <a:pt x="877" y="291"/>
                    </a:lnTo>
                    <a:lnTo>
                      <a:pt x="880" y="292"/>
                    </a:lnTo>
                    <a:lnTo>
                      <a:pt x="884" y="291"/>
                    </a:lnTo>
                    <a:lnTo>
                      <a:pt x="889" y="291"/>
                    </a:lnTo>
                    <a:lnTo>
                      <a:pt x="897" y="289"/>
                    </a:lnTo>
                    <a:lnTo>
                      <a:pt x="901" y="288"/>
                    </a:lnTo>
                    <a:lnTo>
                      <a:pt x="905" y="288"/>
                    </a:lnTo>
                    <a:lnTo>
                      <a:pt x="915" y="287"/>
                    </a:lnTo>
                    <a:lnTo>
                      <a:pt x="919" y="286"/>
                    </a:lnTo>
                    <a:lnTo>
                      <a:pt x="924" y="284"/>
                    </a:lnTo>
                    <a:lnTo>
                      <a:pt x="927" y="283"/>
                    </a:lnTo>
                    <a:lnTo>
                      <a:pt x="930" y="280"/>
                    </a:lnTo>
                    <a:lnTo>
                      <a:pt x="931" y="275"/>
                    </a:lnTo>
                    <a:lnTo>
                      <a:pt x="931" y="269"/>
                    </a:lnTo>
                    <a:lnTo>
                      <a:pt x="930" y="266"/>
                    </a:lnTo>
                    <a:lnTo>
                      <a:pt x="928" y="264"/>
                    </a:lnTo>
                    <a:lnTo>
                      <a:pt x="926" y="262"/>
                    </a:lnTo>
                    <a:lnTo>
                      <a:pt x="923" y="262"/>
                    </a:lnTo>
                    <a:lnTo>
                      <a:pt x="918" y="265"/>
                    </a:lnTo>
                    <a:lnTo>
                      <a:pt x="908" y="272"/>
                    </a:lnTo>
                    <a:lnTo>
                      <a:pt x="897" y="278"/>
                    </a:lnTo>
                    <a:lnTo>
                      <a:pt x="887" y="284"/>
                    </a:lnTo>
                    <a:lnTo>
                      <a:pt x="878" y="289"/>
                    </a:lnTo>
                    <a:lnTo>
                      <a:pt x="875" y="290"/>
                    </a:lnTo>
                    <a:close/>
                    <a:moveTo>
                      <a:pt x="840" y="320"/>
                    </a:moveTo>
                    <a:lnTo>
                      <a:pt x="847" y="320"/>
                    </a:lnTo>
                    <a:lnTo>
                      <a:pt x="855" y="318"/>
                    </a:lnTo>
                    <a:lnTo>
                      <a:pt x="858" y="318"/>
                    </a:lnTo>
                    <a:lnTo>
                      <a:pt x="861" y="318"/>
                    </a:lnTo>
                    <a:lnTo>
                      <a:pt x="864" y="319"/>
                    </a:lnTo>
                    <a:lnTo>
                      <a:pt x="862" y="321"/>
                    </a:lnTo>
                    <a:lnTo>
                      <a:pt x="862" y="324"/>
                    </a:lnTo>
                    <a:lnTo>
                      <a:pt x="864" y="327"/>
                    </a:lnTo>
                    <a:lnTo>
                      <a:pt x="866" y="329"/>
                    </a:lnTo>
                    <a:lnTo>
                      <a:pt x="869" y="330"/>
                    </a:lnTo>
                    <a:lnTo>
                      <a:pt x="876" y="332"/>
                    </a:lnTo>
                    <a:lnTo>
                      <a:pt x="882" y="333"/>
                    </a:lnTo>
                    <a:lnTo>
                      <a:pt x="886" y="332"/>
                    </a:lnTo>
                    <a:lnTo>
                      <a:pt x="890" y="329"/>
                    </a:lnTo>
                    <a:lnTo>
                      <a:pt x="895" y="323"/>
                    </a:lnTo>
                    <a:lnTo>
                      <a:pt x="901" y="318"/>
                    </a:lnTo>
                    <a:lnTo>
                      <a:pt x="911" y="308"/>
                    </a:lnTo>
                    <a:lnTo>
                      <a:pt x="915" y="303"/>
                    </a:lnTo>
                    <a:lnTo>
                      <a:pt x="918" y="301"/>
                    </a:lnTo>
                    <a:lnTo>
                      <a:pt x="925" y="298"/>
                    </a:lnTo>
                    <a:lnTo>
                      <a:pt x="930" y="296"/>
                    </a:lnTo>
                    <a:lnTo>
                      <a:pt x="932" y="294"/>
                    </a:lnTo>
                    <a:lnTo>
                      <a:pt x="934" y="292"/>
                    </a:lnTo>
                    <a:lnTo>
                      <a:pt x="933" y="291"/>
                    </a:lnTo>
                    <a:lnTo>
                      <a:pt x="930" y="290"/>
                    </a:lnTo>
                    <a:lnTo>
                      <a:pt x="924" y="290"/>
                    </a:lnTo>
                    <a:lnTo>
                      <a:pt x="916" y="291"/>
                    </a:lnTo>
                    <a:lnTo>
                      <a:pt x="900" y="297"/>
                    </a:lnTo>
                    <a:lnTo>
                      <a:pt x="888" y="305"/>
                    </a:lnTo>
                    <a:lnTo>
                      <a:pt x="881" y="309"/>
                    </a:lnTo>
                    <a:lnTo>
                      <a:pt x="880" y="310"/>
                    </a:lnTo>
                    <a:lnTo>
                      <a:pt x="878" y="311"/>
                    </a:lnTo>
                    <a:lnTo>
                      <a:pt x="877" y="311"/>
                    </a:lnTo>
                    <a:lnTo>
                      <a:pt x="875" y="310"/>
                    </a:lnTo>
                    <a:lnTo>
                      <a:pt x="867" y="311"/>
                    </a:lnTo>
                    <a:lnTo>
                      <a:pt x="855" y="315"/>
                    </a:lnTo>
                    <a:lnTo>
                      <a:pt x="845" y="318"/>
                    </a:lnTo>
                    <a:lnTo>
                      <a:pt x="840" y="320"/>
                    </a:lnTo>
                    <a:close/>
                    <a:moveTo>
                      <a:pt x="718" y="439"/>
                    </a:moveTo>
                    <a:lnTo>
                      <a:pt x="714" y="441"/>
                    </a:lnTo>
                    <a:lnTo>
                      <a:pt x="707" y="444"/>
                    </a:lnTo>
                    <a:lnTo>
                      <a:pt x="704" y="446"/>
                    </a:lnTo>
                    <a:lnTo>
                      <a:pt x="702" y="447"/>
                    </a:lnTo>
                    <a:lnTo>
                      <a:pt x="699" y="448"/>
                    </a:lnTo>
                    <a:lnTo>
                      <a:pt x="698" y="447"/>
                    </a:lnTo>
                    <a:lnTo>
                      <a:pt x="697" y="446"/>
                    </a:lnTo>
                    <a:lnTo>
                      <a:pt x="696" y="443"/>
                    </a:lnTo>
                    <a:lnTo>
                      <a:pt x="697" y="439"/>
                    </a:lnTo>
                    <a:lnTo>
                      <a:pt x="698" y="434"/>
                    </a:lnTo>
                    <a:lnTo>
                      <a:pt x="701" y="427"/>
                    </a:lnTo>
                    <a:lnTo>
                      <a:pt x="705" y="423"/>
                    </a:lnTo>
                    <a:lnTo>
                      <a:pt x="718" y="413"/>
                    </a:lnTo>
                    <a:lnTo>
                      <a:pt x="742" y="395"/>
                    </a:lnTo>
                    <a:lnTo>
                      <a:pt x="766" y="375"/>
                    </a:lnTo>
                    <a:lnTo>
                      <a:pt x="781" y="363"/>
                    </a:lnTo>
                    <a:lnTo>
                      <a:pt x="787" y="358"/>
                    </a:lnTo>
                    <a:lnTo>
                      <a:pt x="798" y="351"/>
                    </a:lnTo>
                    <a:lnTo>
                      <a:pt x="808" y="344"/>
                    </a:lnTo>
                    <a:lnTo>
                      <a:pt x="816" y="339"/>
                    </a:lnTo>
                    <a:lnTo>
                      <a:pt x="822" y="335"/>
                    </a:lnTo>
                    <a:lnTo>
                      <a:pt x="826" y="332"/>
                    </a:lnTo>
                    <a:lnTo>
                      <a:pt x="828" y="330"/>
                    </a:lnTo>
                    <a:lnTo>
                      <a:pt x="829" y="330"/>
                    </a:lnTo>
                    <a:lnTo>
                      <a:pt x="829" y="331"/>
                    </a:lnTo>
                    <a:lnTo>
                      <a:pt x="829" y="333"/>
                    </a:lnTo>
                    <a:lnTo>
                      <a:pt x="828" y="338"/>
                    </a:lnTo>
                    <a:lnTo>
                      <a:pt x="826" y="344"/>
                    </a:lnTo>
                    <a:lnTo>
                      <a:pt x="824" y="349"/>
                    </a:lnTo>
                    <a:lnTo>
                      <a:pt x="822" y="352"/>
                    </a:lnTo>
                    <a:lnTo>
                      <a:pt x="812" y="360"/>
                    </a:lnTo>
                    <a:lnTo>
                      <a:pt x="804" y="371"/>
                    </a:lnTo>
                    <a:lnTo>
                      <a:pt x="803" y="375"/>
                    </a:lnTo>
                    <a:lnTo>
                      <a:pt x="802" y="380"/>
                    </a:lnTo>
                    <a:lnTo>
                      <a:pt x="800" y="386"/>
                    </a:lnTo>
                    <a:lnTo>
                      <a:pt x="793" y="393"/>
                    </a:lnTo>
                    <a:lnTo>
                      <a:pt x="787" y="400"/>
                    </a:lnTo>
                    <a:lnTo>
                      <a:pt x="782" y="406"/>
                    </a:lnTo>
                    <a:lnTo>
                      <a:pt x="779" y="408"/>
                    </a:lnTo>
                    <a:lnTo>
                      <a:pt x="777" y="410"/>
                    </a:lnTo>
                    <a:lnTo>
                      <a:pt x="774" y="410"/>
                    </a:lnTo>
                    <a:lnTo>
                      <a:pt x="773" y="410"/>
                    </a:lnTo>
                    <a:lnTo>
                      <a:pt x="772" y="405"/>
                    </a:lnTo>
                    <a:lnTo>
                      <a:pt x="773" y="397"/>
                    </a:lnTo>
                    <a:lnTo>
                      <a:pt x="773" y="394"/>
                    </a:lnTo>
                    <a:lnTo>
                      <a:pt x="772" y="393"/>
                    </a:lnTo>
                    <a:lnTo>
                      <a:pt x="771" y="393"/>
                    </a:lnTo>
                    <a:lnTo>
                      <a:pt x="768" y="395"/>
                    </a:lnTo>
                    <a:lnTo>
                      <a:pt x="757" y="407"/>
                    </a:lnTo>
                    <a:lnTo>
                      <a:pt x="744" y="423"/>
                    </a:lnTo>
                    <a:lnTo>
                      <a:pt x="738" y="431"/>
                    </a:lnTo>
                    <a:lnTo>
                      <a:pt x="732" y="440"/>
                    </a:lnTo>
                    <a:lnTo>
                      <a:pt x="726" y="445"/>
                    </a:lnTo>
                    <a:lnTo>
                      <a:pt x="722" y="448"/>
                    </a:lnTo>
                    <a:lnTo>
                      <a:pt x="720" y="448"/>
                    </a:lnTo>
                    <a:lnTo>
                      <a:pt x="720" y="446"/>
                    </a:lnTo>
                    <a:lnTo>
                      <a:pt x="721" y="444"/>
                    </a:lnTo>
                    <a:lnTo>
                      <a:pt x="721" y="442"/>
                    </a:lnTo>
                    <a:lnTo>
                      <a:pt x="724" y="437"/>
                    </a:lnTo>
                    <a:lnTo>
                      <a:pt x="725" y="434"/>
                    </a:lnTo>
                    <a:lnTo>
                      <a:pt x="722" y="437"/>
                    </a:lnTo>
                    <a:lnTo>
                      <a:pt x="718" y="439"/>
                    </a:lnTo>
                    <a:close/>
                    <a:moveTo>
                      <a:pt x="748" y="451"/>
                    </a:moveTo>
                    <a:lnTo>
                      <a:pt x="755" y="448"/>
                    </a:lnTo>
                    <a:lnTo>
                      <a:pt x="760" y="444"/>
                    </a:lnTo>
                    <a:lnTo>
                      <a:pt x="763" y="441"/>
                    </a:lnTo>
                    <a:lnTo>
                      <a:pt x="765" y="439"/>
                    </a:lnTo>
                    <a:lnTo>
                      <a:pt x="766" y="435"/>
                    </a:lnTo>
                    <a:lnTo>
                      <a:pt x="767" y="431"/>
                    </a:lnTo>
                    <a:lnTo>
                      <a:pt x="769" y="425"/>
                    </a:lnTo>
                    <a:lnTo>
                      <a:pt x="770" y="419"/>
                    </a:lnTo>
                    <a:lnTo>
                      <a:pt x="771" y="418"/>
                    </a:lnTo>
                    <a:lnTo>
                      <a:pt x="771" y="417"/>
                    </a:lnTo>
                    <a:lnTo>
                      <a:pt x="770" y="417"/>
                    </a:lnTo>
                    <a:lnTo>
                      <a:pt x="769" y="418"/>
                    </a:lnTo>
                    <a:lnTo>
                      <a:pt x="756" y="429"/>
                    </a:lnTo>
                    <a:lnTo>
                      <a:pt x="744" y="440"/>
                    </a:lnTo>
                    <a:lnTo>
                      <a:pt x="742" y="448"/>
                    </a:lnTo>
                    <a:lnTo>
                      <a:pt x="743" y="453"/>
                    </a:lnTo>
                    <a:lnTo>
                      <a:pt x="746" y="451"/>
                    </a:lnTo>
                    <a:lnTo>
                      <a:pt x="748" y="451"/>
                    </a:lnTo>
                    <a:close/>
                    <a:moveTo>
                      <a:pt x="766" y="454"/>
                    </a:moveTo>
                    <a:lnTo>
                      <a:pt x="768" y="456"/>
                    </a:lnTo>
                    <a:lnTo>
                      <a:pt x="771" y="457"/>
                    </a:lnTo>
                    <a:lnTo>
                      <a:pt x="776" y="459"/>
                    </a:lnTo>
                    <a:lnTo>
                      <a:pt x="782" y="460"/>
                    </a:lnTo>
                    <a:lnTo>
                      <a:pt x="787" y="461"/>
                    </a:lnTo>
                    <a:lnTo>
                      <a:pt x="792" y="461"/>
                    </a:lnTo>
                    <a:lnTo>
                      <a:pt x="798" y="460"/>
                    </a:lnTo>
                    <a:lnTo>
                      <a:pt x="801" y="459"/>
                    </a:lnTo>
                    <a:lnTo>
                      <a:pt x="806" y="453"/>
                    </a:lnTo>
                    <a:lnTo>
                      <a:pt x="815" y="446"/>
                    </a:lnTo>
                    <a:lnTo>
                      <a:pt x="820" y="442"/>
                    </a:lnTo>
                    <a:lnTo>
                      <a:pt x="823" y="440"/>
                    </a:lnTo>
                    <a:lnTo>
                      <a:pt x="826" y="439"/>
                    </a:lnTo>
                    <a:lnTo>
                      <a:pt x="827" y="439"/>
                    </a:lnTo>
                    <a:lnTo>
                      <a:pt x="828" y="440"/>
                    </a:lnTo>
                    <a:lnTo>
                      <a:pt x="830" y="441"/>
                    </a:lnTo>
                    <a:lnTo>
                      <a:pt x="833" y="441"/>
                    </a:lnTo>
                    <a:lnTo>
                      <a:pt x="836" y="441"/>
                    </a:lnTo>
                    <a:lnTo>
                      <a:pt x="844" y="441"/>
                    </a:lnTo>
                    <a:lnTo>
                      <a:pt x="849" y="441"/>
                    </a:lnTo>
                    <a:lnTo>
                      <a:pt x="854" y="440"/>
                    </a:lnTo>
                    <a:lnTo>
                      <a:pt x="860" y="440"/>
                    </a:lnTo>
                    <a:lnTo>
                      <a:pt x="862" y="440"/>
                    </a:lnTo>
                    <a:lnTo>
                      <a:pt x="865" y="440"/>
                    </a:lnTo>
                    <a:lnTo>
                      <a:pt x="866" y="440"/>
                    </a:lnTo>
                    <a:lnTo>
                      <a:pt x="865" y="442"/>
                    </a:lnTo>
                    <a:lnTo>
                      <a:pt x="857" y="445"/>
                    </a:lnTo>
                    <a:lnTo>
                      <a:pt x="848" y="447"/>
                    </a:lnTo>
                    <a:lnTo>
                      <a:pt x="843" y="449"/>
                    </a:lnTo>
                    <a:lnTo>
                      <a:pt x="838" y="451"/>
                    </a:lnTo>
                    <a:lnTo>
                      <a:pt x="834" y="453"/>
                    </a:lnTo>
                    <a:lnTo>
                      <a:pt x="831" y="456"/>
                    </a:lnTo>
                    <a:lnTo>
                      <a:pt x="824" y="463"/>
                    </a:lnTo>
                    <a:lnTo>
                      <a:pt x="812" y="469"/>
                    </a:lnTo>
                    <a:lnTo>
                      <a:pt x="803" y="475"/>
                    </a:lnTo>
                    <a:lnTo>
                      <a:pt x="800" y="479"/>
                    </a:lnTo>
                    <a:lnTo>
                      <a:pt x="801" y="481"/>
                    </a:lnTo>
                    <a:lnTo>
                      <a:pt x="803" y="482"/>
                    </a:lnTo>
                    <a:lnTo>
                      <a:pt x="805" y="483"/>
                    </a:lnTo>
                    <a:lnTo>
                      <a:pt x="809" y="483"/>
                    </a:lnTo>
                    <a:lnTo>
                      <a:pt x="816" y="484"/>
                    </a:lnTo>
                    <a:lnTo>
                      <a:pt x="825" y="482"/>
                    </a:lnTo>
                    <a:lnTo>
                      <a:pt x="831" y="482"/>
                    </a:lnTo>
                    <a:lnTo>
                      <a:pt x="838" y="481"/>
                    </a:lnTo>
                    <a:lnTo>
                      <a:pt x="842" y="479"/>
                    </a:lnTo>
                    <a:lnTo>
                      <a:pt x="846" y="477"/>
                    </a:lnTo>
                    <a:lnTo>
                      <a:pt x="852" y="473"/>
                    </a:lnTo>
                    <a:lnTo>
                      <a:pt x="858" y="468"/>
                    </a:lnTo>
                    <a:lnTo>
                      <a:pt x="872" y="455"/>
                    </a:lnTo>
                    <a:lnTo>
                      <a:pt x="883" y="444"/>
                    </a:lnTo>
                    <a:lnTo>
                      <a:pt x="889" y="441"/>
                    </a:lnTo>
                    <a:lnTo>
                      <a:pt x="893" y="438"/>
                    </a:lnTo>
                    <a:lnTo>
                      <a:pt x="896" y="437"/>
                    </a:lnTo>
                    <a:lnTo>
                      <a:pt x="899" y="437"/>
                    </a:lnTo>
                    <a:lnTo>
                      <a:pt x="903" y="440"/>
                    </a:lnTo>
                    <a:lnTo>
                      <a:pt x="904" y="444"/>
                    </a:lnTo>
                    <a:lnTo>
                      <a:pt x="905" y="445"/>
                    </a:lnTo>
                    <a:lnTo>
                      <a:pt x="908" y="445"/>
                    </a:lnTo>
                    <a:lnTo>
                      <a:pt x="909" y="445"/>
                    </a:lnTo>
                    <a:lnTo>
                      <a:pt x="912" y="444"/>
                    </a:lnTo>
                    <a:lnTo>
                      <a:pt x="918" y="441"/>
                    </a:lnTo>
                    <a:lnTo>
                      <a:pt x="924" y="440"/>
                    </a:lnTo>
                    <a:lnTo>
                      <a:pt x="930" y="440"/>
                    </a:lnTo>
                    <a:lnTo>
                      <a:pt x="932" y="440"/>
                    </a:lnTo>
                    <a:lnTo>
                      <a:pt x="932" y="441"/>
                    </a:lnTo>
                    <a:lnTo>
                      <a:pt x="934" y="442"/>
                    </a:lnTo>
                    <a:lnTo>
                      <a:pt x="935" y="443"/>
                    </a:lnTo>
                    <a:lnTo>
                      <a:pt x="936" y="442"/>
                    </a:lnTo>
                    <a:lnTo>
                      <a:pt x="938" y="441"/>
                    </a:lnTo>
                    <a:lnTo>
                      <a:pt x="940" y="438"/>
                    </a:lnTo>
                    <a:lnTo>
                      <a:pt x="949" y="424"/>
                    </a:lnTo>
                    <a:lnTo>
                      <a:pt x="954" y="418"/>
                    </a:lnTo>
                    <a:lnTo>
                      <a:pt x="956" y="416"/>
                    </a:lnTo>
                    <a:lnTo>
                      <a:pt x="961" y="410"/>
                    </a:lnTo>
                    <a:lnTo>
                      <a:pt x="963" y="407"/>
                    </a:lnTo>
                    <a:lnTo>
                      <a:pt x="965" y="403"/>
                    </a:lnTo>
                    <a:lnTo>
                      <a:pt x="966" y="399"/>
                    </a:lnTo>
                    <a:lnTo>
                      <a:pt x="965" y="395"/>
                    </a:lnTo>
                    <a:lnTo>
                      <a:pt x="964" y="386"/>
                    </a:lnTo>
                    <a:lnTo>
                      <a:pt x="962" y="378"/>
                    </a:lnTo>
                    <a:lnTo>
                      <a:pt x="961" y="376"/>
                    </a:lnTo>
                    <a:lnTo>
                      <a:pt x="958" y="375"/>
                    </a:lnTo>
                    <a:lnTo>
                      <a:pt x="955" y="377"/>
                    </a:lnTo>
                    <a:lnTo>
                      <a:pt x="949" y="380"/>
                    </a:lnTo>
                    <a:lnTo>
                      <a:pt x="941" y="388"/>
                    </a:lnTo>
                    <a:lnTo>
                      <a:pt x="937" y="391"/>
                    </a:lnTo>
                    <a:lnTo>
                      <a:pt x="934" y="391"/>
                    </a:lnTo>
                    <a:lnTo>
                      <a:pt x="932" y="388"/>
                    </a:lnTo>
                    <a:lnTo>
                      <a:pt x="928" y="384"/>
                    </a:lnTo>
                    <a:lnTo>
                      <a:pt x="924" y="379"/>
                    </a:lnTo>
                    <a:lnTo>
                      <a:pt x="923" y="377"/>
                    </a:lnTo>
                    <a:lnTo>
                      <a:pt x="922" y="374"/>
                    </a:lnTo>
                    <a:lnTo>
                      <a:pt x="921" y="372"/>
                    </a:lnTo>
                    <a:lnTo>
                      <a:pt x="922" y="371"/>
                    </a:lnTo>
                    <a:lnTo>
                      <a:pt x="925" y="365"/>
                    </a:lnTo>
                    <a:lnTo>
                      <a:pt x="928" y="361"/>
                    </a:lnTo>
                    <a:lnTo>
                      <a:pt x="930" y="358"/>
                    </a:lnTo>
                    <a:lnTo>
                      <a:pt x="930" y="356"/>
                    </a:lnTo>
                    <a:lnTo>
                      <a:pt x="930" y="354"/>
                    </a:lnTo>
                    <a:lnTo>
                      <a:pt x="927" y="352"/>
                    </a:lnTo>
                    <a:lnTo>
                      <a:pt x="925" y="351"/>
                    </a:lnTo>
                    <a:lnTo>
                      <a:pt x="924" y="350"/>
                    </a:lnTo>
                    <a:lnTo>
                      <a:pt x="922" y="350"/>
                    </a:lnTo>
                    <a:lnTo>
                      <a:pt x="920" y="351"/>
                    </a:lnTo>
                    <a:lnTo>
                      <a:pt x="915" y="354"/>
                    </a:lnTo>
                    <a:lnTo>
                      <a:pt x="906" y="359"/>
                    </a:lnTo>
                    <a:lnTo>
                      <a:pt x="902" y="361"/>
                    </a:lnTo>
                    <a:lnTo>
                      <a:pt x="899" y="364"/>
                    </a:lnTo>
                    <a:lnTo>
                      <a:pt x="897" y="367"/>
                    </a:lnTo>
                    <a:lnTo>
                      <a:pt x="895" y="371"/>
                    </a:lnTo>
                    <a:lnTo>
                      <a:pt x="894" y="374"/>
                    </a:lnTo>
                    <a:lnTo>
                      <a:pt x="894" y="376"/>
                    </a:lnTo>
                    <a:lnTo>
                      <a:pt x="897" y="381"/>
                    </a:lnTo>
                    <a:lnTo>
                      <a:pt x="900" y="390"/>
                    </a:lnTo>
                    <a:lnTo>
                      <a:pt x="898" y="394"/>
                    </a:lnTo>
                    <a:lnTo>
                      <a:pt x="895" y="397"/>
                    </a:lnTo>
                    <a:lnTo>
                      <a:pt x="893" y="398"/>
                    </a:lnTo>
                    <a:lnTo>
                      <a:pt x="892" y="399"/>
                    </a:lnTo>
                    <a:lnTo>
                      <a:pt x="892" y="400"/>
                    </a:lnTo>
                    <a:lnTo>
                      <a:pt x="893" y="401"/>
                    </a:lnTo>
                    <a:lnTo>
                      <a:pt x="896" y="402"/>
                    </a:lnTo>
                    <a:lnTo>
                      <a:pt x="900" y="402"/>
                    </a:lnTo>
                    <a:lnTo>
                      <a:pt x="902" y="402"/>
                    </a:lnTo>
                    <a:lnTo>
                      <a:pt x="903" y="403"/>
                    </a:lnTo>
                    <a:lnTo>
                      <a:pt x="903" y="404"/>
                    </a:lnTo>
                    <a:lnTo>
                      <a:pt x="902" y="406"/>
                    </a:lnTo>
                    <a:lnTo>
                      <a:pt x="899" y="412"/>
                    </a:lnTo>
                    <a:lnTo>
                      <a:pt x="895" y="420"/>
                    </a:lnTo>
                    <a:lnTo>
                      <a:pt x="892" y="422"/>
                    </a:lnTo>
                    <a:lnTo>
                      <a:pt x="890" y="424"/>
                    </a:lnTo>
                    <a:lnTo>
                      <a:pt x="888" y="425"/>
                    </a:lnTo>
                    <a:lnTo>
                      <a:pt x="886" y="425"/>
                    </a:lnTo>
                    <a:lnTo>
                      <a:pt x="872" y="419"/>
                    </a:lnTo>
                    <a:lnTo>
                      <a:pt x="861" y="413"/>
                    </a:lnTo>
                    <a:lnTo>
                      <a:pt x="860" y="409"/>
                    </a:lnTo>
                    <a:lnTo>
                      <a:pt x="859" y="403"/>
                    </a:lnTo>
                    <a:lnTo>
                      <a:pt x="858" y="400"/>
                    </a:lnTo>
                    <a:lnTo>
                      <a:pt x="856" y="398"/>
                    </a:lnTo>
                    <a:lnTo>
                      <a:pt x="854" y="395"/>
                    </a:lnTo>
                    <a:lnTo>
                      <a:pt x="851" y="394"/>
                    </a:lnTo>
                    <a:lnTo>
                      <a:pt x="844" y="389"/>
                    </a:lnTo>
                    <a:lnTo>
                      <a:pt x="838" y="384"/>
                    </a:lnTo>
                    <a:lnTo>
                      <a:pt x="835" y="382"/>
                    </a:lnTo>
                    <a:lnTo>
                      <a:pt x="832" y="382"/>
                    </a:lnTo>
                    <a:lnTo>
                      <a:pt x="829" y="383"/>
                    </a:lnTo>
                    <a:lnTo>
                      <a:pt x="825" y="386"/>
                    </a:lnTo>
                    <a:lnTo>
                      <a:pt x="809" y="399"/>
                    </a:lnTo>
                    <a:lnTo>
                      <a:pt x="803" y="406"/>
                    </a:lnTo>
                    <a:lnTo>
                      <a:pt x="799" y="409"/>
                    </a:lnTo>
                    <a:lnTo>
                      <a:pt x="792" y="411"/>
                    </a:lnTo>
                    <a:lnTo>
                      <a:pt x="789" y="412"/>
                    </a:lnTo>
                    <a:lnTo>
                      <a:pt x="787" y="415"/>
                    </a:lnTo>
                    <a:lnTo>
                      <a:pt x="786" y="417"/>
                    </a:lnTo>
                    <a:lnTo>
                      <a:pt x="787" y="420"/>
                    </a:lnTo>
                    <a:lnTo>
                      <a:pt x="790" y="423"/>
                    </a:lnTo>
                    <a:lnTo>
                      <a:pt x="793" y="425"/>
                    </a:lnTo>
                    <a:lnTo>
                      <a:pt x="796" y="426"/>
                    </a:lnTo>
                    <a:lnTo>
                      <a:pt x="800" y="427"/>
                    </a:lnTo>
                    <a:lnTo>
                      <a:pt x="803" y="428"/>
                    </a:lnTo>
                    <a:lnTo>
                      <a:pt x="804" y="429"/>
                    </a:lnTo>
                    <a:lnTo>
                      <a:pt x="804" y="429"/>
                    </a:lnTo>
                    <a:lnTo>
                      <a:pt x="802" y="431"/>
                    </a:lnTo>
                    <a:lnTo>
                      <a:pt x="789" y="438"/>
                    </a:lnTo>
                    <a:lnTo>
                      <a:pt x="779" y="443"/>
                    </a:lnTo>
                    <a:lnTo>
                      <a:pt x="770" y="450"/>
                    </a:lnTo>
                    <a:lnTo>
                      <a:pt x="766" y="454"/>
                    </a:lnTo>
                    <a:close/>
                    <a:moveTo>
                      <a:pt x="986" y="531"/>
                    </a:moveTo>
                    <a:lnTo>
                      <a:pt x="988" y="536"/>
                    </a:lnTo>
                    <a:lnTo>
                      <a:pt x="993" y="542"/>
                    </a:lnTo>
                    <a:lnTo>
                      <a:pt x="1002" y="549"/>
                    </a:lnTo>
                    <a:lnTo>
                      <a:pt x="1010" y="556"/>
                    </a:lnTo>
                    <a:lnTo>
                      <a:pt x="1019" y="562"/>
                    </a:lnTo>
                    <a:lnTo>
                      <a:pt x="1026" y="570"/>
                    </a:lnTo>
                    <a:lnTo>
                      <a:pt x="1032" y="575"/>
                    </a:lnTo>
                    <a:lnTo>
                      <a:pt x="1035" y="580"/>
                    </a:lnTo>
                    <a:lnTo>
                      <a:pt x="1036" y="588"/>
                    </a:lnTo>
                    <a:lnTo>
                      <a:pt x="1037" y="597"/>
                    </a:lnTo>
                    <a:lnTo>
                      <a:pt x="1037" y="600"/>
                    </a:lnTo>
                    <a:lnTo>
                      <a:pt x="1039" y="603"/>
                    </a:lnTo>
                    <a:lnTo>
                      <a:pt x="1041" y="604"/>
                    </a:lnTo>
                    <a:lnTo>
                      <a:pt x="1043" y="604"/>
                    </a:lnTo>
                    <a:lnTo>
                      <a:pt x="1050" y="601"/>
                    </a:lnTo>
                    <a:lnTo>
                      <a:pt x="1059" y="595"/>
                    </a:lnTo>
                    <a:lnTo>
                      <a:pt x="1069" y="586"/>
                    </a:lnTo>
                    <a:lnTo>
                      <a:pt x="1074" y="581"/>
                    </a:lnTo>
                    <a:lnTo>
                      <a:pt x="1079" y="574"/>
                    </a:lnTo>
                    <a:lnTo>
                      <a:pt x="1086" y="561"/>
                    </a:lnTo>
                    <a:lnTo>
                      <a:pt x="1089" y="554"/>
                    </a:lnTo>
                    <a:lnTo>
                      <a:pt x="1091" y="548"/>
                    </a:lnTo>
                    <a:lnTo>
                      <a:pt x="1091" y="541"/>
                    </a:lnTo>
                    <a:lnTo>
                      <a:pt x="1090" y="536"/>
                    </a:lnTo>
                    <a:lnTo>
                      <a:pt x="1086" y="532"/>
                    </a:lnTo>
                    <a:lnTo>
                      <a:pt x="1081" y="529"/>
                    </a:lnTo>
                    <a:lnTo>
                      <a:pt x="1076" y="526"/>
                    </a:lnTo>
                    <a:lnTo>
                      <a:pt x="1071" y="523"/>
                    </a:lnTo>
                    <a:lnTo>
                      <a:pt x="1067" y="520"/>
                    </a:lnTo>
                    <a:lnTo>
                      <a:pt x="1065" y="518"/>
                    </a:lnTo>
                    <a:lnTo>
                      <a:pt x="1064" y="516"/>
                    </a:lnTo>
                    <a:lnTo>
                      <a:pt x="1064" y="515"/>
                    </a:lnTo>
                    <a:lnTo>
                      <a:pt x="1064" y="514"/>
                    </a:lnTo>
                    <a:lnTo>
                      <a:pt x="1065" y="512"/>
                    </a:lnTo>
                    <a:lnTo>
                      <a:pt x="1071" y="504"/>
                    </a:lnTo>
                    <a:lnTo>
                      <a:pt x="1077" y="492"/>
                    </a:lnTo>
                    <a:lnTo>
                      <a:pt x="1083" y="483"/>
                    </a:lnTo>
                    <a:lnTo>
                      <a:pt x="1084" y="476"/>
                    </a:lnTo>
                    <a:lnTo>
                      <a:pt x="1085" y="471"/>
                    </a:lnTo>
                    <a:lnTo>
                      <a:pt x="1086" y="464"/>
                    </a:lnTo>
                    <a:lnTo>
                      <a:pt x="1085" y="461"/>
                    </a:lnTo>
                    <a:lnTo>
                      <a:pt x="1084" y="459"/>
                    </a:lnTo>
                    <a:lnTo>
                      <a:pt x="1083" y="457"/>
                    </a:lnTo>
                    <a:lnTo>
                      <a:pt x="1078" y="459"/>
                    </a:lnTo>
                    <a:lnTo>
                      <a:pt x="1074" y="463"/>
                    </a:lnTo>
                    <a:lnTo>
                      <a:pt x="1071" y="467"/>
                    </a:lnTo>
                    <a:lnTo>
                      <a:pt x="1068" y="473"/>
                    </a:lnTo>
                    <a:lnTo>
                      <a:pt x="1065" y="478"/>
                    </a:lnTo>
                    <a:lnTo>
                      <a:pt x="1062" y="484"/>
                    </a:lnTo>
                    <a:lnTo>
                      <a:pt x="1058" y="488"/>
                    </a:lnTo>
                    <a:lnTo>
                      <a:pt x="1056" y="489"/>
                    </a:lnTo>
                    <a:lnTo>
                      <a:pt x="1055" y="489"/>
                    </a:lnTo>
                    <a:lnTo>
                      <a:pt x="1053" y="489"/>
                    </a:lnTo>
                    <a:lnTo>
                      <a:pt x="1052" y="488"/>
                    </a:lnTo>
                    <a:lnTo>
                      <a:pt x="1047" y="482"/>
                    </a:lnTo>
                    <a:lnTo>
                      <a:pt x="1043" y="475"/>
                    </a:lnTo>
                    <a:lnTo>
                      <a:pt x="1042" y="474"/>
                    </a:lnTo>
                    <a:lnTo>
                      <a:pt x="1040" y="474"/>
                    </a:lnTo>
                    <a:lnTo>
                      <a:pt x="1037" y="475"/>
                    </a:lnTo>
                    <a:lnTo>
                      <a:pt x="1034" y="478"/>
                    </a:lnTo>
                    <a:lnTo>
                      <a:pt x="1028" y="486"/>
                    </a:lnTo>
                    <a:lnTo>
                      <a:pt x="1022" y="490"/>
                    </a:lnTo>
                    <a:lnTo>
                      <a:pt x="1019" y="492"/>
                    </a:lnTo>
                    <a:lnTo>
                      <a:pt x="1017" y="493"/>
                    </a:lnTo>
                    <a:lnTo>
                      <a:pt x="1015" y="495"/>
                    </a:lnTo>
                    <a:lnTo>
                      <a:pt x="1015" y="497"/>
                    </a:lnTo>
                    <a:lnTo>
                      <a:pt x="1017" y="500"/>
                    </a:lnTo>
                    <a:lnTo>
                      <a:pt x="1018" y="505"/>
                    </a:lnTo>
                    <a:lnTo>
                      <a:pt x="1020" y="508"/>
                    </a:lnTo>
                    <a:lnTo>
                      <a:pt x="1023" y="512"/>
                    </a:lnTo>
                    <a:lnTo>
                      <a:pt x="1027" y="518"/>
                    </a:lnTo>
                    <a:lnTo>
                      <a:pt x="1030" y="522"/>
                    </a:lnTo>
                    <a:lnTo>
                      <a:pt x="1028" y="527"/>
                    </a:lnTo>
                    <a:lnTo>
                      <a:pt x="1023" y="533"/>
                    </a:lnTo>
                    <a:lnTo>
                      <a:pt x="1021" y="535"/>
                    </a:lnTo>
                    <a:lnTo>
                      <a:pt x="1018" y="537"/>
                    </a:lnTo>
                    <a:lnTo>
                      <a:pt x="1015" y="537"/>
                    </a:lnTo>
                    <a:lnTo>
                      <a:pt x="1013" y="536"/>
                    </a:lnTo>
                    <a:lnTo>
                      <a:pt x="998" y="530"/>
                    </a:lnTo>
                    <a:lnTo>
                      <a:pt x="988" y="527"/>
                    </a:lnTo>
                    <a:lnTo>
                      <a:pt x="986" y="529"/>
                    </a:lnTo>
                    <a:lnTo>
                      <a:pt x="986" y="531"/>
                    </a:lnTo>
                    <a:close/>
                    <a:moveTo>
                      <a:pt x="705" y="596"/>
                    </a:moveTo>
                    <a:lnTo>
                      <a:pt x="719" y="585"/>
                    </a:lnTo>
                    <a:lnTo>
                      <a:pt x="740" y="570"/>
                    </a:lnTo>
                    <a:lnTo>
                      <a:pt x="751" y="561"/>
                    </a:lnTo>
                    <a:lnTo>
                      <a:pt x="761" y="554"/>
                    </a:lnTo>
                    <a:lnTo>
                      <a:pt x="768" y="548"/>
                    </a:lnTo>
                    <a:lnTo>
                      <a:pt x="771" y="543"/>
                    </a:lnTo>
                    <a:lnTo>
                      <a:pt x="772" y="539"/>
                    </a:lnTo>
                    <a:lnTo>
                      <a:pt x="773" y="536"/>
                    </a:lnTo>
                    <a:lnTo>
                      <a:pt x="773" y="533"/>
                    </a:lnTo>
                    <a:lnTo>
                      <a:pt x="772" y="530"/>
                    </a:lnTo>
                    <a:lnTo>
                      <a:pt x="770" y="526"/>
                    </a:lnTo>
                    <a:lnTo>
                      <a:pt x="767" y="522"/>
                    </a:lnTo>
                    <a:lnTo>
                      <a:pt x="762" y="519"/>
                    </a:lnTo>
                    <a:lnTo>
                      <a:pt x="755" y="516"/>
                    </a:lnTo>
                    <a:lnTo>
                      <a:pt x="745" y="511"/>
                    </a:lnTo>
                    <a:lnTo>
                      <a:pt x="742" y="509"/>
                    </a:lnTo>
                    <a:lnTo>
                      <a:pt x="740" y="509"/>
                    </a:lnTo>
                    <a:lnTo>
                      <a:pt x="733" y="514"/>
                    </a:lnTo>
                    <a:lnTo>
                      <a:pt x="724" y="520"/>
                    </a:lnTo>
                    <a:lnTo>
                      <a:pt x="717" y="523"/>
                    </a:lnTo>
                    <a:lnTo>
                      <a:pt x="713" y="526"/>
                    </a:lnTo>
                    <a:lnTo>
                      <a:pt x="712" y="526"/>
                    </a:lnTo>
                    <a:lnTo>
                      <a:pt x="711" y="521"/>
                    </a:lnTo>
                    <a:lnTo>
                      <a:pt x="708" y="514"/>
                    </a:lnTo>
                    <a:lnTo>
                      <a:pt x="706" y="510"/>
                    </a:lnTo>
                    <a:lnTo>
                      <a:pt x="704" y="507"/>
                    </a:lnTo>
                    <a:lnTo>
                      <a:pt x="702" y="506"/>
                    </a:lnTo>
                    <a:lnTo>
                      <a:pt x="699" y="506"/>
                    </a:lnTo>
                    <a:lnTo>
                      <a:pt x="697" y="506"/>
                    </a:lnTo>
                    <a:lnTo>
                      <a:pt x="694" y="506"/>
                    </a:lnTo>
                    <a:lnTo>
                      <a:pt x="679" y="512"/>
                    </a:lnTo>
                    <a:lnTo>
                      <a:pt x="672" y="515"/>
                    </a:lnTo>
                    <a:lnTo>
                      <a:pt x="667" y="517"/>
                    </a:lnTo>
                    <a:lnTo>
                      <a:pt x="657" y="519"/>
                    </a:lnTo>
                    <a:lnTo>
                      <a:pt x="653" y="521"/>
                    </a:lnTo>
                    <a:lnTo>
                      <a:pt x="649" y="523"/>
                    </a:lnTo>
                    <a:lnTo>
                      <a:pt x="646" y="527"/>
                    </a:lnTo>
                    <a:lnTo>
                      <a:pt x="644" y="530"/>
                    </a:lnTo>
                    <a:lnTo>
                      <a:pt x="644" y="533"/>
                    </a:lnTo>
                    <a:lnTo>
                      <a:pt x="646" y="534"/>
                    </a:lnTo>
                    <a:lnTo>
                      <a:pt x="649" y="535"/>
                    </a:lnTo>
                    <a:lnTo>
                      <a:pt x="651" y="536"/>
                    </a:lnTo>
                    <a:lnTo>
                      <a:pt x="654" y="536"/>
                    </a:lnTo>
                    <a:lnTo>
                      <a:pt x="655" y="538"/>
                    </a:lnTo>
                    <a:lnTo>
                      <a:pt x="655" y="540"/>
                    </a:lnTo>
                    <a:lnTo>
                      <a:pt x="653" y="545"/>
                    </a:lnTo>
                    <a:lnTo>
                      <a:pt x="638" y="562"/>
                    </a:lnTo>
                    <a:lnTo>
                      <a:pt x="632" y="572"/>
                    </a:lnTo>
                    <a:lnTo>
                      <a:pt x="631" y="577"/>
                    </a:lnTo>
                    <a:lnTo>
                      <a:pt x="631" y="583"/>
                    </a:lnTo>
                    <a:lnTo>
                      <a:pt x="630" y="586"/>
                    </a:lnTo>
                    <a:lnTo>
                      <a:pt x="629" y="590"/>
                    </a:lnTo>
                    <a:lnTo>
                      <a:pt x="628" y="593"/>
                    </a:lnTo>
                    <a:lnTo>
                      <a:pt x="625" y="596"/>
                    </a:lnTo>
                    <a:lnTo>
                      <a:pt x="617" y="604"/>
                    </a:lnTo>
                    <a:lnTo>
                      <a:pt x="610" y="614"/>
                    </a:lnTo>
                    <a:lnTo>
                      <a:pt x="607" y="619"/>
                    </a:lnTo>
                    <a:lnTo>
                      <a:pt x="604" y="623"/>
                    </a:lnTo>
                    <a:lnTo>
                      <a:pt x="603" y="626"/>
                    </a:lnTo>
                    <a:lnTo>
                      <a:pt x="602" y="629"/>
                    </a:lnTo>
                    <a:lnTo>
                      <a:pt x="602" y="634"/>
                    </a:lnTo>
                    <a:lnTo>
                      <a:pt x="601" y="639"/>
                    </a:lnTo>
                    <a:lnTo>
                      <a:pt x="602" y="642"/>
                    </a:lnTo>
                    <a:lnTo>
                      <a:pt x="603" y="645"/>
                    </a:lnTo>
                    <a:lnTo>
                      <a:pt x="605" y="647"/>
                    </a:lnTo>
                    <a:lnTo>
                      <a:pt x="608" y="650"/>
                    </a:lnTo>
                    <a:lnTo>
                      <a:pt x="616" y="654"/>
                    </a:lnTo>
                    <a:lnTo>
                      <a:pt x="623" y="658"/>
                    </a:lnTo>
                    <a:lnTo>
                      <a:pt x="626" y="660"/>
                    </a:lnTo>
                    <a:lnTo>
                      <a:pt x="627" y="662"/>
                    </a:lnTo>
                    <a:lnTo>
                      <a:pt x="628" y="664"/>
                    </a:lnTo>
                    <a:lnTo>
                      <a:pt x="628" y="666"/>
                    </a:lnTo>
                    <a:lnTo>
                      <a:pt x="627" y="671"/>
                    </a:lnTo>
                    <a:lnTo>
                      <a:pt x="628" y="676"/>
                    </a:lnTo>
                    <a:lnTo>
                      <a:pt x="628" y="679"/>
                    </a:lnTo>
                    <a:lnTo>
                      <a:pt x="629" y="680"/>
                    </a:lnTo>
                    <a:lnTo>
                      <a:pt x="630" y="681"/>
                    </a:lnTo>
                    <a:lnTo>
                      <a:pt x="632" y="681"/>
                    </a:lnTo>
                    <a:lnTo>
                      <a:pt x="647" y="665"/>
                    </a:lnTo>
                    <a:lnTo>
                      <a:pt x="657" y="651"/>
                    </a:lnTo>
                    <a:lnTo>
                      <a:pt x="659" y="651"/>
                    </a:lnTo>
                    <a:lnTo>
                      <a:pt x="663" y="650"/>
                    </a:lnTo>
                    <a:lnTo>
                      <a:pt x="667" y="650"/>
                    </a:lnTo>
                    <a:lnTo>
                      <a:pt x="669" y="649"/>
                    </a:lnTo>
                    <a:lnTo>
                      <a:pt x="671" y="647"/>
                    </a:lnTo>
                    <a:lnTo>
                      <a:pt x="672" y="645"/>
                    </a:lnTo>
                    <a:lnTo>
                      <a:pt x="678" y="629"/>
                    </a:lnTo>
                    <a:lnTo>
                      <a:pt x="685" y="615"/>
                    </a:lnTo>
                    <a:lnTo>
                      <a:pt x="697" y="603"/>
                    </a:lnTo>
                    <a:lnTo>
                      <a:pt x="705" y="596"/>
                    </a:lnTo>
                    <a:close/>
                    <a:moveTo>
                      <a:pt x="921" y="501"/>
                    </a:moveTo>
                    <a:lnTo>
                      <a:pt x="922" y="505"/>
                    </a:lnTo>
                    <a:lnTo>
                      <a:pt x="924" y="509"/>
                    </a:lnTo>
                    <a:lnTo>
                      <a:pt x="928" y="513"/>
                    </a:lnTo>
                    <a:lnTo>
                      <a:pt x="934" y="517"/>
                    </a:lnTo>
                    <a:lnTo>
                      <a:pt x="940" y="520"/>
                    </a:lnTo>
                    <a:lnTo>
                      <a:pt x="945" y="522"/>
                    </a:lnTo>
                    <a:lnTo>
                      <a:pt x="947" y="523"/>
                    </a:lnTo>
                    <a:lnTo>
                      <a:pt x="949" y="523"/>
                    </a:lnTo>
                    <a:lnTo>
                      <a:pt x="952" y="522"/>
                    </a:lnTo>
                    <a:lnTo>
                      <a:pt x="954" y="520"/>
                    </a:lnTo>
                    <a:lnTo>
                      <a:pt x="958" y="515"/>
                    </a:lnTo>
                    <a:lnTo>
                      <a:pt x="961" y="511"/>
                    </a:lnTo>
                    <a:lnTo>
                      <a:pt x="963" y="509"/>
                    </a:lnTo>
                    <a:lnTo>
                      <a:pt x="963" y="507"/>
                    </a:lnTo>
                    <a:lnTo>
                      <a:pt x="963" y="504"/>
                    </a:lnTo>
                    <a:lnTo>
                      <a:pt x="962" y="499"/>
                    </a:lnTo>
                    <a:lnTo>
                      <a:pt x="959" y="495"/>
                    </a:lnTo>
                    <a:lnTo>
                      <a:pt x="957" y="493"/>
                    </a:lnTo>
                    <a:lnTo>
                      <a:pt x="955" y="491"/>
                    </a:lnTo>
                    <a:lnTo>
                      <a:pt x="952" y="491"/>
                    </a:lnTo>
                    <a:lnTo>
                      <a:pt x="946" y="492"/>
                    </a:lnTo>
                    <a:lnTo>
                      <a:pt x="938" y="495"/>
                    </a:lnTo>
                    <a:lnTo>
                      <a:pt x="925" y="499"/>
                    </a:lnTo>
                    <a:lnTo>
                      <a:pt x="921" y="501"/>
                    </a:lnTo>
                    <a:close/>
                    <a:moveTo>
                      <a:pt x="968" y="715"/>
                    </a:moveTo>
                    <a:lnTo>
                      <a:pt x="962" y="708"/>
                    </a:lnTo>
                    <a:lnTo>
                      <a:pt x="955" y="700"/>
                    </a:lnTo>
                    <a:lnTo>
                      <a:pt x="952" y="696"/>
                    </a:lnTo>
                    <a:lnTo>
                      <a:pt x="949" y="692"/>
                    </a:lnTo>
                    <a:lnTo>
                      <a:pt x="949" y="691"/>
                    </a:lnTo>
                    <a:lnTo>
                      <a:pt x="949" y="689"/>
                    </a:lnTo>
                    <a:lnTo>
                      <a:pt x="950" y="688"/>
                    </a:lnTo>
                    <a:lnTo>
                      <a:pt x="952" y="687"/>
                    </a:lnTo>
                    <a:lnTo>
                      <a:pt x="962" y="683"/>
                    </a:lnTo>
                    <a:lnTo>
                      <a:pt x="976" y="681"/>
                    </a:lnTo>
                    <a:lnTo>
                      <a:pt x="983" y="679"/>
                    </a:lnTo>
                    <a:lnTo>
                      <a:pt x="988" y="678"/>
                    </a:lnTo>
                    <a:lnTo>
                      <a:pt x="990" y="676"/>
                    </a:lnTo>
                    <a:lnTo>
                      <a:pt x="991" y="675"/>
                    </a:lnTo>
                    <a:lnTo>
                      <a:pt x="992" y="673"/>
                    </a:lnTo>
                    <a:lnTo>
                      <a:pt x="992" y="672"/>
                    </a:lnTo>
                    <a:lnTo>
                      <a:pt x="989" y="668"/>
                    </a:lnTo>
                    <a:lnTo>
                      <a:pt x="984" y="661"/>
                    </a:lnTo>
                    <a:lnTo>
                      <a:pt x="976" y="652"/>
                    </a:lnTo>
                    <a:lnTo>
                      <a:pt x="966" y="644"/>
                    </a:lnTo>
                    <a:lnTo>
                      <a:pt x="958" y="635"/>
                    </a:lnTo>
                    <a:lnTo>
                      <a:pt x="949" y="626"/>
                    </a:lnTo>
                    <a:lnTo>
                      <a:pt x="944" y="620"/>
                    </a:lnTo>
                    <a:lnTo>
                      <a:pt x="942" y="615"/>
                    </a:lnTo>
                    <a:lnTo>
                      <a:pt x="940" y="602"/>
                    </a:lnTo>
                    <a:lnTo>
                      <a:pt x="938" y="585"/>
                    </a:lnTo>
                    <a:lnTo>
                      <a:pt x="935" y="570"/>
                    </a:lnTo>
                    <a:lnTo>
                      <a:pt x="933" y="561"/>
                    </a:lnTo>
                    <a:lnTo>
                      <a:pt x="933" y="547"/>
                    </a:lnTo>
                    <a:lnTo>
                      <a:pt x="934" y="534"/>
                    </a:lnTo>
                    <a:lnTo>
                      <a:pt x="928" y="533"/>
                    </a:lnTo>
                    <a:lnTo>
                      <a:pt x="917" y="530"/>
                    </a:lnTo>
                    <a:lnTo>
                      <a:pt x="910" y="529"/>
                    </a:lnTo>
                    <a:lnTo>
                      <a:pt x="904" y="529"/>
                    </a:lnTo>
                    <a:lnTo>
                      <a:pt x="901" y="529"/>
                    </a:lnTo>
                    <a:lnTo>
                      <a:pt x="899" y="530"/>
                    </a:lnTo>
                    <a:lnTo>
                      <a:pt x="898" y="531"/>
                    </a:lnTo>
                    <a:lnTo>
                      <a:pt x="897" y="533"/>
                    </a:lnTo>
                    <a:lnTo>
                      <a:pt x="895" y="541"/>
                    </a:lnTo>
                    <a:lnTo>
                      <a:pt x="892" y="550"/>
                    </a:lnTo>
                    <a:lnTo>
                      <a:pt x="891" y="554"/>
                    </a:lnTo>
                    <a:lnTo>
                      <a:pt x="891" y="558"/>
                    </a:lnTo>
                    <a:lnTo>
                      <a:pt x="892" y="562"/>
                    </a:lnTo>
                    <a:lnTo>
                      <a:pt x="894" y="565"/>
                    </a:lnTo>
                    <a:lnTo>
                      <a:pt x="898" y="572"/>
                    </a:lnTo>
                    <a:lnTo>
                      <a:pt x="902" y="579"/>
                    </a:lnTo>
                    <a:lnTo>
                      <a:pt x="904" y="582"/>
                    </a:lnTo>
                    <a:lnTo>
                      <a:pt x="904" y="585"/>
                    </a:lnTo>
                    <a:lnTo>
                      <a:pt x="904" y="588"/>
                    </a:lnTo>
                    <a:lnTo>
                      <a:pt x="902" y="591"/>
                    </a:lnTo>
                    <a:lnTo>
                      <a:pt x="895" y="596"/>
                    </a:lnTo>
                    <a:lnTo>
                      <a:pt x="883" y="602"/>
                    </a:lnTo>
                    <a:lnTo>
                      <a:pt x="878" y="604"/>
                    </a:lnTo>
                    <a:lnTo>
                      <a:pt x="874" y="605"/>
                    </a:lnTo>
                    <a:lnTo>
                      <a:pt x="872" y="604"/>
                    </a:lnTo>
                    <a:lnTo>
                      <a:pt x="871" y="604"/>
                    </a:lnTo>
                    <a:lnTo>
                      <a:pt x="870" y="603"/>
                    </a:lnTo>
                    <a:lnTo>
                      <a:pt x="869" y="601"/>
                    </a:lnTo>
                    <a:lnTo>
                      <a:pt x="871" y="590"/>
                    </a:lnTo>
                    <a:lnTo>
                      <a:pt x="874" y="574"/>
                    </a:lnTo>
                    <a:lnTo>
                      <a:pt x="875" y="567"/>
                    </a:lnTo>
                    <a:lnTo>
                      <a:pt x="875" y="561"/>
                    </a:lnTo>
                    <a:lnTo>
                      <a:pt x="874" y="559"/>
                    </a:lnTo>
                    <a:lnTo>
                      <a:pt x="873" y="557"/>
                    </a:lnTo>
                    <a:lnTo>
                      <a:pt x="872" y="557"/>
                    </a:lnTo>
                    <a:lnTo>
                      <a:pt x="870" y="557"/>
                    </a:lnTo>
                    <a:lnTo>
                      <a:pt x="865" y="559"/>
                    </a:lnTo>
                    <a:lnTo>
                      <a:pt x="859" y="563"/>
                    </a:lnTo>
                    <a:lnTo>
                      <a:pt x="853" y="570"/>
                    </a:lnTo>
                    <a:lnTo>
                      <a:pt x="847" y="576"/>
                    </a:lnTo>
                    <a:lnTo>
                      <a:pt x="842" y="582"/>
                    </a:lnTo>
                    <a:lnTo>
                      <a:pt x="836" y="586"/>
                    </a:lnTo>
                    <a:lnTo>
                      <a:pt x="834" y="587"/>
                    </a:lnTo>
                    <a:lnTo>
                      <a:pt x="832" y="588"/>
                    </a:lnTo>
                    <a:lnTo>
                      <a:pt x="830" y="588"/>
                    </a:lnTo>
                    <a:lnTo>
                      <a:pt x="828" y="586"/>
                    </a:lnTo>
                    <a:lnTo>
                      <a:pt x="826" y="583"/>
                    </a:lnTo>
                    <a:lnTo>
                      <a:pt x="825" y="578"/>
                    </a:lnTo>
                    <a:lnTo>
                      <a:pt x="825" y="573"/>
                    </a:lnTo>
                    <a:lnTo>
                      <a:pt x="826" y="567"/>
                    </a:lnTo>
                    <a:lnTo>
                      <a:pt x="826" y="562"/>
                    </a:lnTo>
                    <a:lnTo>
                      <a:pt x="826" y="557"/>
                    </a:lnTo>
                    <a:lnTo>
                      <a:pt x="826" y="554"/>
                    </a:lnTo>
                    <a:lnTo>
                      <a:pt x="824" y="552"/>
                    </a:lnTo>
                    <a:lnTo>
                      <a:pt x="822" y="552"/>
                    </a:lnTo>
                    <a:lnTo>
                      <a:pt x="816" y="555"/>
                    </a:lnTo>
                    <a:lnTo>
                      <a:pt x="810" y="560"/>
                    </a:lnTo>
                    <a:lnTo>
                      <a:pt x="804" y="565"/>
                    </a:lnTo>
                    <a:lnTo>
                      <a:pt x="796" y="571"/>
                    </a:lnTo>
                    <a:lnTo>
                      <a:pt x="791" y="575"/>
                    </a:lnTo>
                    <a:lnTo>
                      <a:pt x="789" y="576"/>
                    </a:lnTo>
                    <a:lnTo>
                      <a:pt x="787" y="577"/>
                    </a:lnTo>
                    <a:lnTo>
                      <a:pt x="786" y="577"/>
                    </a:lnTo>
                    <a:lnTo>
                      <a:pt x="785" y="576"/>
                    </a:lnTo>
                    <a:lnTo>
                      <a:pt x="786" y="566"/>
                    </a:lnTo>
                    <a:lnTo>
                      <a:pt x="788" y="556"/>
                    </a:lnTo>
                    <a:lnTo>
                      <a:pt x="789" y="552"/>
                    </a:lnTo>
                    <a:lnTo>
                      <a:pt x="789" y="549"/>
                    </a:lnTo>
                    <a:lnTo>
                      <a:pt x="789" y="547"/>
                    </a:lnTo>
                    <a:lnTo>
                      <a:pt x="789" y="547"/>
                    </a:lnTo>
                    <a:lnTo>
                      <a:pt x="788" y="547"/>
                    </a:lnTo>
                    <a:lnTo>
                      <a:pt x="787" y="547"/>
                    </a:lnTo>
                    <a:lnTo>
                      <a:pt x="773" y="554"/>
                    </a:lnTo>
                    <a:lnTo>
                      <a:pt x="754" y="564"/>
                    </a:lnTo>
                    <a:lnTo>
                      <a:pt x="743" y="571"/>
                    </a:lnTo>
                    <a:lnTo>
                      <a:pt x="735" y="577"/>
                    </a:lnTo>
                    <a:lnTo>
                      <a:pt x="728" y="582"/>
                    </a:lnTo>
                    <a:lnTo>
                      <a:pt x="726" y="586"/>
                    </a:lnTo>
                    <a:lnTo>
                      <a:pt x="723" y="600"/>
                    </a:lnTo>
                    <a:lnTo>
                      <a:pt x="722" y="606"/>
                    </a:lnTo>
                    <a:lnTo>
                      <a:pt x="717" y="608"/>
                    </a:lnTo>
                    <a:lnTo>
                      <a:pt x="707" y="613"/>
                    </a:lnTo>
                    <a:lnTo>
                      <a:pt x="702" y="616"/>
                    </a:lnTo>
                    <a:lnTo>
                      <a:pt x="698" y="619"/>
                    </a:lnTo>
                    <a:lnTo>
                      <a:pt x="696" y="621"/>
                    </a:lnTo>
                    <a:lnTo>
                      <a:pt x="695" y="623"/>
                    </a:lnTo>
                    <a:lnTo>
                      <a:pt x="695" y="624"/>
                    </a:lnTo>
                    <a:lnTo>
                      <a:pt x="695" y="626"/>
                    </a:lnTo>
                    <a:lnTo>
                      <a:pt x="697" y="629"/>
                    </a:lnTo>
                    <a:lnTo>
                      <a:pt x="700" y="634"/>
                    </a:lnTo>
                    <a:lnTo>
                      <a:pt x="704" y="637"/>
                    </a:lnTo>
                    <a:lnTo>
                      <a:pt x="708" y="640"/>
                    </a:lnTo>
                    <a:lnTo>
                      <a:pt x="714" y="642"/>
                    </a:lnTo>
                    <a:lnTo>
                      <a:pt x="719" y="644"/>
                    </a:lnTo>
                    <a:lnTo>
                      <a:pt x="723" y="645"/>
                    </a:lnTo>
                    <a:lnTo>
                      <a:pt x="726" y="645"/>
                    </a:lnTo>
                    <a:lnTo>
                      <a:pt x="735" y="639"/>
                    </a:lnTo>
                    <a:lnTo>
                      <a:pt x="743" y="630"/>
                    </a:lnTo>
                    <a:lnTo>
                      <a:pt x="747" y="626"/>
                    </a:lnTo>
                    <a:lnTo>
                      <a:pt x="750" y="624"/>
                    </a:lnTo>
                    <a:lnTo>
                      <a:pt x="752" y="623"/>
                    </a:lnTo>
                    <a:lnTo>
                      <a:pt x="752" y="623"/>
                    </a:lnTo>
                    <a:lnTo>
                      <a:pt x="754" y="623"/>
                    </a:lnTo>
                    <a:lnTo>
                      <a:pt x="754" y="625"/>
                    </a:lnTo>
                    <a:lnTo>
                      <a:pt x="752" y="628"/>
                    </a:lnTo>
                    <a:lnTo>
                      <a:pt x="750" y="632"/>
                    </a:lnTo>
                    <a:lnTo>
                      <a:pt x="747" y="638"/>
                    </a:lnTo>
                    <a:lnTo>
                      <a:pt x="743" y="642"/>
                    </a:lnTo>
                    <a:lnTo>
                      <a:pt x="735" y="649"/>
                    </a:lnTo>
                    <a:lnTo>
                      <a:pt x="732" y="652"/>
                    </a:lnTo>
                    <a:lnTo>
                      <a:pt x="727" y="651"/>
                    </a:lnTo>
                    <a:lnTo>
                      <a:pt x="719" y="649"/>
                    </a:lnTo>
                    <a:lnTo>
                      <a:pt x="714" y="649"/>
                    </a:lnTo>
                    <a:lnTo>
                      <a:pt x="710" y="650"/>
                    </a:lnTo>
                    <a:lnTo>
                      <a:pt x="707" y="652"/>
                    </a:lnTo>
                    <a:lnTo>
                      <a:pt x="705" y="653"/>
                    </a:lnTo>
                    <a:lnTo>
                      <a:pt x="704" y="657"/>
                    </a:lnTo>
                    <a:lnTo>
                      <a:pt x="703" y="660"/>
                    </a:lnTo>
                    <a:lnTo>
                      <a:pt x="703" y="666"/>
                    </a:lnTo>
                    <a:lnTo>
                      <a:pt x="704" y="671"/>
                    </a:lnTo>
                    <a:lnTo>
                      <a:pt x="706" y="676"/>
                    </a:lnTo>
                    <a:lnTo>
                      <a:pt x="710" y="681"/>
                    </a:lnTo>
                    <a:lnTo>
                      <a:pt x="713" y="683"/>
                    </a:lnTo>
                    <a:lnTo>
                      <a:pt x="717" y="685"/>
                    </a:lnTo>
                    <a:lnTo>
                      <a:pt x="720" y="686"/>
                    </a:lnTo>
                    <a:lnTo>
                      <a:pt x="723" y="685"/>
                    </a:lnTo>
                    <a:lnTo>
                      <a:pt x="734" y="681"/>
                    </a:lnTo>
                    <a:lnTo>
                      <a:pt x="750" y="674"/>
                    </a:lnTo>
                    <a:lnTo>
                      <a:pt x="760" y="670"/>
                    </a:lnTo>
                    <a:lnTo>
                      <a:pt x="769" y="667"/>
                    </a:lnTo>
                    <a:lnTo>
                      <a:pt x="780" y="665"/>
                    </a:lnTo>
                    <a:lnTo>
                      <a:pt x="788" y="665"/>
                    </a:lnTo>
                    <a:lnTo>
                      <a:pt x="802" y="666"/>
                    </a:lnTo>
                    <a:lnTo>
                      <a:pt x="810" y="668"/>
                    </a:lnTo>
                    <a:lnTo>
                      <a:pt x="812" y="669"/>
                    </a:lnTo>
                    <a:lnTo>
                      <a:pt x="812" y="671"/>
                    </a:lnTo>
                    <a:lnTo>
                      <a:pt x="811" y="673"/>
                    </a:lnTo>
                    <a:lnTo>
                      <a:pt x="808" y="676"/>
                    </a:lnTo>
                    <a:lnTo>
                      <a:pt x="805" y="680"/>
                    </a:lnTo>
                    <a:lnTo>
                      <a:pt x="801" y="681"/>
                    </a:lnTo>
                    <a:lnTo>
                      <a:pt x="796" y="681"/>
                    </a:lnTo>
                    <a:lnTo>
                      <a:pt x="791" y="681"/>
                    </a:lnTo>
                    <a:lnTo>
                      <a:pt x="786" y="681"/>
                    </a:lnTo>
                    <a:lnTo>
                      <a:pt x="780" y="681"/>
                    </a:lnTo>
                    <a:lnTo>
                      <a:pt x="772" y="682"/>
                    </a:lnTo>
                    <a:lnTo>
                      <a:pt x="764" y="685"/>
                    </a:lnTo>
                    <a:lnTo>
                      <a:pt x="746" y="690"/>
                    </a:lnTo>
                    <a:lnTo>
                      <a:pt x="727" y="693"/>
                    </a:lnTo>
                    <a:lnTo>
                      <a:pt x="720" y="694"/>
                    </a:lnTo>
                    <a:lnTo>
                      <a:pt x="714" y="696"/>
                    </a:lnTo>
                    <a:lnTo>
                      <a:pt x="711" y="698"/>
                    </a:lnTo>
                    <a:lnTo>
                      <a:pt x="710" y="700"/>
                    </a:lnTo>
                    <a:lnTo>
                      <a:pt x="708" y="702"/>
                    </a:lnTo>
                    <a:lnTo>
                      <a:pt x="708" y="703"/>
                    </a:lnTo>
                    <a:lnTo>
                      <a:pt x="710" y="711"/>
                    </a:lnTo>
                    <a:lnTo>
                      <a:pt x="713" y="719"/>
                    </a:lnTo>
                    <a:lnTo>
                      <a:pt x="715" y="723"/>
                    </a:lnTo>
                    <a:lnTo>
                      <a:pt x="717" y="726"/>
                    </a:lnTo>
                    <a:lnTo>
                      <a:pt x="720" y="728"/>
                    </a:lnTo>
                    <a:lnTo>
                      <a:pt x="723" y="730"/>
                    </a:lnTo>
                    <a:lnTo>
                      <a:pt x="728" y="730"/>
                    </a:lnTo>
                    <a:lnTo>
                      <a:pt x="735" y="730"/>
                    </a:lnTo>
                    <a:lnTo>
                      <a:pt x="743" y="728"/>
                    </a:lnTo>
                    <a:lnTo>
                      <a:pt x="751" y="727"/>
                    </a:lnTo>
                    <a:lnTo>
                      <a:pt x="759" y="725"/>
                    </a:lnTo>
                    <a:lnTo>
                      <a:pt x="765" y="725"/>
                    </a:lnTo>
                    <a:lnTo>
                      <a:pt x="768" y="725"/>
                    </a:lnTo>
                    <a:lnTo>
                      <a:pt x="770" y="726"/>
                    </a:lnTo>
                    <a:lnTo>
                      <a:pt x="771" y="727"/>
                    </a:lnTo>
                    <a:lnTo>
                      <a:pt x="771" y="729"/>
                    </a:lnTo>
                    <a:lnTo>
                      <a:pt x="771" y="749"/>
                    </a:lnTo>
                    <a:lnTo>
                      <a:pt x="771" y="759"/>
                    </a:lnTo>
                    <a:lnTo>
                      <a:pt x="778" y="759"/>
                    </a:lnTo>
                    <a:lnTo>
                      <a:pt x="791" y="757"/>
                    </a:lnTo>
                    <a:lnTo>
                      <a:pt x="808" y="754"/>
                    </a:lnTo>
                    <a:lnTo>
                      <a:pt x="820" y="751"/>
                    </a:lnTo>
                    <a:lnTo>
                      <a:pt x="830" y="747"/>
                    </a:lnTo>
                    <a:lnTo>
                      <a:pt x="843" y="741"/>
                    </a:lnTo>
                    <a:lnTo>
                      <a:pt x="850" y="738"/>
                    </a:lnTo>
                    <a:lnTo>
                      <a:pt x="856" y="735"/>
                    </a:lnTo>
                    <a:lnTo>
                      <a:pt x="862" y="731"/>
                    </a:lnTo>
                    <a:lnTo>
                      <a:pt x="868" y="727"/>
                    </a:lnTo>
                    <a:lnTo>
                      <a:pt x="878" y="717"/>
                    </a:lnTo>
                    <a:lnTo>
                      <a:pt x="886" y="709"/>
                    </a:lnTo>
                    <a:lnTo>
                      <a:pt x="890" y="707"/>
                    </a:lnTo>
                    <a:lnTo>
                      <a:pt x="894" y="707"/>
                    </a:lnTo>
                    <a:lnTo>
                      <a:pt x="899" y="707"/>
                    </a:lnTo>
                    <a:lnTo>
                      <a:pt x="904" y="710"/>
                    </a:lnTo>
                    <a:lnTo>
                      <a:pt x="911" y="714"/>
                    </a:lnTo>
                    <a:lnTo>
                      <a:pt x="918" y="717"/>
                    </a:lnTo>
                    <a:lnTo>
                      <a:pt x="924" y="719"/>
                    </a:lnTo>
                    <a:lnTo>
                      <a:pt x="932" y="722"/>
                    </a:lnTo>
                    <a:lnTo>
                      <a:pt x="944" y="723"/>
                    </a:lnTo>
                    <a:lnTo>
                      <a:pt x="952" y="724"/>
                    </a:lnTo>
                    <a:lnTo>
                      <a:pt x="962" y="719"/>
                    </a:lnTo>
                    <a:lnTo>
                      <a:pt x="968" y="715"/>
                    </a:lnTo>
                    <a:close/>
                    <a:moveTo>
                      <a:pt x="1545" y="2250"/>
                    </a:moveTo>
                    <a:lnTo>
                      <a:pt x="1533" y="2254"/>
                    </a:lnTo>
                    <a:lnTo>
                      <a:pt x="1516" y="2259"/>
                    </a:lnTo>
                    <a:lnTo>
                      <a:pt x="1509" y="2262"/>
                    </a:lnTo>
                    <a:lnTo>
                      <a:pt x="1504" y="2265"/>
                    </a:lnTo>
                    <a:lnTo>
                      <a:pt x="1502" y="2267"/>
                    </a:lnTo>
                    <a:lnTo>
                      <a:pt x="1501" y="2269"/>
                    </a:lnTo>
                    <a:lnTo>
                      <a:pt x="1502" y="2271"/>
                    </a:lnTo>
                    <a:lnTo>
                      <a:pt x="1503" y="2273"/>
                    </a:lnTo>
                    <a:lnTo>
                      <a:pt x="1508" y="2277"/>
                    </a:lnTo>
                    <a:lnTo>
                      <a:pt x="1513" y="2281"/>
                    </a:lnTo>
                    <a:lnTo>
                      <a:pt x="1517" y="2283"/>
                    </a:lnTo>
                    <a:lnTo>
                      <a:pt x="1523" y="2283"/>
                    </a:lnTo>
                    <a:lnTo>
                      <a:pt x="1533" y="2284"/>
                    </a:lnTo>
                    <a:lnTo>
                      <a:pt x="1541" y="2285"/>
                    </a:lnTo>
                    <a:lnTo>
                      <a:pt x="1552" y="2289"/>
                    </a:lnTo>
                    <a:lnTo>
                      <a:pt x="1563" y="2292"/>
                    </a:lnTo>
                    <a:lnTo>
                      <a:pt x="1569" y="2293"/>
                    </a:lnTo>
                    <a:lnTo>
                      <a:pt x="1573" y="2294"/>
                    </a:lnTo>
                    <a:lnTo>
                      <a:pt x="1576" y="2294"/>
                    </a:lnTo>
                    <a:lnTo>
                      <a:pt x="1577" y="2292"/>
                    </a:lnTo>
                    <a:lnTo>
                      <a:pt x="1578" y="2289"/>
                    </a:lnTo>
                    <a:lnTo>
                      <a:pt x="1579" y="2284"/>
                    </a:lnTo>
                    <a:lnTo>
                      <a:pt x="1581" y="2282"/>
                    </a:lnTo>
                    <a:lnTo>
                      <a:pt x="1582" y="2280"/>
                    </a:lnTo>
                    <a:lnTo>
                      <a:pt x="1585" y="2280"/>
                    </a:lnTo>
                    <a:lnTo>
                      <a:pt x="1589" y="2280"/>
                    </a:lnTo>
                    <a:lnTo>
                      <a:pt x="1600" y="2280"/>
                    </a:lnTo>
                    <a:lnTo>
                      <a:pt x="1616" y="2277"/>
                    </a:lnTo>
                    <a:lnTo>
                      <a:pt x="1623" y="2276"/>
                    </a:lnTo>
                    <a:lnTo>
                      <a:pt x="1629" y="2274"/>
                    </a:lnTo>
                    <a:lnTo>
                      <a:pt x="1634" y="2273"/>
                    </a:lnTo>
                    <a:lnTo>
                      <a:pt x="1634" y="2272"/>
                    </a:lnTo>
                    <a:lnTo>
                      <a:pt x="1627" y="2266"/>
                    </a:lnTo>
                    <a:lnTo>
                      <a:pt x="1615" y="2256"/>
                    </a:lnTo>
                    <a:lnTo>
                      <a:pt x="1606" y="2251"/>
                    </a:lnTo>
                    <a:lnTo>
                      <a:pt x="1599" y="2247"/>
                    </a:lnTo>
                    <a:lnTo>
                      <a:pt x="1592" y="2244"/>
                    </a:lnTo>
                    <a:lnTo>
                      <a:pt x="1584" y="2243"/>
                    </a:lnTo>
                    <a:lnTo>
                      <a:pt x="1575" y="2243"/>
                    </a:lnTo>
                    <a:lnTo>
                      <a:pt x="1569" y="2243"/>
                    </a:lnTo>
                    <a:lnTo>
                      <a:pt x="1567" y="2244"/>
                    </a:lnTo>
                    <a:lnTo>
                      <a:pt x="1564" y="2245"/>
                    </a:lnTo>
                    <a:lnTo>
                      <a:pt x="1562" y="2247"/>
                    </a:lnTo>
                    <a:lnTo>
                      <a:pt x="1560" y="2249"/>
                    </a:lnTo>
                    <a:lnTo>
                      <a:pt x="1557" y="2251"/>
                    </a:lnTo>
                    <a:lnTo>
                      <a:pt x="1555" y="2252"/>
                    </a:lnTo>
                    <a:lnTo>
                      <a:pt x="1553" y="2252"/>
                    </a:lnTo>
                    <a:lnTo>
                      <a:pt x="1550" y="2252"/>
                    </a:lnTo>
                    <a:lnTo>
                      <a:pt x="1547" y="2251"/>
                    </a:lnTo>
                    <a:lnTo>
                      <a:pt x="1545" y="2250"/>
                    </a:lnTo>
                    <a:close/>
                    <a:moveTo>
                      <a:pt x="1297" y="2187"/>
                    </a:moveTo>
                    <a:lnTo>
                      <a:pt x="1307" y="2180"/>
                    </a:lnTo>
                    <a:lnTo>
                      <a:pt x="1323" y="2170"/>
                    </a:lnTo>
                    <a:lnTo>
                      <a:pt x="1333" y="2164"/>
                    </a:lnTo>
                    <a:lnTo>
                      <a:pt x="1341" y="2161"/>
                    </a:lnTo>
                    <a:lnTo>
                      <a:pt x="1346" y="2161"/>
                    </a:lnTo>
                    <a:lnTo>
                      <a:pt x="1350" y="2161"/>
                    </a:lnTo>
                    <a:lnTo>
                      <a:pt x="1353" y="2162"/>
                    </a:lnTo>
                    <a:lnTo>
                      <a:pt x="1356" y="2164"/>
                    </a:lnTo>
                    <a:lnTo>
                      <a:pt x="1361" y="2167"/>
                    </a:lnTo>
                    <a:lnTo>
                      <a:pt x="1369" y="2171"/>
                    </a:lnTo>
                    <a:lnTo>
                      <a:pt x="1376" y="2173"/>
                    </a:lnTo>
                    <a:lnTo>
                      <a:pt x="1384" y="2174"/>
                    </a:lnTo>
                    <a:lnTo>
                      <a:pt x="1399" y="2175"/>
                    </a:lnTo>
                    <a:lnTo>
                      <a:pt x="1410" y="2176"/>
                    </a:lnTo>
                    <a:lnTo>
                      <a:pt x="1424" y="2181"/>
                    </a:lnTo>
                    <a:lnTo>
                      <a:pt x="1445" y="2190"/>
                    </a:lnTo>
                    <a:lnTo>
                      <a:pt x="1456" y="2196"/>
                    </a:lnTo>
                    <a:lnTo>
                      <a:pt x="1465" y="2201"/>
                    </a:lnTo>
                    <a:lnTo>
                      <a:pt x="1473" y="2206"/>
                    </a:lnTo>
                    <a:lnTo>
                      <a:pt x="1478" y="2211"/>
                    </a:lnTo>
                    <a:lnTo>
                      <a:pt x="1485" y="2220"/>
                    </a:lnTo>
                    <a:lnTo>
                      <a:pt x="1492" y="2228"/>
                    </a:lnTo>
                    <a:lnTo>
                      <a:pt x="1495" y="2231"/>
                    </a:lnTo>
                    <a:lnTo>
                      <a:pt x="1495" y="2234"/>
                    </a:lnTo>
                    <a:lnTo>
                      <a:pt x="1495" y="2236"/>
                    </a:lnTo>
                    <a:lnTo>
                      <a:pt x="1494" y="2238"/>
                    </a:lnTo>
                    <a:lnTo>
                      <a:pt x="1493" y="2239"/>
                    </a:lnTo>
                    <a:lnTo>
                      <a:pt x="1491" y="2240"/>
                    </a:lnTo>
                    <a:lnTo>
                      <a:pt x="1485" y="2242"/>
                    </a:lnTo>
                    <a:lnTo>
                      <a:pt x="1478" y="2244"/>
                    </a:lnTo>
                    <a:lnTo>
                      <a:pt x="1468" y="2244"/>
                    </a:lnTo>
                    <a:lnTo>
                      <a:pt x="1459" y="2245"/>
                    </a:lnTo>
                    <a:lnTo>
                      <a:pt x="1449" y="2244"/>
                    </a:lnTo>
                    <a:lnTo>
                      <a:pt x="1441" y="2242"/>
                    </a:lnTo>
                    <a:lnTo>
                      <a:pt x="1432" y="2239"/>
                    </a:lnTo>
                    <a:lnTo>
                      <a:pt x="1426" y="2234"/>
                    </a:lnTo>
                    <a:lnTo>
                      <a:pt x="1415" y="2224"/>
                    </a:lnTo>
                    <a:lnTo>
                      <a:pt x="1401" y="2214"/>
                    </a:lnTo>
                    <a:lnTo>
                      <a:pt x="1394" y="2209"/>
                    </a:lnTo>
                    <a:lnTo>
                      <a:pt x="1387" y="2206"/>
                    </a:lnTo>
                    <a:lnTo>
                      <a:pt x="1381" y="2204"/>
                    </a:lnTo>
                    <a:lnTo>
                      <a:pt x="1376" y="2203"/>
                    </a:lnTo>
                    <a:lnTo>
                      <a:pt x="1362" y="2201"/>
                    </a:lnTo>
                    <a:lnTo>
                      <a:pt x="1347" y="2199"/>
                    </a:lnTo>
                    <a:lnTo>
                      <a:pt x="1339" y="2197"/>
                    </a:lnTo>
                    <a:lnTo>
                      <a:pt x="1333" y="2197"/>
                    </a:lnTo>
                    <a:lnTo>
                      <a:pt x="1329" y="2197"/>
                    </a:lnTo>
                    <a:lnTo>
                      <a:pt x="1326" y="2198"/>
                    </a:lnTo>
                    <a:lnTo>
                      <a:pt x="1326" y="2201"/>
                    </a:lnTo>
                    <a:lnTo>
                      <a:pt x="1327" y="2204"/>
                    </a:lnTo>
                    <a:lnTo>
                      <a:pt x="1327" y="2205"/>
                    </a:lnTo>
                    <a:lnTo>
                      <a:pt x="1327" y="2206"/>
                    </a:lnTo>
                    <a:lnTo>
                      <a:pt x="1325" y="2206"/>
                    </a:lnTo>
                    <a:lnTo>
                      <a:pt x="1319" y="2206"/>
                    </a:lnTo>
                    <a:lnTo>
                      <a:pt x="1310" y="2204"/>
                    </a:lnTo>
                    <a:lnTo>
                      <a:pt x="1303" y="2201"/>
                    </a:lnTo>
                    <a:lnTo>
                      <a:pt x="1297" y="2199"/>
                    </a:lnTo>
                    <a:lnTo>
                      <a:pt x="1294" y="2198"/>
                    </a:lnTo>
                    <a:lnTo>
                      <a:pt x="1294" y="2193"/>
                    </a:lnTo>
                    <a:lnTo>
                      <a:pt x="1297" y="2187"/>
                    </a:lnTo>
                    <a:close/>
                    <a:moveTo>
                      <a:pt x="2970" y="1751"/>
                    </a:moveTo>
                    <a:lnTo>
                      <a:pt x="2962" y="1758"/>
                    </a:lnTo>
                    <a:lnTo>
                      <a:pt x="2954" y="1768"/>
                    </a:lnTo>
                    <a:lnTo>
                      <a:pt x="2954" y="1771"/>
                    </a:lnTo>
                    <a:lnTo>
                      <a:pt x="2955" y="1776"/>
                    </a:lnTo>
                    <a:lnTo>
                      <a:pt x="2956" y="1777"/>
                    </a:lnTo>
                    <a:lnTo>
                      <a:pt x="2956" y="1779"/>
                    </a:lnTo>
                    <a:lnTo>
                      <a:pt x="2957" y="1779"/>
                    </a:lnTo>
                    <a:lnTo>
                      <a:pt x="2958" y="1779"/>
                    </a:lnTo>
                    <a:lnTo>
                      <a:pt x="2963" y="1770"/>
                    </a:lnTo>
                    <a:lnTo>
                      <a:pt x="2967" y="1763"/>
                    </a:lnTo>
                    <a:lnTo>
                      <a:pt x="2970" y="1762"/>
                    </a:lnTo>
                    <a:lnTo>
                      <a:pt x="2972" y="1761"/>
                    </a:lnTo>
                    <a:lnTo>
                      <a:pt x="2975" y="1761"/>
                    </a:lnTo>
                    <a:lnTo>
                      <a:pt x="2979" y="1762"/>
                    </a:lnTo>
                    <a:lnTo>
                      <a:pt x="2981" y="1763"/>
                    </a:lnTo>
                    <a:lnTo>
                      <a:pt x="2982" y="1763"/>
                    </a:lnTo>
                    <a:lnTo>
                      <a:pt x="2984" y="1762"/>
                    </a:lnTo>
                    <a:lnTo>
                      <a:pt x="2985" y="1761"/>
                    </a:lnTo>
                    <a:lnTo>
                      <a:pt x="2987" y="1757"/>
                    </a:lnTo>
                    <a:lnTo>
                      <a:pt x="2989" y="1754"/>
                    </a:lnTo>
                    <a:lnTo>
                      <a:pt x="2994" y="1751"/>
                    </a:lnTo>
                    <a:lnTo>
                      <a:pt x="2998" y="1749"/>
                    </a:lnTo>
                    <a:lnTo>
                      <a:pt x="2999" y="1748"/>
                    </a:lnTo>
                    <a:lnTo>
                      <a:pt x="3000" y="1746"/>
                    </a:lnTo>
                    <a:lnTo>
                      <a:pt x="3000" y="1744"/>
                    </a:lnTo>
                    <a:lnTo>
                      <a:pt x="2998" y="1740"/>
                    </a:lnTo>
                    <a:lnTo>
                      <a:pt x="2993" y="1734"/>
                    </a:lnTo>
                    <a:lnTo>
                      <a:pt x="2988" y="1731"/>
                    </a:lnTo>
                    <a:lnTo>
                      <a:pt x="2986" y="1731"/>
                    </a:lnTo>
                    <a:lnTo>
                      <a:pt x="2984" y="1731"/>
                    </a:lnTo>
                    <a:lnTo>
                      <a:pt x="2983" y="1732"/>
                    </a:lnTo>
                    <a:lnTo>
                      <a:pt x="2982" y="1733"/>
                    </a:lnTo>
                    <a:lnTo>
                      <a:pt x="2976" y="1745"/>
                    </a:lnTo>
                    <a:lnTo>
                      <a:pt x="2973" y="1751"/>
                    </a:lnTo>
                    <a:lnTo>
                      <a:pt x="2971" y="1751"/>
                    </a:lnTo>
                    <a:lnTo>
                      <a:pt x="2970" y="1751"/>
                    </a:lnTo>
                    <a:close/>
                    <a:moveTo>
                      <a:pt x="3055" y="1671"/>
                    </a:moveTo>
                    <a:lnTo>
                      <a:pt x="3052" y="1678"/>
                    </a:lnTo>
                    <a:lnTo>
                      <a:pt x="3051" y="1684"/>
                    </a:lnTo>
                    <a:lnTo>
                      <a:pt x="3051" y="1691"/>
                    </a:lnTo>
                    <a:lnTo>
                      <a:pt x="3053" y="1696"/>
                    </a:lnTo>
                    <a:lnTo>
                      <a:pt x="3055" y="1702"/>
                    </a:lnTo>
                    <a:lnTo>
                      <a:pt x="3056" y="1707"/>
                    </a:lnTo>
                    <a:lnTo>
                      <a:pt x="3055" y="1713"/>
                    </a:lnTo>
                    <a:lnTo>
                      <a:pt x="3053" y="1716"/>
                    </a:lnTo>
                    <a:lnTo>
                      <a:pt x="3050" y="1718"/>
                    </a:lnTo>
                    <a:lnTo>
                      <a:pt x="3045" y="1719"/>
                    </a:lnTo>
                    <a:lnTo>
                      <a:pt x="3043" y="1720"/>
                    </a:lnTo>
                    <a:lnTo>
                      <a:pt x="3042" y="1721"/>
                    </a:lnTo>
                    <a:lnTo>
                      <a:pt x="3042" y="1723"/>
                    </a:lnTo>
                    <a:lnTo>
                      <a:pt x="3042" y="1725"/>
                    </a:lnTo>
                    <a:lnTo>
                      <a:pt x="3045" y="1732"/>
                    </a:lnTo>
                    <a:lnTo>
                      <a:pt x="3048" y="1737"/>
                    </a:lnTo>
                    <a:lnTo>
                      <a:pt x="3049" y="1740"/>
                    </a:lnTo>
                    <a:lnTo>
                      <a:pt x="3050" y="1742"/>
                    </a:lnTo>
                    <a:lnTo>
                      <a:pt x="3050" y="1745"/>
                    </a:lnTo>
                    <a:lnTo>
                      <a:pt x="3050" y="1748"/>
                    </a:lnTo>
                    <a:lnTo>
                      <a:pt x="3049" y="1756"/>
                    </a:lnTo>
                    <a:lnTo>
                      <a:pt x="3050" y="1762"/>
                    </a:lnTo>
                    <a:lnTo>
                      <a:pt x="3051" y="1767"/>
                    </a:lnTo>
                    <a:lnTo>
                      <a:pt x="3052" y="1769"/>
                    </a:lnTo>
                    <a:lnTo>
                      <a:pt x="3054" y="1771"/>
                    </a:lnTo>
                    <a:lnTo>
                      <a:pt x="3061" y="1773"/>
                    </a:lnTo>
                    <a:lnTo>
                      <a:pt x="3063" y="1773"/>
                    </a:lnTo>
                    <a:lnTo>
                      <a:pt x="3066" y="1772"/>
                    </a:lnTo>
                    <a:lnTo>
                      <a:pt x="3067" y="1769"/>
                    </a:lnTo>
                    <a:lnTo>
                      <a:pt x="3068" y="1764"/>
                    </a:lnTo>
                    <a:lnTo>
                      <a:pt x="3068" y="1751"/>
                    </a:lnTo>
                    <a:lnTo>
                      <a:pt x="3068" y="1739"/>
                    </a:lnTo>
                    <a:lnTo>
                      <a:pt x="3069" y="1729"/>
                    </a:lnTo>
                    <a:lnTo>
                      <a:pt x="3068" y="1724"/>
                    </a:lnTo>
                    <a:lnTo>
                      <a:pt x="3066" y="1722"/>
                    </a:lnTo>
                    <a:lnTo>
                      <a:pt x="3065" y="1718"/>
                    </a:lnTo>
                    <a:lnTo>
                      <a:pt x="3064" y="1713"/>
                    </a:lnTo>
                    <a:lnTo>
                      <a:pt x="3065" y="1704"/>
                    </a:lnTo>
                    <a:lnTo>
                      <a:pt x="3066" y="1694"/>
                    </a:lnTo>
                    <a:lnTo>
                      <a:pt x="3067" y="1685"/>
                    </a:lnTo>
                    <a:lnTo>
                      <a:pt x="3066" y="1679"/>
                    </a:lnTo>
                    <a:lnTo>
                      <a:pt x="3064" y="1675"/>
                    </a:lnTo>
                    <a:lnTo>
                      <a:pt x="3062" y="1672"/>
                    </a:lnTo>
                    <a:lnTo>
                      <a:pt x="3059" y="1671"/>
                    </a:lnTo>
                    <a:lnTo>
                      <a:pt x="3056" y="1671"/>
                    </a:lnTo>
                    <a:lnTo>
                      <a:pt x="3055" y="1671"/>
                    </a:lnTo>
                    <a:close/>
                    <a:moveTo>
                      <a:pt x="2133" y="1095"/>
                    </a:moveTo>
                    <a:lnTo>
                      <a:pt x="2137" y="1078"/>
                    </a:lnTo>
                    <a:lnTo>
                      <a:pt x="2143" y="1040"/>
                    </a:lnTo>
                    <a:lnTo>
                      <a:pt x="2148" y="1019"/>
                    </a:lnTo>
                    <a:lnTo>
                      <a:pt x="2152" y="999"/>
                    </a:lnTo>
                    <a:lnTo>
                      <a:pt x="2155" y="990"/>
                    </a:lnTo>
                    <a:lnTo>
                      <a:pt x="2158" y="982"/>
                    </a:lnTo>
                    <a:lnTo>
                      <a:pt x="2161" y="976"/>
                    </a:lnTo>
                    <a:lnTo>
                      <a:pt x="2164" y="972"/>
                    </a:lnTo>
                    <a:lnTo>
                      <a:pt x="2175" y="959"/>
                    </a:lnTo>
                    <a:lnTo>
                      <a:pt x="2188" y="946"/>
                    </a:lnTo>
                    <a:lnTo>
                      <a:pt x="2193" y="938"/>
                    </a:lnTo>
                    <a:lnTo>
                      <a:pt x="2197" y="932"/>
                    </a:lnTo>
                    <a:lnTo>
                      <a:pt x="2198" y="928"/>
                    </a:lnTo>
                    <a:lnTo>
                      <a:pt x="2199" y="925"/>
                    </a:lnTo>
                    <a:lnTo>
                      <a:pt x="2199" y="922"/>
                    </a:lnTo>
                    <a:lnTo>
                      <a:pt x="2199" y="918"/>
                    </a:lnTo>
                    <a:lnTo>
                      <a:pt x="2198" y="911"/>
                    </a:lnTo>
                    <a:lnTo>
                      <a:pt x="2198" y="903"/>
                    </a:lnTo>
                    <a:lnTo>
                      <a:pt x="2199" y="893"/>
                    </a:lnTo>
                    <a:lnTo>
                      <a:pt x="2202" y="885"/>
                    </a:lnTo>
                    <a:lnTo>
                      <a:pt x="2204" y="877"/>
                    </a:lnTo>
                    <a:lnTo>
                      <a:pt x="2208" y="870"/>
                    </a:lnTo>
                    <a:lnTo>
                      <a:pt x="2209" y="868"/>
                    </a:lnTo>
                    <a:lnTo>
                      <a:pt x="2211" y="866"/>
                    </a:lnTo>
                    <a:lnTo>
                      <a:pt x="2213" y="864"/>
                    </a:lnTo>
                    <a:lnTo>
                      <a:pt x="2215" y="864"/>
                    </a:lnTo>
                    <a:lnTo>
                      <a:pt x="2219" y="862"/>
                    </a:lnTo>
                    <a:lnTo>
                      <a:pt x="2226" y="857"/>
                    </a:lnTo>
                    <a:lnTo>
                      <a:pt x="2232" y="850"/>
                    </a:lnTo>
                    <a:lnTo>
                      <a:pt x="2239" y="843"/>
                    </a:lnTo>
                    <a:lnTo>
                      <a:pt x="2247" y="837"/>
                    </a:lnTo>
                    <a:lnTo>
                      <a:pt x="2254" y="834"/>
                    </a:lnTo>
                    <a:lnTo>
                      <a:pt x="2257" y="833"/>
                    </a:lnTo>
                    <a:lnTo>
                      <a:pt x="2260" y="833"/>
                    </a:lnTo>
                    <a:lnTo>
                      <a:pt x="2262" y="834"/>
                    </a:lnTo>
                    <a:lnTo>
                      <a:pt x="2265" y="836"/>
                    </a:lnTo>
                    <a:lnTo>
                      <a:pt x="2269" y="840"/>
                    </a:lnTo>
                    <a:lnTo>
                      <a:pt x="2271" y="842"/>
                    </a:lnTo>
                    <a:lnTo>
                      <a:pt x="2273" y="841"/>
                    </a:lnTo>
                    <a:lnTo>
                      <a:pt x="2275" y="839"/>
                    </a:lnTo>
                    <a:lnTo>
                      <a:pt x="2276" y="836"/>
                    </a:lnTo>
                    <a:lnTo>
                      <a:pt x="2278" y="832"/>
                    </a:lnTo>
                    <a:lnTo>
                      <a:pt x="2280" y="828"/>
                    </a:lnTo>
                    <a:lnTo>
                      <a:pt x="2283" y="825"/>
                    </a:lnTo>
                    <a:lnTo>
                      <a:pt x="2288" y="821"/>
                    </a:lnTo>
                    <a:lnTo>
                      <a:pt x="2297" y="814"/>
                    </a:lnTo>
                    <a:lnTo>
                      <a:pt x="2307" y="804"/>
                    </a:lnTo>
                    <a:lnTo>
                      <a:pt x="2317" y="793"/>
                    </a:lnTo>
                    <a:lnTo>
                      <a:pt x="2326" y="781"/>
                    </a:lnTo>
                    <a:lnTo>
                      <a:pt x="2334" y="770"/>
                    </a:lnTo>
                    <a:lnTo>
                      <a:pt x="2336" y="766"/>
                    </a:lnTo>
                    <a:lnTo>
                      <a:pt x="2338" y="760"/>
                    </a:lnTo>
                    <a:lnTo>
                      <a:pt x="2338" y="757"/>
                    </a:lnTo>
                    <a:lnTo>
                      <a:pt x="2337" y="754"/>
                    </a:lnTo>
                    <a:lnTo>
                      <a:pt x="2330" y="745"/>
                    </a:lnTo>
                    <a:lnTo>
                      <a:pt x="2327" y="735"/>
                    </a:lnTo>
                    <a:lnTo>
                      <a:pt x="2325" y="729"/>
                    </a:lnTo>
                    <a:lnTo>
                      <a:pt x="2325" y="727"/>
                    </a:lnTo>
                    <a:lnTo>
                      <a:pt x="2328" y="731"/>
                    </a:lnTo>
                    <a:lnTo>
                      <a:pt x="2338" y="741"/>
                    </a:lnTo>
                    <a:lnTo>
                      <a:pt x="2343" y="747"/>
                    </a:lnTo>
                    <a:lnTo>
                      <a:pt x="2349" y="751"/>
                    </a:lnTo>
                    <a:lnTo>
                      <a:pt x="2352" y="752"/>
                    </a:lnTo>
                    <a:lnTo>
                      <a:pt x="2357" y="753"/>
                    </a:lnTo>
                    <a:lnTo>
                      <a:pt x="2360" y="754"/>
                    </a:lnTo>
                    <a:lnTo>
                      <a:pt x="2363" y="754"/>
                    </a:lnTo>
                    <a:lnTo>
                      <a:pt x="2374" y="750"/>
                    </a:lnTo>
                    <a:lnTo>
                      <a:pt x="2391" y="742"/>
                    </a:lnTo>
                    <a:lnTo>
                      <a:pt x="2412" y="731"/>
                    </a:lnTo>
                    <a:lnTo>
                      <a:pt x="2435" y="718"/>
                    </a:lnTo>
                    <a:lnTo>
                      <a:pt x="2475" y="696"/>
                    </a:lnTo>
                    <a:lnTo>
                      <a:pt x="2493" y="686"/>
                    </a:lnTo>
                    <a:lnTo>
                      <a:pt x="2485" y="682"/>
                    </a:lnTo>
                    <a:lnTo>
                      <a:pt x="2470" y="673"/>
                    </a:lnTo>
                    <a:lnTo>
                      <a:pt x="2459" y="669"/>
                    </a:lnTo>
                    <a:lnTo>
                      <a:pt x="2450" y="665"/>
                    </a:lnTo>
                    <a:lnTo>
                      <a:pt x="2445" y="664"/>
                    </a:lnTo>
                    <a:lnTo>
                      <a:pt x="2440" y="663"/>
                    </a:lnTo>
                    <a:lnTo>
                      <a:pt x="2436" y="663"/>
                    </a:lnTo>
                    <a:lnTo>
                      <a:pt x="2432" y="664"/>
                    </a:lnTo>
                    <a:lnTo>
                      <a:pt x="2426" y="665"/>
                    </a:lnTo>
                    <a:lnTo>
                      <a:pt x="2420" y="664"/>
                    </a:lnTo>
                    <a:lnTo>
                      <a:pt x="2416" y="661"/>
                    </a:lnTo>
                    <a:lnTo>
                      <a:pt x="2413" y="658"/>
                    </a:lnTo>
                    <a:lnTo>
                      <a:pt x="2411" y="654"/>
                    </a:lnTo>
                    <a:lnTo>
                      <a:pt x="2410" y="651"/>
                    </a:lnTo>
                    <a:lnTo>
                      <a:pt x="2411" y="648"/>
                    </a:lnTo>
                    <a:lnTo>
                      <a:pt x="2413" y="646"/>
                    </a:lnTo>
                    <a:lnTo>
                      <a:pt x="2420" y="642"/>
                    </a:lnTo>
                    <a:lnTo>
                      <a:pt x="2430" y="640"/>
                    </a:lnTo>
                    <a:lnTo>
                      <a:pt x="2434" y="638"/>
                    </a:lnTo>
                    <a:lnTo>
                      <a:pt x="2437" y="636"/>
                    </a:lnTo>
                    <a:lnTo>
                      <a:pt x="2437" y="635"/>
                    </a:lnTo>
                    <a:lnTo>
                      <a:pt x="2437" y="634"/>
                    </a:lnTo>
                    <a:lnTo>
                      <a:pt x="2436" y="632"/>
                    </a:lnTo>
                    <a:lnTo>
                      <a:pt x="2435" y="631"/>
                    </a:lnTo>
                    <a:lnTo>
                      <a:pt x="2432" y="628"/>
                    </a:lnTo>
                    <a:lnTo>
                      <a:pt x="2430" y="625"/>
                    </a:lnTo>
                    <a:lnTo>
                      <a:pt x="2428" y="621"/>
                    </a:lnTo>
                    <a:lnTo>
                      <a:pt x="2427" y="618"/>
                    </a:lnTo>
                    <a:lnTo>
                      <a:pt x="2427" y="615"/>
                    </a:lnTo>
                    <a:lnTo>
                      <a:pt x="2428" y="613"/>
                    </a:lnTo>
                    <a:lnTo>
                      <a:pt x="2430" y="612"/>
                    </a:lnTo>
                    <a:lnTo>
                      <a:pt x="2434" y="613"/>
                    </a:lnTo>
                    <a:lnTo>
                      <a:pt x="2438" y="616"/>
                    </a:lnTo>
                    <a:lnTo>
                      <a:pt x="2444" y="621"/>
                    </a:lnTo>
                    <a:lnTo>
                      <a:pt x="2448" y="627"/>
                    </a:lnTo>
                    <a:lnTo>
                      <a:pt x="2453" y="635"/>
                    </a:lnTo>
                    <a:lnTo>
                      <a:pt x="2459" y="646"/>
                    </a:lnTo>
                    <a:lnTo>
                      <a:pt x="2462" y="651"/>
                    </a:lnTo>
                    <a:lnTo>
                      <a:pt x="2464" y="654"/>
                    </a:lnTo>
                    <a:lnTo>
                      <a:pt x="2471" y="663"/>
                    </a:lnTo>
                    <a:lnTo>
                      <a:pt x="2475" y="666"/>
                    </a:lnTo>
                    <a:lnTo>
                      <a:pt x="2479" y="669"/>
                    </a:lnTo>
                    <a:lnTo>
                      <a:pt x="2482" y="670"/>
                    </a:lnTo>
                    <a:lnTo>
                      <a:pt x="2487" y="670"/>
                    </a:lnTo>
                    <a:lnTo>
                      <a:pt x="2491" y="668"/>
                    </a:lnTo>
                    <a:lnTo>
                      <a:pt x="2495" y="665"/>
                    </a:lnTo>
                    <a:lnTo>
                      <a:pt x="2500" y="661"/>
                    </a:lnTo>
                    <a:lnTo>
                      <a:pt x="2504" y="656"/>
                    </a:lnTo>
                    <a:lnTo>
                      <a:pt x="2507" y="650"/>
                    </a:lnTo>
                    <a:lnTo>
                      <a:pt x="2509" y="645"/>
                    </a:lnTo>
                    <a:lnTo>
                      <a:pt x="2510" y="643"/>
                    </a:lnTo>
                    <a:lnTo>
                      <a:pt x="2509" y="640"/>
                    </a:lnTo>
                    <a:lnTo>
                      <a:pt x="2507" y="637"/>
                    </a:lnTo>
                    <a:lnTo>
                      <a:pt x="2506" y="635"/>
                    </a:lnTo>
                    <a:lnTo>
                      <a:pt x="2496" y="621"/>
                    </a:lnTo>
                    <a:lnTo>
                      <a:pt x="2483" y="605"/>
                    </a:lnTo>
                    <a:lnTo>
                      <a:pt x="2471" y="591"/>
                    </a:lnTo>
                    <a:lnTo>
                      <a:pt x="2460" y="579"/>
                    </a:lnTo>
                    <a:lnTo>
                      <a:pt x="2449" y="569"/>
                    </a:lnTo>
                    <a:lnTo>
                      <a:pt x="2434" y="556"/>
                    </a:lnTo>
                    <a:lnTo>
                      <a:pt x="2422" y="545"/>
                    </a:lnTo>
                    <a:lnTo>
                      <a:pt x="2416" y="541"/>
                    </a:lnTo>
                    <a:lnTo>
                      <a:pt x="2420" y="541"/>
                    </a:lnTo>
                    <a:lnTo>
                      <a:pt x="2432" y="541"/>
                    </a:lnTo>
                    <a:lnTo>
                      <a:pt x="2438" y="541"/>
                    </a:lnTo>
                    <a:lnTo>
                      <a:pt x="2445" y="542"/>
                    </a:lnTo>
                    <a:lnTo>
                      <a:pt x="2449" y="543"/>
                    </a:lnTo>
                    <a:lnTo>
                      <a:pt x="2452" y="547"/>
                    </a:lnTo>
                    <a:lnTo>
                      <a:pt x="2454" y="548"/>
                    </a:lnTo>
                    <a:lnTo>
                      <a:pt x="2456" y="548"/>
                    </a:lnTo>
                    <a:lnTo>
                      <a:pt x="2457" y="547"/>
                    </a:lnTo>
                    <a:lnTo>
                      <a:pt x="2458" y="544"/>
                    </a:lnTo>
                    <a:lnTo>
                      <a:pt x="2459" y="538"/>
                    </a:lnTo>
                    <a:lnTo>
                      <a:pt x="2459" y="536"/>
                    </a:lnTo>
                    <a:lnTo>
                      <a:pt x="2459" y="533"/>
                    </a:lnTo>
                    <a:lnTo>
                      <a:pt x="2458" y="526"/>
                    </a:lnTo>
                    <a:lnTo>
                      <a:pt x="2459" y="522"/>
                    </a:lnTo>
                    <a:lnTo>
                      <a:pt x="2460" y="520"/>
                    </a:lnTo>
                    <a:lnTo>
                      <a:pt x="2462" y="520"/>
                    </a:lnTo>
                    <a:lnTo>
                      <a:pt x="2464" y="522"/>
                    </a:lnTo>
                    <a:lnTo>
                      <a:pt x="2469" y="527"/>
                    </a:lnTo>
                    <a:lnTo>
                      <a:pt x="2474" y="529"/>
                    </a:lnTo>
                    <a:lnTo>
                      <a:pt x="2479" y="530"/>
                    </a:lnTo>
                    <a:lnTo>
                      <a:pt x="2484" y="531"/>
                    </a:lnTo>
                    <a:lnTo>
                      <a:pt x="2493" y="531"/>
                    </a:lnTo>
                    <a:lnTo>
                      <a:pt x="2497" y="531"/>
                    </a:lnTo>
                    <a:lnTo>
                      <a:pt x="2492" y="520"/>
                    </a:lnTo>
                    <a:lnTo>
                      <a:pt x="2487" y="510"/>
                    </a:lnTo>
                    <a:lnTo>
                      <a:pt x="2480" y="506"/>
                    </a:lnTo>
                    <a:lnTo>
                      <a:pt x="2469" y="497"/>
                    </a:lnTo>
                    <a:lnTo>
                      <a:pt x="2463" y="493"/>
                    </a:lnTo>
                    <a:lnTo>
                      <a:pt x="2459" y="489"/>
                    </a:lnTo>
                    <a:lnTo>
                      <a:pt x="2458" y="488"/>
                    </a:lnTo>
                    <a:lnTo>
                      <a:pt x="2458" y="486"/>
                    </a:lnTo>
                    <a:lnTo>
                      <a:pt x="2458" y="485"/>
                    </a:lnTo>
                    <a:lnTo>
                      <a:pt x="2459" y="484"/>
                    </a:lnTo>
                    <a:lnTo>
                      <a:pt x="2469" y="482"/>
                    </a:lnTo>
                    <a:lnTo>
                      <a:pt x="2480" y="479"/>
                    </a:lnTo>
                    <a:lnTo>
                      <a:pt x="2492" y="478"/>
                    </a:lnTo>
                    <a:lnTo>
                      <a:pt x="2497" y="478"/>
                    </a:lnTo>
                    <a:lnTo>
                      <a:pt x="2497" y="476"/>
                    </a:lnTo>
                    <a:lnTo>
                      <a:pt x="2492" y="470"/>
                    </a:lnTo>
                    <a:lnTo>
                      <a:pt x="2483" y="462"/>
                    </a:lnTo>
                    <a:lnTo>
                      <a:pt x="2475" y="453"/>
                    </a:lnTo>
                    <a:lnTo>
                      <a:pt x="2464" y="444"/>
                    </a:lnTo>
                    <a:lnTo>
                      <a:pt x="2455" y="432"/>
                    </a:lnTo>
                    <a:lnTo>
                      <a:pt x="2451" y="427"/>
                    </a:lnTo>
                    <a:lnTo>
                      <a:pt x="2449" y="423"/>
                    </a:lnTo>
                    <a:lnTo>
                      <a:pt x="2448" y="422"/>
                    </a:lnTo>
                    <a:lnTo>
                      <a:pt x="2448" y="421"/>
                    </a:lnTo>
                    <a:lnTo>
                      <a:pt x="2448" y="421"/>
                    </a:lnTo>
                    <a:lnTo>
                      <a:pt x="2449" y="421"/>
                    </a:lnTo>
                    <a:lnTo>
                      <a:pt x="2458" y="427"/>
                    </a:lnTo>
                    <a:lnTo>
                      <a:pt x="2472" y="435"/>
                    </a:lnTo>
                    <a:lnTo>
                      <a:pt x="2479" y="440"/>
                    </a:lnTo>
                    <a:lnTo>
                      <a:pt x="2484" y="442"/>
                    </a:lnTo>
                    <a:lnTo>
                      <a:pt x="2487" y="443"/>
                    </a:lnTo>
                    <a:lnTo>
                      <a:pt x="2489" y="443"/>
                    </a:lnTo>
                    <a:lnTo>
                      <a:pt x="2490" y="443"/>
                    </a:lnTo>
                    <a:lnTo>
                      <a:pt x="2490" y="442"/>
                    </a:lnTo>
                    <a:lnTo>
                      <a:pt x="2482" y="431"/>
                    </a:lnTo>
                    <a:lnTo>
                      <a:pt x="2469" y="413"/>
                    </a:lnTo>
                    <a:lnTo>
                      <a:pt x="2454" y="398"/>
                    </a:lnTo>
                    <a:lnTo>
                      <a:pt x="2447" y="389"/>
                    </a:lnTo>
                    <a:lnTo>
                      <a:pt x="2440" y="387"/>
                    </a:lnTo>
                    <a:lnTo>
                      <a:pt x="2433" y="383"/>
                    </a:lnTo>
                    <a:lnTo>
                      <a:pt x="2430" y="380"/>
                    </a:lnTo>
                    <a:lnTo>
                      <a:pt x="2427" y="378"/>
                    </a:lnTo>
                    <a:lnTo>
                      <a:pt x="2426" y="375"/>
                    </a:lnTo>
                    <a:lnTo>
                      <a:pt x="2427" y="371"/>
                    </a:lnTo>
                    <a:lnTo>
                      <a:pt x="2429" y="367"/>
                    </a:lnTo>
                    <a:lnTo>
                      <a:pt x="2432" y="364"/>
                    </a:lnTo>
                    <a:lnTo>
                      <a:pt x="2435" y="361"/>
                    </a:lnTo>
                    <a:lnTo>
                      <a:pt x="2438" y="359"/>
                    </a:lnTo>
                    <a:lnTo>
                      <a:pt x="2442" y="357"/>
                    </a:lnTo>
                    <a:lnTo>
                      <a:pt x="2447" y="357"/>
                    </a:lnTo>
                    <a:lnTo>
                      <a:pt x="2450" y="357"/>
                    </a:lnTo>
                    <a:lnTo>
                      <a:pt x="2454" y="359"/>
                    </a:lnTo>
                    <a:lnTo>
                      <a:pt x="2473" y="375"/>
                    </a:lnTo>
                    <a:lnTo>
                      <a:pt x="2482" y="381"/>
                    </a:lnTo>
                    <a:lnTo>
                      <a:pt x="2481" y="375"/>
                    </a:lnTo>
                    <a:lnTo>
                      <a:pt x="2478" y="362"/>
                    </a:lnTo>
                    <a:lnTo>
                      <a:pt x="2474" y="350"/>
                    </a:lnTo>
                    <a:lnTo>
                      <a:pt x="2472" y="344"/>
                    </a:lnTo>
                    <a:lnTo>
                      <a:pt x="2467" y="343"/>
                    </a:lnTo>
                    <a:lnTo>
                      <a:pt x="2460" y="343"/>
                    </a:lnTo>
                    <a:lnTo>
                      <a:pt x="2455" y="342"/>
                    </a:lnTo>
                    <a:lnTo>
                      <a:pt x="2448" y="340"/>
                    </a:lnTo>
                    <a:lnTo>
                      <a:pt x="2444" y="339"/>
                    </a:lnTo>
                    <a:lnTo>
                      <a:pt x="2440" y="337"/>
                    </a:lnTo>
                    <a:lnTo>
                      <a:pt x="2438" y="335"/>
                    </a:lnTo>
                    <a:lnTo>
                      <a:pt x="2438" y="334"/>
                    </a:lnTo>
                    <a:lnTo>
                      <a:pt x="2440" y="330"/>
                    </a:lnTo>
                    <a:lnTo>
                      <a:pt x="2444" y="325"/>
                    </a:lnTo>
                    <a:lnTo>
                      <a:pt x="2446" y="322"/>
                    </a:lnTo>
                    <a:lnTo>
                      <a:pt x="2446" y="319"/>
                    </a:lnTo>
                    <a:lnTo>
                      <a:pt x="2438" y="318"/>
                    </a:lnTo>
                    <a:lnTo>
                      <a:pt x="2428" y="319"/>
                    </a:lnTo>
                    <a:lnTo>
                      <a:pt x="2424" y="319"/>
                    </a:lnTo>
                    <a:lnTo>
                      <a:pt x="2419" y="317"/>
                    </a:lnTo>
                    <a:lnTo>
                      <a:pt x="2417" y="316"/>
                    </a:lnTo>
                    <a:lnTo>
                      <a:pt x="2415" y="315"/>
                    </a:lnTo>
                    <a:lnTo>
                      <a:pt x="2413" y="313"/>
                    </a:lnTo>
                    <a:lnTo>
                      <a:pt x="2412" y="311"/>
                    </a:lnTo>
                    <a:lnTo>
                      <a:pt x="2411" y="306"/>
                    </a:lnTo>
                    <a:lnTo>
                      <a:pt x="2410" y="301"/>
                    </a:lnTo>
                    <a:lnTo>
                      <a:pt x="2410" y="300"/>
                    </a:lnTo>
                    <a:lnTo>
                      <a:pt x="2410" y="299"/>
                    </a:lnTo>
                    <a:lnTo>
                      <a:pt x="2411" y="297"/>
                    </a:lnTo>
                    <a:lnTo>
                      <a:pt x="2413" y="297"/>
                    </a:lnTo>
                    <a:lnTo>
                      <a:pt x="2417" y="296"/>
                    </a:lnTo>
                    <a:lnTo>
                      <a:pt x="2422" y="296"/>
                    </a:lnTo>
                    <a:lnTo>
                      <a:pt x="2423" y="295"/>
                    </a:lnTo>
                    <a:lnTo>
                      <a:pt x="2423" y="293"/>
                    </a:lnTo>
                    <a:lnTo>
                      <a:pt x="2422" y="291"/>
                    </a:lnTo>
                    <a:lnTo>
                      <a:pt x="2418" y="287"/>
                    </a:lnTo>
                    <a:lnTo>
                      <a:pt x="2411" y="278"/>
                    </a:lnTo>
                    <a:lnTo>
                      <a:pt x="2406" y="272"/>
                    </a:lnTo>
                    <a:lnTo>
                      <a:pt x="2405" y="270"/>
                    </a:lnTo>
                    <a:lnTo>
                      <a:pt x="2404" y="268"/>
                    </a:lnTo>
                    <a:lnTo>
                      <a:pt x="2403" y="267"/>
                    </a:lnTo>
                    <a:lnTo>
                      <a:pt x="2404" y="266"/>
                    </a:lnTo>
                    <a:lnTo>
                      <a:pt x="2416" y="262"/>
                    </a:lnTo>
                    <a:lnTo>
                      <a:pt x="2426" y="258"/>
                    </a:lnTo>
                    <a:lnTo>
                      <a:pt x="2417" y="246"/>
                    </a:lnTo>
                    <a:lnTo>
                      <a:pt x="2410" y="235"/>
                    </a:lnTo>
                    <a:lnTo>
                      <a:pt x="2417" y="232"/>
                    </a:lnTo>
                    <a:lnTo>
                      <a:pt x="2424" y="228"/>
                    </a:lnTo>
                    <a:lnTo>
                      <a:pt x="2416" y="224"/>
                    </a:lnTo>
                    <a:lnTo>
                      <a:pt x="2410" y="221"/>
                    </a:lnTo>
                    <a:lnTo>
                      <a:pt x="2411" y="222"/>
                    </a:lnTo>
                    <a:lnTo>
                      <a:pt x="2412" y="225"/>
                    </a:lnTo>
                    <a:lnTo>
                      <a:pt x="2412" y="226"/>
                    </a:lnTo>
                    <a:lnTo>
                      <a:pt x="2411" y="226"/>
                    </a:lnTo>
                    <a:lnTo>
                      <a:pt x="2409" y="226"/>
                    </a:lnTo>
                    <a:lnTo>
                      <a:pt x="2406" y="225"/>
                    </a:lnTo>
                    <a:lnTo>
                      <a:pt x="2400" y="223"/>
                    </a:lnTo>
                    <a:lnTo>
                      <a:pt x="2395" y="222"/>
                    </a:lnTo>
                    <a:lnTo>
                      <a:pt x="2393" y="220"/>
                    </a:lnTo>
                    <a:lnTo>
                      <a:pt x="2392" y="217"/>
                    </a:lnTo>
                    <a:lnTo>
                      <a:pt x="2392" y="213"/>
                    </a:lnTo>
                    <a:lnTo>
                      <a:pt x="2392" y="211"/>
                    </a:lnTo>
                    <a:lnTo>
                      <a:pt x="2394" y="209"/>
                    </a:lnTo>
                    <a:lnTo>
                      <a:pt x="2396" y="207"/>
                    </a:lnTo>
                    <a:lnTo>
                      <a:pt x="2403" y="210"/>
                    </a:lnTo>
                    <a:lnTo>
                      <a:pt x="2412" y="217"/>
                    </a:lnTo>
                    <a:lnTo>
                      <a:pt x="2417" y="220"/>
                    </a:lnTo>
                    <a:lnTo>
                      <a:pt x="2423" y="222"/>
                    </a:lnTo>
                    <a:lnTo>
                      <a:pt x="2426" y="223"/>
                    </a:lnTo>
                    <a:lnTo>
                      <a:pt x="2429" y="222"/>
                    </a:lnTo>
                    <a:lnTo>
                      <a:pt x="2433" y="219"/>
                    </a:lnTo>
                    <a:lnTo>
                      <a:pt x="2436" y="218"/>
                    </a:lnTo>
                    <a:lnTo>
                      <a:pt x="2436" y="217"/>
                    </a:lnTo>
                    <a:lnTo>
                      <a:pt x="2436" y="215"/>
                    </a:lnTo>
                    <a:lnTo>
                      <a:pt x="2435" y="214"/>
                    </a:lnTo>
                    <a:lnTo>
                      <a:pt x="2433" y="213"/>
                    </a:lnTo>
                    <a:lnTo>
                      <a:pt x="2429" y="210"/>
                    </a:lnTo>
                    <a:lnTo>
                      <a:pt x="2425" y="207"/>
                    </a:lnTo>
                    <a:lnTo>
                      <a:pt x="2418" y="205"/>
                    </a:lnTo>
                    <a:lnTo>
                      <a:pt x="2409" y="202"/>
                    </a:lnTo>
                    <a:lnTo>
                      <a:pt x="2397" y="198"/>
                    </a:lnTo>
                    <a:lnTo>
                      <a:pt x="2389" y="193"/>
                    </a:lnTo>
                    <a:lnTo>
                      <a:pt x="2386" y="192"/>
                    </a:lnTo>
                    <a:lnTo>
                      <a:pt x="2384" y="191"/>
                    </a:lnTo>
                    <a:lnTo>
                      <a:pt x="2382" y="191"/>
                    </a:lnTo>
                    <a:lnTo>
                      <a:pt x="2380" y="191"/>
                    </a:lnTo>
                    <a:lnTo>
                      <a:pt x="2374" y="192"/>
                    </a:lnTo>
                    <a:lnTo>
                      <a:pt x="2369" y="191"/>
                    </a:lnTo>
                    <a:lnTo>
                      <a:pt x="2366" y="190"/>
                    </a:lnTo>
                    <a:lnTo>
                      <a:pt x="2366" y="189"/>
                    </a:lnTo>
                    <a:lnTo>
                      <a:pt x="2368" y="188"/>
                    </a:lnTo>
                    <a:lnTo>
                      <a:pt x="2371" y="186"/>
                    </a:lnTo>
                    <a:lnTo>
                      <a:pt x="2374" y="186"/>
                    </a:lnTo>
                    <a:lnTo>
                      <a:pt x="2379" y="187"/>
                    </a:lnTo>
                    <a:lnTo>
                      <a:pt x="2384" y="189"/>
                    </a:lnTo>
                    <a:lnTo>
                      <a:pt x="2390" y="192"/>
                    </a:lnTo>
                    <a:lnTo>
                      <a:pt x="2397" y="196"/>
                    </a:lnTo>
                    <a:lnTo>
                      <a:pt x="2404" y="196"/>
                    </a:lnTo>
                    <a:lnTo>
                      <a:pt x="2410" y="197"/>
                    </a:lnTo>
                    <a:lnTo>
                      <a:pt x="2418" y="199"/>
                    </a:lnTo>
                    <a:lnTo>
                      <a:pt x="2425" y="202"/>
                    </a:lnTo>
                    <a:lnTo>
                      <a:pt x="2427" y="203"/>
                    </a:lnTo>
                    <a:lnTo>
                      <a:pt x="2428" y="203"/>
                    </a:lnTo>
                    <a:lnTo>
                      <a:pt x="2431" y="204"/>
                    </a:lnTo>
                    <a:lnTo>
                      <a:pt x="2434" y="204"/>
                    </a:lnTo>
                    <a:lnTo>
                      <a:pt x="2437" y="202"/>
                    </a:lnTo>
                    <a:lnTo>
                      <a:pt x="2442" y="200"/>
                    </a:lnTo>
                    <a:lnTo>
                      <a:pt x="2449" y="199"/>
                    </a:lnTo>
                    <a:lnTo>
                      <a:pt x="2452" y="199"/>
                    </a:lnTo>
                    <a:lnTo>
                      <a:pt x="2454" y="198"/>
                    </a:lnTo>
                    <a:lnTo>
                      <a:pt x="2454" y="197"/>
                    </a:lnTo>
                    <a:lnTo>
                      <a:pt x="2452" y="196"/>
                    </a:lnTo>
                    <a:lnTo>
                      <a:pt x="2440" y="188"/>
                    </a:lnTo>
                    <a:lnTo>
                      <a:pt x="2422" y="177"/>
                    </a:lnTo>
                    <a:lnTo>
                      <a:pt x="2401" y="165"/>
                    </a:lnTo>
                    <a:lnTo>
                      <a:pt x="2384" y="159"/>
                    </a:lnTo>
                    <a:lnTo>
                      <a:pt x="2380" y="158"/>
                    </a:lnTo>
                    <a:lnTo>
                      <a:pt x="2379" y="159"/>
                    </a:lnTo>
                    <a:lnTo>
                      <a:pt x="2378" y="160"/>
                    </a:lnTo>
                    <a:lnTo>
                      <a:pt x="2379" y="162"/>
                    </a:lnTo>
                    <a:lnTo>
                      <a:pt x="2380" y="163"/>
                    </a:lnTo>
                    <a:lnTo>
                      <a:pt x="2380" y="164"/>
                    </a:lnTo>
                    <a:lnTo>
                      <a:pt x="2378" y="164"/>
                    </a:lnTo>
                    <a:lnTo>
                      <a:pt x="2373" y="161"/>
                    </a:lnTo>
                    <a:lnTo>
                      <a:pt x="2361" y="155"/>
                    </a:lnTo>
                    <a:lnTo>
                      <a:pt x="2360" y="155"/>
                    </a:lnTo>
                    <a:lnTo>
                      <a:pt x="2363" y="157"/>
                    </a:lnTo>
                    <a:lnTo>
                      <a:pt x="2371" y="161"/>
                    </a:lnTo>
                    <a:lnTo>
                      <a:pt x="2376" y="164"/>
                    </a:lnTo>
                    <a:lnTo>
                      <a:pt x="2376" y="164"/>
                    </a:lnTo>
                    <a:lnTo>
                      <a:pt x="2368" y="163"/>
                    </a:lnTo>
                    <a:lnTo>
                      <a:pt x="2358" y="159"/>
                    </a:lnTo>
                    <a:lnTo>
                      <a:pt x="2351" y="154"/>
                    </a:lnTo>
                    <a:lnTo>
                      <a:pt x="2346" y="150"/>
                    </a:lnTo>
                    <a:lnTo>
                      <a:pt x="2345" y="149"/>
                    </a:lnTo>
                    <a:lnTo>
                      <a:pt x="2343" y="148"/>
                    </a:lnTo>
                    <a:lnTo>
                      <a:pt x="2342" y="148"/>
                    </a:lnTo>
                    <a:lnTo>
                      <a:pt x="2342" y="149"/>
                    </a:lnTo>
                    <a:lnTo>
                      <a:pt x="2334" y="153"/>
                    </a:lnTo>
                    <a:lnTo>
                      <a:pt x="2329" y="156"/>
                    </a:lnTo>
                    <a:lnTo>
                      <a:pt x="2330" y="164"/>
                    </a:lnTo>
                    <a:lnTo>
                      <a:pt x="2330" y="170"/>
                    </a:lnTo>
                    <a:lnTo>
                      <a:pt x="2324" y="171"/>
                    </a:lnTo>
                    <a:lnTo>
                      <a:pt x="2316" y="170"/>
                    </a:lnTo>
                    <a:lnTo>
                      <a:pt x="2313" y="169"/>
                    </a:lnTo>
                    <a:lnTo>
                      <a:pt x="2310" y="167"/>
                    </a:lnTo>
                    <a:lnTo>
                      <a:pt x="2309" y="167"/>
                    </a:lnTo>
                    <a:lnTo>
                      <a:pt x="2309" y="166"/>
                    </a:lnTo>
                    <a:lnTo>
                      <a:pt x="2309" y="165"/>
                    </a:lnTo>
                    <a:lnTo>
                      <a:pt x="2310" y="165"/>
                    </a:lnTo>
                    <a:lnTo>
                      <a:pt x="2315" y="163"/>
                    </a:lnTo>
                    <a:lnTo>
                      <a:pt x="2318" y="161"/>
                    </a:lnTo>
                    <a:lnTo>
                      <a:pt x="2320" y="159"/>
                    </a:lnTo>
                    <a:lnTo>
                      <a:pt x="2320" y="156"/>
                    </a:lnTo>
                    <a:lnTo>
                      <a:pt x="2321" y="149"/>
                    </a:lnTo>
                    <a:lnTo>
                      <a:pt x="2320" y="143"/>
                    </a:lnTo>
                    <a:lnTo>
                      <a:pt x="2316" y="138"/>
                    </a:lnTo>
                    <a:lnTo>
                      <a:pt x="2309" y="132"/>
                    </a:lnTo>
                    <a:lnTo>
                      <a:pt x="2302" y="126"/>
                    </a:lnTo>
                    <a:lnTo>
                      <a:pt x="2297" y="124"/>
                    </a:lnTo>
                    <a:lnTo>
                      <a:pt x="2290" y="123"/>
                    </a:lnTo>
                    <a:lnTo>
                      <a:pt x="2283" y="122"/>
                    </a:lnTo>
                    <a:lnTo>
                      <a:pt x="2281" y="122"/>
                    </a:lnTo>
                    <a:lnTo>
                      <a:pt x="2279" y="122"/>
                    </a:lnTo>
                    <a:lnTo>
                      <a:pt x="2278" y="122"/>
                    </a:lnTo>
                    <a:lnTo>
                      <a:pt x="2278" y="123"/>
                    </a:lnTo>
                    <a:lnTo>
                      <a:pt x="2279" y="125"/>
                    </a:lnTo>
                    <a:lnTo>
                      <a:pt x="2278" y="126"/>
                    </a:lnTo>
                    <a:lnTo>
                      <a:pt x="2277" y="126"/>
                    </a:lnTo>
                    <a:lnTo>
                      <a:pt x="2275" y="127"/>
                    </a:lnTo>
                    <a:lnTo>
                      <a:pt x="2271" y="128"/>
                    </a:lnTo>
                    <a:lnTo>
                      <a:pt x="2265" y="128"/>
                    </a:lnTo>
                    <a:lnTo>
                      <a:pt x="2251" y="126"/>
                    </a:lnTo>
                    <a:lnTo>
                      <a:pt x="2241" y="125"/>
                    </a:lnTo>
                    <a:lnTo>
                      <a:pt x="2252" y="124"/>
                    </a:lnTo>
                    <a:lnTo>
                      <a:pt x="2263" y="124"/>
                    </a:lnTo>
                    <a:lnTo>
                      <a:pt x="2264" y="123"/>
                    </a:lnTo>
                    <a:lnTo>
                      <a:pt x="2266" y="123"/>
                    </a:lnTo>
                    <a:lnTo>
                      <a:pt x="2266" y="121"/>
                    </a:lnTo>
                    <a:lnTo>
                      <a:pt x="2265" y="120"/>
                    </a:lnTo>
                    <a:lnTo>
                      <a:pt x="2257" y="115"/>
                    </a:lnTo>
                    <a:lnTo>
                      <a:pt x="2247" y="111"/>
                    </a:lnTo>
                    <a:lnTo>
                      <a:pt x="2240" y="109"/>
                    </a:lnTo>
                    <a:lnTo>
                      <a:pt x="2230" y="106"/>
                    </a:lnTo>
                    <a:lnTo>
                      <a:pt x="2218" y="103"/>
                    </a:lnTo>
                    <a:lnTo>
                      <a:pt x="2207" y="101"/>
                    </a:lnTo>
                    <a:lnTo>
                      <a:pt x="2191" y="101"/>
                    </a:lnTo>
                    <a:lnTo>
                      <a:pt x="2176" y="100"/>
                    </a:lnTo>
                    <a:lnTo>
                      <a:pt x="2166" y="99"/>
                    </a:lnTo>
                    <a:lnTo>
                      <a:pt x="2158" y="98"/>
                    </a:lnTo>
                    <a:lnTo>
                      <a:pt x="2154" y="97"/>
                    </a:lnTo>
                    <a:lnTo>
                      <a:pt x="2152" y="96"/>
                    </a:lnTo>
                    <a:lnTo>
                      <a:pt x="2151" y="95"/>
                    </a:lnTo>
                    <a:lnTo>
                      <a:pt x="2152" y="94"/>
                    </a:lnTo>
                    <a:lnTo>
                      <a:pt x="2158" y="93"/>
                    </a:lnTo>
                    <a:lnTo>
                      <a:pt x="2164" y="92"/>
                    </a:lnTo>
                    <a:lnTo>
                      <a:pt x="2170" y="92"/>
                    </a:lnTo>
                    <a:lnTo>
                      <a:pt x="2177" y="93"/>
                    </a:lnTo>
                    <a:lnTo>
                      <a:pt x="2185" y="93"/>
                    </a:lnTo>
                    <a:lnTo>
                      <a:pt x="2195" y="95"/>
                    </a:lnTo>
                    <a:lnTo>
                      <a:pt x="2207" y="97"/>
                    </a:lnTo>
                    <a:lnTo>
                      <a:pt x="2218" y="99"/>
                    </a:lnTo>
                    <a:lnTo>
                      <a:pt x="2228" y="103"/>
                    </a:lnTo>
                    <a:lnTo>
                      <a:pt x="2238" y="106"/>
                    </a:lnTo>
                    <a:lnTo>
                      <a:pt x="2246" y="109"/>
                    </a:lnTo>
                    <a:lnTo>
                      <a:pt x="2251" y="110"/>
                    </a:lnTo>
                    <a:lnTo>
                      <a:pt x="2262" y="112"/>
                    </a:lnTo>
                    <a:lnTo>
                      <a:pt x="2280" y="115"/>
                    </a:lnTo>
                    <a:lnTo>
                      <a:pt x="2292" y="118"/>
                    </a:lnTo>
                    <a:lnTo>
                      <a:pt x="2296" y="118"/>
                    </a:lnTo>
                    <a:lnTo>
                      <a:pt x="2296" y="117"/>
                    </a:lnTo>
                    <a:lnTo>
                      <a:pt x="2288" y="113"/>
                    </a:lnTo>
                    <a:lnTo>
                      <a:pt x="2277" y="108"/>
                    </a:lnTo>
                    <a:lnTo>
                      <a:pt x="2262" y="102"/>
                    </a:lnTo>
                    <a:lnTo>
                      <a:pt x="2250" y="97"/>
                    </a:lnTo>
                    <a:lnTo>
                      <a:pt x="2243" y="95"/>
                    </a:lnTo>
                    <a:lnTo>
                      <a:pt x="2239" y="94"/>
                    </a:lnTo>
                    <a:lnTo>
                      <a:pt x="2233" y="92"/>
                    </a:lnTo>
                    <a:lnTo>
                      <a:pt x="2234" y="92"/>
                    </a:lnTo>
                    <a:lnTo>
                      <a:pt x="2233" y="90"/>
                    </a:lnTo>
                    <a:lnTo>
                      <a:pt x="2228" y="87"/>
                    </a:lnTo>
                    <a:lnTo>
                      <a:pt x="2218" y="83"/>
                    </a:lnTo>
                    <a:lnTo>
                      <a:pt x="2208" y="81"/>
                    </a:lnTo>
                    <a:lnTo>
                      <a:pt x="2193" y="77"/>
                    </a:lnTo>
                    <a:lnTo>
                      <a:pt x="2183" y="74"/>
                    </a:lnTo>
                    <a:lnTo>
                      <a:pt x="2172" y="70"/>
                    </a:lnTo>
                    <a:lnTo>
                      <a:pt x="2162" y="67"/>
                    </a:lnTo>
                    <a:lnTo>
                      <a:pt x="2153" y="65"/>
                    </a:lnTo>
                    <a:lnTo>
                      <a:pt x="2141" y="62"/>
                    </a:lnTo>
                    <a:lnTo>
                      <a:pt x="2125" y="59"/>
                    </a:lnTo>
                    <a:lnTo>
                      <a:pt x="2116" y="57"/>
                    </a:lnTo>
                    <a:lnTo>
                      <a:pt x="2104" y="55"/>
                    </a:lnTo>
                    <a:lnTo>
                      <a:pt x="2095" y="53"/>
                    </a:lnTo>
                    <a:lnTo>
                      <a:pt x="2093" y="52"/>
                    </a:lnTo>
                    <a:lnTo>
                      <a:pt x="2104" y="54"/>
                    </a:lnTo>
                    <a:lnTo>
                      <a:pt x="2124" y="57"/>
                    </a:lnTo>
                    <a:lnTo>
                      <a:pt x="2133" y="58"/>
                    </a:lnTo>
                    <a:lnTo>
                      <a:pt x="2142" y="60"/>
                    </a:lnTo>
                    <a:lnTo>
                      <a:pt x="2150" y="62"/>
                    </a:lnTo>
                    <a:lnTo>
                      <a:pt x="2155" y="64"/>
                    </a:lnTo>
                    <a:lnTo>
                      <a:pt x="2167" y="68"/>
                    </a:lnTo>
                    <a:lnTo>
                      <a:pt x="2183" y="72"/>
                    </a:lnTo>
                    <a:lnTo>
                      <a:pt x="2196" y="76"/>
                    </a:lnTo>
                    <a:lnTo>
                      <a:pt x="2204" y="78"/>
                    </a:lnTo>
                    <a:lnTo>
                      <a:pt x="2209" y="80"/>
                    </a:lnTo>
                    <a:lnTo>
                      <a:pt x="2214" y="81"/>
                    </a:lnTo>
                    <a:lnTo>
                      <a:pt x="2207" y="79"/>
                    </a:lnTo>
                    <a:lnTo>
                      <a:pt x="2193" y="74"/>
                    </a:lnTo>
                    <a:lnTo>
                      <a:pt x="2178" y="69"/>
                    </a:lnTo>
                    <a:lnTo>
                      <a:pt x="2166" y="66"/>
                    </a:lnTo>
                    <a:lnTo>
                      <a:pt x="2156" y="62"/>
                    </a:lnTo>
                    <a:lnTo>
                      <a:pt x="2144" y="58"/>
                    </a:lnTo>
                    <a:lnTo>
                      <a:pt x="2132" y="55"/>
                    </a:lnTo>
                    <a:lnTo>
                      <a:pt x="2122" y="52"/>
                    </a:lnTo>
                    <a:lnTo>
                      <a:pt x="2110" y="49"/>
                    </a:lnTo>
                    <a:lnTo>
                      <a:pt x="2096" y="45"/>
                    </a:lnTo>
                    <a:lnTo>
                      <a:pt x="2081" y="40"/>
                    </a:lnTo>
                    <a:lnTo>
                      <a:pt x="2068" y="37"/>
                    </a:lnTo>
                    <a:lnTo>
                      <a:pt x="2065" y="37"/>
                    </a:lnTo>
                    <a:lnTo>
                      <a:pt x="2064" y="37"/>
                    </a:lnTo>
                    <a:lnTo>
                      <a:pt x="2064" y="37"/>
                    </a:lnTo>
                    <a:lnTo>
                      <a:pt x="2066" y="38"/>
                    </a:lnTo>
                    <a:lnTo>
                      <a:pt x="2072" y="39"/>
                    </a:lnTo>
                    <a:lnTo>
                      <a:pt x="2072" y="40"/>
                    </a:lnTo>
                    <a:lnTo>
                      <a:pt x="2059" y="37"/>
                    </a:lnTo>
                    <a:lnTo>
                      <a:pt x="2052" y="35"/>
                    </a:lnTo>
                    <a:lnTo>
                      <a:pt x="2053" y="35"/>
                    </a:lnTo>
                    <a:lnTo>
                      <a:pt x="2055" y="36"/>
                    </a:lnTo>
                    <a:lnTo>
                      <a:pt x="2056" y="37"/>
                    </a:lnTo>
                    <a:lnTo>
                      <a:pt x="2051" y="36"/>
                    </a:lnTo>
                    <a:lnTo>
                      <a:pt x="2041" y="33"/>
                    </a:lnTo>
                    <a:lnTo>
                      <a:pt x="2039" y="33"/>
                    </a:lnTo>
                    <a:lnTo>
                      <a:pt x="2040" y="34"/>
                    </a:lnTo>
                    <a:lnTo>
                      <a:pt x="2045" y="36"/>
                    </a:lnTo>
                    <a:lnTo>
                      <a:pt x="2052" y="38"/>
                    </a:lnTo>
                    <a:lnTo>
                      <a:pt x="2059" y="39"/>
                    </a:lnTo>
                    <a:lnTo>
                      <a:pt x="2061" y="40"/>
                    </a:lnTo>
                    <a:lnTo>
                      <a:pt x="2063" y="42"/>
                    </a:lnTo>
                    <a:lnTo>
                      <a:pt x="2062" y="42"/>
                    </a:lnTo>
                    <a:lnTo>
                      <a:pt x="2060" y="42"/>
                    </a:lnTo>
                    <a:lnTo>
                      <a:pt x="2052" y="39"/>
                    </a:lnTo>
                    <a:lnTo>
                      <a:pt x="2042" y="37"/>
                    </a:lnTo>
                    <a:lnTo>
                      <a:pt x="2037" y="36"/>
                    </a:lnTo>
                    <a:lnTo>
                      <a:pt x="2038" y="37"/>
                    </a:lnTo>
                    <a:lnTo>
                      <a:pt x="2049" y="40"/>
                    </a:lnTo>
                    <a:lnTo>
                      <a:pt x="2050" y="42"/>
                    </a:lnTo>
                    <a:lnTo>
                      <a:pt x="2043" y="40"/>
                    </a:lnTo>
                    <a:lnTo>
                      <a:pt x="2043" y="40"/>
                    </a:lnTo>
                    <a:lnTo>
                      <a:pt x="2047" y="43"/>
                    </a:lnTo>
                    <a:lnTo>
                      <a:pt x="2053" y="45"/>
                    </a:lnTo>
                    <a:lnTo>
                      <a:pt x="2055" y="46"/>
                    </a:lnTo>
                    <a:lnTo>
                      <a:pt x="2056" y="46"/>
                    </a:lnTo>
                    <a:lnTo>
                      <a:pt x="2056" y="46"/>
                    </a:lnTo>
                    <a:lnTo>
                      <a:pt x="2053" y="46"/>
                    </a:lnTo>
                    <a:lnTo>
                      <a:pt x="2041" y="43"/>
                    </a:lnTo>
                    <a:lnTo>
                      <a:pt x="2029" y="38"/>
                    </a:lnTo>
                    <a:lnTo>
                      <a:pt x="2015" y="34"/>
                    </a:lnTo>
                    <a:lnTo>
                      <a:pt x="2005" y="31"/>
                    </a:lnTo>
                    <a:lnTo>
                      <a:pt x="1990" y="26"/>
                    </a:lnTo>
                    <a:lnTo>
                      <a:pt x="1981" y="24"/>
                    </a:lnTo>
                    <a:lnTo>
                      <a:pt x="1988" y="27"/>
                    </a:lnTo>
                    <a:lnTo>
                      <a:pt x="1990" y="28"/>
                    </a:lnTo>
                    <a:lnTo>
                      <a:pt x="1975" y="26"/>
                    </a:lnTo>
                    <a:lnTo>
                      <a:pt x="1968" y="25"/>
                    </a:lnTo>
                    <a:lnTo>
                      <a:pt x="1967" y="26"/>
                    </a:lnTo>
                    <a:lnTo>
                      <a:pt x="1967" y="27"/>
                    </a:lnTo>
                    <a:lnTo>
                      <a:pt x="1969" y="28"/>
                    </a:lnTo>
                    <a:lnTo>
                      <a:pt x="1975" y="30"/>
                    </a:lnTo>
                    <a:lnTo>
                      <a:pt x="1986" y="31"/>
                    </a:lnTo>
                    <a:lnTo>
                      <a:pt x="1996" y="33"/>
                    </a:lnTo>
                    <a:lnTo>
                      <a:pt x="2008" y="36"/>
                    </a:lnTo>
                    <a:lnTo>
                      <a:pt x="2018" y="39"/>
                    </a:lnTo>
                    <a:lnTo>
                      <a:pt x="2036" y="48"/>
                    </a:lnTo>
                    <a:lnTo>
                      <a:pt x="2042" y="51"/>
                    </a:lnTo>
                    <a:lnTo>
                      <a:pt x="2042" y="51"/>
                    </a:lnTo>
                    <a:lnTo>
                      <a:pt x="2042" y="52"/>
                    </a:lnTo>
                    <a:lnTo>
                      <a:pt x="2039" y="52"/>
                    </a:lnTo>
                    <a:lnTo>
                      <a:pt x="2032" y="49"/>
                    </a:lnTo>
                    <a:lnTo>
                      <a:pt x="2024" y="46"/>
                    </a:lnTo>
                    <a:lnTo>
                      <a:pt x="2018" y="43"/>
                    </a:lnTo>
                    <a:lnTo>
                      <a:pt x="2011" y="39"/>
                    </a:lnTo>
                    <a:lnTo>
                      <a:pt x="2000" y="36"/>
                    </a:lnTo>
                    <a:lnTo>
                      <a:pt x="1983" y="33"/>
                    </a:lnTo>
                    <a:lnTo>
                      <a:pt x="1961" y="29"/>
                    </a:lnTo>
                    <a:lnTo>
                      <a:pt x="1951" y="27"/>
                    </a:lnTo>
                    <a:lnTo>
                      <a:pt x="1946" y="27"/>
                    </a:lnTo>
                    <a:lnTo>
                      <a:pt x="1945" y="27"/>
                    </a:lnTo>
                    <a:lnTo>
                      <a:pt x="1945" y="27"/>
                    </a:lnTo>
                    <a:lnTo>
                      <a:pt x="1946" y="28"/>
                    </a:lnTo>
                    <a:lnTo>
                      <a:pt x="1949" y="29"/>
                    </a:lnTo>
                    <a:lnTo>
                      <a:pt x="1964" y="34"/>
                    </a:lnTo>
                    <a:lnTo>
                      <a:pt x="1974" y="37"/>
                    </a:lnTo>
                    <a:lnTo>
                      <a:pt x="1983" y="40"/>
                    </a:lnTo>
                    <a:lnTo>
                      <a:pt x="1988" y="44"/>
                    </a:lnTo>
                    <a:lnTo>
                      <a:pt x="1997" y="47"/>
                    </a:lnTo>
                    <a:lnTo>
                      <a:pt x="2011" y="51"/>
                    </a:lnTo>
                    <a:lnTo>
                      <a:pt x="2016" y="53"/>
                    </a:lnTo>
                    <a:lnTo>
                      <a:pt x="2019" y="54"/>
                    </a:lnTo>
                    <a:lnTo>
                      <a:pt x="2018" y="54"/>
                    </a:lnTo>
                    <a:lnTo>
                      <a:pt x="2012" y="53"/>
                    </a:lnTo>
                    <a:lnTo>
                      <a:pt x="1996" y="50"/>
                    </a:lnTo>
                    <a:lnTo>
                      <a:pt x="1986" y="47"/>
                    </a:lnTo>
                    <a:lnTo>
                      <a:pt x="1981" y="46"/>
                    </a:lnTo>
                    <a:lnTo>
                      <a:pt x="1979" y="45"/>
                    </a:lnTo>
                    <a:lnTo>
                      <a:pt x="1978" y="45"/>
                    </a:lnTo>
                    <a:lnTo>
                      <a:pt x="1977" y="46"/>
                    </a:lnTo>
                    <a:lnTo>
                      <a:pt x="1976" y="51"/>
                    </a:lnTo>
                    <a:lnTo>
                      <a:pt x="1977" y="54"/>
                    </a:lnTo>
                    <a:lnTo>
                      <a:pt x="1983" y="56"/>
                    </a:lnTo>
                    <a:lnTo>
                      <a:pt x="1990" y="58"/>
                    </a:lnTo>
                    <a:lnTo>
                      <a:pt x="1993" y="59"/>
                    </a:lnTo>
                    <a:lnTo>
                      <a:pt x="1995" y="60"/>
                    </a:lnTo>
                    <a:lnTo>
                      <a:pt x="1994" y="60"/>
                    </a:lnTo>
                    <a:lnTo>
                      <a:pt x="1992" y="60"/>
                    </a:lnTo>
                    <a:lnTo>
                      <a:pt x="1983" y="61"/>
                    </a:lnTo>
                    <a:lnTo>
                      <a:pt x="1977" y="61"/>
                    </a:lnTo>
                    <a:lnTo>
                      <a:pt x="1966" y="55"/>
                    </a:lnTo>
                    <a:lnTo>
                      <a:pt x="1954" y="49"/>
                    </a:lnTo>
                    <a:lnTo>
                      <a:pt x="1946" y="46"/>
                    </a:lnTo>
                    <a:lnTo>
                      <a:pt x="1933" y="42"/>
                    </a:lnTo>
                    <a:lnTo>
                      <a:pt x="1928" y="40"/>
                    </a:lnTo>
                    <a:lnTo>
                      <a:pt x="1924" y="38"/>
                    </a:lnTo>
                    <a:lnTo>
                      <a:pt x="1923" y="37"/>
                    </a:lnTo>
                    <a:lnTo>
                      <a:pt x="1923" y="37"/>
                    </a:lnTo>
                    <a:lnTo>
                      <a:pt x="1924" y="37"/>
                    </a:lnTo>
                    <a:lnTo>
                      <a:pt x="1926" y="36"/>
                    </a:lnTo>
                    <a:lnTo>
                      <a:pt x="1937" y="36"/>
                    </a:lnTo>
                    <a:lnTo>
                      <a:pt x="1940" y="36"/>
                    </a:lnTo>
                    <a:lnTo>
                      <a:pt x="1936" y="35"/>
                    </a:lnTo>
                    <a:lnTo>
                      <a:pt x="1928" y="33"/>
                    </a:lnTo>
                    <a:lnTo>
                      <a:pt x="1923" y="31"/>
                    </a:lnTo>
                    <a:lnTo>
                      <a:pt x="1920" y="29"/>
                    </a:lnTo>
                    <a:lnTo>
                      <a:pt x="1918" y="28"/>
                    </a:lnTo>
                    <a:lnTo>
                      <a:pt x="1913" y="28"/>
                    </a:lnTo>
                    <a:lnTo>
                      <a:pt x="1909" y="30"/>
                    </a:lnTo>
                    <a:lnTo>
                      <a:pt x="1908" y="30"/>
                    </a:lnTo>
                    <a:lnTo>
                      <a:pt x="1904" y="28"/>
                    </a:lnTo>
                    <a:lnTo>
                      <a:pt x="1900" y="27"/>
                    </a:lnTo>
                    <a:lnTo>
                      <a:pt x="1890" y="27"/>
                    </a:lnTo>
                    <a:lnTo>
                      <a:pt x="1884" y="28"/>
                    </a:lnTo>
                    <a:lnTo>
                      <a:pt x="1884" y="30"/>
                    </a:lnTo>
                    <a:lnTo>
                      <a:pt x="1887" y="32"/>
                    </a:lnTo>
                    <a:lnTo>
                      <a:pt x="1888" y="33"/>
                    </a:lnTo>
                    <a:lnTo>
                      <a:pt x="1888" y="35"/>
                    </a:lnTo>
                    <a:lnTo>
                      <a:pt x="1890" y="36"/>
                    </a:lnTo>
                    <a:lnTo>
                      <a:pt x="1896" y="39"/>
                    </a:lnTo>
                    <a:lnTo>
                      <a:pt x="1908" y="46"/>
                    </a:lnTo>
                    <a:lnTo>
                      <a:pt x="1911" y="49"/>
                    </a:lnTo>
                    <a:lnTo>
                      <a:pt x="1911" y="50"/>
                    </a:lnTo>
                    <a:lnTo>
                      <a:pt x="1910" y="51"/>
                    </a:lnTo>
                    <a:lnTo>
                      <a:pt x="1908" y="52"/>
                    </a:lnTo>
                    <a:lnTo>
                      <a:pt x="1904" y="51"/>
                    </a:lnTo>
                    <a:lnTo>
                      <a:pt x="1889" y="45"/>
                    </a:lnTo>
                    <a:lnTo>
                      <a:pt x="1881" y="39"/>
                    </a:lnTo>
                    <a:lnTo>
                      <a:pt x="1882" y="39"/>
                    </a:lnTo>
                    <a:lnTo>
                      <a:pt x="1882" y="38"/>
                    </a:lnTo>
                    <a:lnTo>
                      <a:pt x="1882" y="37"/>
                    </a:lnTo>
                    <a:lnTo>
                      <a:pt x="1881" y="36"/>
                    </a:lnTo>
                    <a:lnTo>
                      <a:pt x="1878" y="34"/>
                    </a:lnTo>
                    <a:lnTo>
                      <a:pt x="1874" y="32"/>
                    </a:lnTo>
                    <a:lnTo>
                      <a:pt x="1863" y="30"/>
                    </a:lnTo>
                    <a:lnTo>
                      <a:pt x="1858" y="30"/>
                    </a:lnTo>
                    <a:lnTo>
                      <a:pt x="1859" y="31"/>
                    </a:lnTo>
                    <a:lnTo>
                      <a:pt x="1861" y="33"/>
                    </a:lnTo>
                    <a:lnTo>
                      <a:pt x="1861" y="34"/>
                    </a:lnTo>
                    <a:lnTo>
                      <a:pt x="1861" y="34"/>
                    </a:lnTo>
                    <a:lnTo>
                      <a:pt x="1860" y="34"/>
                    </a:lnTo>
                    <a:lnTo>
                      <a:pt x="1858" y="34"/>
                    </a:lnTo>
                    <a:lnTo>
                      <a:pt x="1849" y="31"/>
                    </a:lnTo>
                    <a:lnTo>
                      <a:pt x="1843" y="28"/>
                    </a:lnTo>
                    <a:lnTo>
                      <a:pt x="1841" y="27"/>
                    </a:lnTo>
                    <a:lnTo>
                      <a:pt x="1839" y="26"/>
                    </a:lnTo>
                    <a:lnTo>
                      <a:pt x="1836" y="25"/>
                    </a:lnTo>
                    <a:lnTo>
                      <a:pt x="1827" y="26"/>
                    </a:lnTo>
                    <a:lnTo>
                      <a:pt x="1811" y="28"/>
                    </a:lnTo>
                    <a:lnTo>
                      <a:pt x="1802" y="30"/>
                    </a:lnTo>
                    <a:lnTo>
                      <a:pt x="1793" y="30"/>
                    </a:lnTo>
                    <a:lnTo>
                      <a:pt x="1780" y="31"/>
                    </a:lnTo>
                    <a:lnTo>
                      <a:pt x="1769" y="31"/>
                    </a:lnTo>
                    <a:lnTo>
                      <a:pt x="1763" y="32"/>
                    </a:lnTo>
                    <a:lnTo>
                      <a:pt x="1769" y="37"/>
                    </a:lnTo>
                    <a:lnTo>
                      <a:pt x="1785" y="46"/>
                    </a:lnTo>
                    <a:lnTo>
                      <a:pt x="1798" y="54"/>
                    </a:lnTo>
                    <a:lnTo>
                      <a:pt x="1801" y="56"/>
                    </a:lnTo>
                    <a:lnTo>
                      <a:pt x="1793" y="52"/>
                    </a:lnTo>
                    <a:lnTo>
                      <a:pt x="1778" y="46"/>
                    </a:lnTo>
                    <a:lnTo>
                      <a:pt x="1771" y="42"/>
                    </a:lnTo>
                    <a:lnTo>
                      <a:pt x="1764" y="39"/>
                    </a:lnTo>
                    <a:lnTo>
                      <a:pt x="1756" y="37"/>
                    </a:lnTo>
                    <a:lnTo>
                      <a:pt x="1751" y="36"/>
                    </a:lnTo>
                    <a:lnTo>
                      <a:pt x="1743" y="36"/>
                    </a:lnTo>
                    <a:lnTo>
                      <a:pt x="1737" y="37"/>
                    </a:lnTo>
                    <a:lnTo>
                      <a:pt x="1735" y="37"/>
                    </a:lnTo>
                    <a:lnTo>
                      <a:pt x="1735" y="38"/>
                    </a:lnTo>
                    <a:lnTo>
                      <a:pt x="1733" y="39"/>
                    </a:lnTo>
                    <a:lnTo>
                      <a:pt x="1727" y="39"/>
                    </a:lnTo>
                    <a:lnTo>
                      <a:pt x="1725" y="39"/>
                    </a:lnTo>
                    <a:lnTo>
                      <a:pt x="1723" y="39"/>
                    </a:lnTo>
                    <a:lnTo>
                      <a:pt x="1722" y="40"/>
                    </a:lnTo>
                    <a:lnTo>
                      <a:pt x="1723" y="42"/>
                    </a:lnTo>
                    <a:lnTo>
                      <a:pt x="1732" y="47"/>
                    </a:lnTo>
                    <a:lnTo>
                      <a:pt x="1742" y="50"/>
                    </a:lnTo>
                    <a:lnTo>
                      <a:pt x="1743" y="51"/>
                    </a:lnTo>
                    <a:lnTo>
                      <a:pt x="1743" y="52"/>
                    </a:lnTo>
                    <a:lnTo>
                      <a:pt x="1742" y="53"/>
                    </a:lnTo>
                    <a:lnTo>
                      <a:pt x="1741" y="53"/>
                    </a:lnTo>
                    <a:lnTo>
                      <a:pt x="1738" y="55"/>
                    </a:lnTo>
                    <a:lnTo>
                      <a:pt x="1736" y="56"/>
                    </a:lnTo>
                    <a:lnTo>
                      <a:pt x="1738" y="58"/>
                    </a:lnTo>
                    <a:lnTo>
                      <a:pt x="1744" y="61"/>
                    </a:lnTo>
                    <a:lnTo>
                      <a:pt x="1747" y="64"/>
                    </a:lnTo>
                    <a:lnTo>
                      <a:pt x="1748" y="66"/>
                    </a:lnTo>
                    <a:lnTo>
                      <a:pt x="1747" y="67"/>
                    </a:lnTo>
                    <a:lnTo>
                      <a:pt x="1744" y="67"/>
                    </a:lnTo>
                    <a:lnTo>
                      <a:pt x="1724" y="64"/>
                    </a:lnTo>
                    <a:lnTo>
                      <a:pt x="1713" y="62"/>
                    </a:lnTo>
                    <a:lnTo>
                      <a:pt x="1706" y="66"/>
                    </a:lnTo>
                    <a:lnTo>
                      <a:pt x="1689" y="72"/>
                    </a:lnTo>
                    <a:lnTo>
                      <a:pt x="1679" y="78"/>
                    </a:lnTo>
                    <a:lnTo>
                      <a:pt x="1668" y="84"/>
                    </a:lnTo>
                    <a:lnTo>
                      <a:pt x="1659" y="90"/>
                    </a:lnTo>
                    <a:lnTo>
                      <a:pt x="1654" y="92"/>
                    </a:lnTo>
                    <a:lnTo>
                      <a:pt x="1651" y="92"/>
                    </a:lnTo>
                    <a:lnTo>
                      <a:pt x="1650" y="90"/>
                    </a:lnTo>
                    <a:lnTo>
                      <a:pt x="1649" y="89"/>
                    </a:lnTo>
                    <a:lnTo>
                      <a:pt x="1647" y="89"/>
                    </a:lnTo>
                    <a:lnTo>
                      <a:pt x="1645" y="90"/>
                    </a:lnTo>
                    <a:lnTo>
                      <a:pt x="1641" y="92"/>
                    </a:lnTo>
                    <a:lnTo>
                      <a:pt x="1635" y="97"/>
                    </a:lnTo>
                    <a:lnTo>
                      <a:pt x="1632" y="101"/>
                    </a:lnTo>
                    <a:lnTo>
                      <a:pt x="1632" y="104"/>
                    </a:lnTo>
                    <a:lnTo>
                      <a:pt x="1633" y="106"/>
                    </a:lnTo>
                    <a:lnTo>
                      <a:pt x="1633" y="109"/>
                    </a:lnTo>
                    <a:lnTo>
                      <a:pt x="1633" y="111"/>
                    </a:lnTo>
                    <a:lnTo>
                      <a:pt x="1636" y="113"/>
                    </a:lnTo>
                    <a:lnTo>
                      <a:pt x="1642" y="116"/>
                    </a:lnTo>
                    <a:lnTo>
                      <a:pt x="1647" y="117"/>
                    </a:lnTo>
                    <a:lnTo>
                      <a:pt x="1654" y="118"/>
                    </a:lnTo>
                    <a:lnTo>
                      <a:pt x="1659" y="117"/>
                    </a:lnTo>
                    <a:lnTo>
                      <a:pt x="1665" y="116"/>
                    </a:lnTo>
                    <a:lnTo>
                      <a:pt x="1678" y="115"/>
                    </a:lnTo>
                    <a:lnTo>
                      <a:pt x="1690" y="115"/>
                    </a:lnTo>
                    <a:lnTo>
                      <a:pt x="1701" y="116"/>
                    </a:lnTo>
                    <a:lnTo>
                      <a:pt x="1706" y="116"/>
                    </a:lnTo>
                    <a:lnTo>
                      <a:pt x="1706" y="117"/>
                    </a:lnTo>
                    <a:lnTo>
                      <a:pt x="1703" y="119"/>
                    </a:lnTo>
                    <a:lnTo>
                      <a:pt x="1695" y="122"/>
                    </a:lnTo>
                    <a:lnTo>
                      <a:pt x="1688" y="122"/>
                    </a:lnTo>
                    <a:lnTo>
                      <a:pt x="1685" y="123"/>
                    </a:lnTo>
                    <a:lnTo>
                      <a:pt x="1683" y="124"/>
                    </a:lnTo>
                    <a:lnTo>
                      <a:pt x="1682" y="125"/>
                    </a:lnTo>
                    <a:lnTo>
                      <a:pt x="1683" y="127"/>
                    </a:lnTo>
                    <a:lnTo>
                      <a:pt x="1690" y="132"/>
                    </a:lnTo>
                    <a:lnTo>
                      <a:pt x="1696" y="136"/>
                    </a:lnTo>
                    <a:lnTo>
                      <a:pt x="1699" y="137"/>
                    </a:lnTo>
                    <a:lnTo>
                      <a:pt x="1700" y="139"/>
                    </a:lnTo>
                    <a:lnTo>
                      <a:pt x="1700" y="140"/>
                    </a:lnTo>
                    <a:lnTo>
                      <a:pt x="1698" y="142"/>
                    </a:lnTo>
                    <a:lnTo>
                      <a:pt x="1685" y="148"/>
                    </a:lnTo>
                    <a:lnTo>
                      <a:pt x="1673" y="156"/>
                    </a:lnTo>
                    <a:lnTo>
                      <a:pt x="1665" y="159"/>
                    </a:lnTo>
                    <a:lnTo>
                      <a:pt x="1654" y="161"/>
                    </a:lnTo>
                    <a:lnTo>
                      <a:pt x="1640" y="163"/>
                    </a:lnTo>
                    <a:lnTo>
                      <a:pt x="1627" y="163"/>
                    </a:lnTo>
                    <a:lnTo>
                      <a:pt x="1622" y="163"/>
                    </a:lnTo>
                    <a:lnTo>
                      <a:pt x="1618" y="164"/>
                    </a:lnTo>
                    <a:lnTo>
                      <a:pt x="1616" y="165"/>
                    </a:lnTo>
                    <a:lnTo>
                      <a:pt x="1615" y="167"/>
                    </a:lnTo>
                    <a:lnTo>
                      <a:pt x="1614" y="169"/>
                    </a:lnTo>
                    <a:lnTo>
                      <a:pt x="1613" y="170"/>
                    </a:lnTo>
                    <a:lnTo>
                      <a:pt x="1611" y="172"/>
                    </a:lnTo>
                    <a:lnTo>
                      <a:pt x="1607" y="174"/>
                    </a:lnTo>
                    <a:lnTo>
                      <a:pt x="1593" y="178"/>
                    </a:lnTo>
                    <a:lnTo>
                      <a:pt x="1573" y="185"/>
                    </a:lnTo>
                    <a:lnTo>
                      <a:pt x="1563" y="188"/>
                    </a:lnTo>
                    <a:lnTo>
                      <a:pt x="1556" y="193"/>
                    </a:lnTo>
                    <a:lnTo>
                      <a:pt x="1554" y="196"/>
                    </a:lnTo>
                    <a:lnTo>
                      <a:pt x="1552" y="198"/>
                    </a:lnTo>
                    <a:lnTo>
                      <a:pt x="1551" y="200"/>
                    </a:lnTo>
                    <a:lnTo>
                      <a:pt x="1552" y="202"/>
                    </a:lnTo>
                    <a:lnTo>
                      <a:pt x="1555" y="206"/>
                    </a:lnTo>
                    <a:lnTo>
                      <a:pt x="1559" y="210"/>
                    </a:lnTo>
                    <a:lnTo>
                      <a:pt x="1563" y="213"/>
                    </a:lnTo>
                    <a:lnTo>
                      <a:pt x="1570" y="215"/>
                    </a:lnTo>
                    <a:lnTo>
                      <a:pt x="1575" y="219"/>
                    </a:lnTo>
                    <a:lnTo>
                      <a:pt x="1581" y="222"/>
                    </a:lnTo>
                    <a:lnTo>
                      <a:pt x="1585" y="225"/>
                    </a:lnTo>
                    <a:lnTo>
                      <a:pt x="1590" y="230"/>
                    </a:lnTo>
                    <a:lnTo>
                      <a:pt x="1593" y="239"/>
                    </a:lnTo>
                    <a:lnTo>
                      <a:pt x="1594" y="243"/>
                    </a:lnTo>
                    <a:lnTo>
                      <a:pt x="1594" y="245"/>
                    </a:lnTo>
                    <a:lnTo>
                      <a:pt x="1593" y="246"/>
                    </a:lnTo>
                    <a:lnTo>
                      <a:pt x="1591" y="247"/>
                    </a:lnTo>
                    <a:lnTo>
                      <a:pt x="1586" y="248"/>
                    </a:lnTo>
                    <a:lnTo>
                      <a:pt x="1584" y="249"/>
                    </a:lnTo>
                    <a:lnTo>
                      <a:pt x="1583" y="250"/>
                    </a:lnTo>
                    <a:lnTo>
                      <a:pt x="1584" y="251"/>
                    </a:lnTo>
                    <a:lnTo>
                      <a:pt x="1586" y="253"/>
                    </a:lnTo>
                    <a:lnTo>
                      <a:pt x="1590" y="253"/>
                    </a:lnTo>
                    <a:lnTo>
                      <a:pt x="1593" y="254"/>
                    </a:lnTo>
                    <a:lnTo>
                      <a:pt x="1597" y="253"/>
                    </a:lnTo>
                    <a:lnTo>
                      <a:pt x="1602" y="253"/>
                    </a:lnTo>
                    <a:lnTo>
                      <a:pt x="1612" y="249"/>
                    </a:lnTo>
                    <a:lnTo>
                      <a:pt x="1623" y="244"/>
                    </a:lnTo>
                    <a:lnTo>
                      <a:pt x="1634" y="240"/>
                    </a:lnTo>
                    <a:lnTo>
                      <a:pt x="1640" y="240"/>
                    </a:lnTo>
                    <a:lnTo>
                      <a:pt x="1645" y="241"/>
                    </a:lnTo>
                    <a:lnTo>
                      <a:pt x="1654" y="242"/>
                    </a:lnTo>
                    <a:lnTo>
                      <a:pt x="1657" y="243"/>
                    </a:lnTo>
                    <a:lnTo>
                      <a:pt x="1659" y="244"/>
                    </a:lnTo>
                    <a:lnTo>
                      <a:pt x="1659" y="245"/>
                    </a:lnTo>
                    <a:lnTo>
                      <a:pt x="1656" y="247"/>
                    </a:lnTo>
                    <a:lnTo>
                      <a:pt x="1651" y="249"/>
                    </a:lnTo>
                    <a:lnTo>
                      <a:pt x="1646" y="249"/>
                    </a:lnTo>
                    <a:lnTo>
                      <a:pt x="1641" y="248"/>
                    </a:lnTo>
                    <a:lnTo>
                      <a:pt x="1636" y="248"/>
                    </a:lnTo>
                    <a:lnTo>
                      <a:pt x="1630" y="247"/>
                    </a:lnTo>
                    <a:lnTo>
                      <a:pt x="1625" y="247"/>
                    </a:lnTo>
                    <a:lnTo>
                      <a:pt x="1621" y="249"/>
                    </a:lnTo>
                    <a:lnTo>
                      <a:pt x="1618" y="252"/>
                    </a:lnTo>
                    <a:lnTo>
                      <a:pt x="1614" y="256"/>
                    </a:lnTo>
                    <a:lnTo>
                      <a:pt x="1611" y="258"/>
                    </a:lnTo>
                    <a:lnTo>
                      <a:pt x="1608" y="259"/>
                    </a:lnTo>
                    <a:lnTo>
                      <a:pt x="1605" y="259"/>
                    </a:lnTo>
                    <a:lnTo>
                      <a:pt x="1603" y="259"/>
                    </a:lnTo>
                    <a:lnTo>
                      <a:pt x="1601" y="259"/>
                    </a:lnTo>
                    <a:lnTo>
                      <a:pt x="1599" y="261"/>
                    </a:lnTo>
                    <a:lnTo>
                      <a:pt x="1598" y="262"/>
                    </a:lnTo>
                    <a:lnTo>
                      <a:pt x="1596" y="264"/>
                    </a:lnTo>
                    <a:lnTo>
                      <a:pt x="1593" y="265"/>
                    </a:lnTo>
                    <a:lnTo>
                      <a:pt x="1589" y="265"/>
                    </a:lnTo>
                    <a:lnTo>
                      <a:pt x="1583" y="265"/>
                    </a:lnTo>
                    <a:lnTo>
                      <a:pt x="1579" y="265"/>
                    </a:lnTo>
                    <a:lnTo>
                      <a:pt x="1575" y="265"/>
                    </a:lnTo>
                    <a:lnTo>
                      <a:pt x="1574" y="266"/>
                    </a:lnTo>
                    <a:lnTo>
                      <a:pt x="1573" y="267"/>
                    </a:lnTo>
                    <a:lnTo>
                      <a:pt x="1572" y="268"/>
                    </a:lnTo>
                    <a:lnTo>
                      <a:pt x="1572" y="269"/>
                    </a:lnTo>
                    <a:lnTo>
                      <a:pt x="1572" y="272"/>
                    </a:lnTo>
                    <a:lnTo>
                      <a:pt x="1574" y="275"/>
                    </a:lnTo>
                    <a:lnTo>
                      <a:pt x="1576" y="277"/>
                    </a:lnTo>
                    <a:lnTo>
                      <a:pt x="1579" y="278"/>
                    </a:lnTo>
                    <a:lnTo>
                      <a:pt x="1585" y="284"/>
                    </a:lnTo>
                    <a:lnTo>
                      <a:pt x="1593" y="291"/>
                    </a:lnTo>
                    <a:lnTo>
                      <a:pt x="1596" y="295"/>
                    </a:lnTo>
                    <a:lnTo>
                      <a:pt x="1597" y="298"/>
                    </a:lnTo>
                    <a:lnTo>
                      <a:pt x="1598" y="301"/>
                    </a:lnTo>
                    <a:lnTo>
                      <a:pt x="1598" y="302"/>
                    </a:lnTo>
                    <a:lnTo>
                      <a:pt x="1598" y="305"/>
                    </a:lnTo>
                    <a:lnTo>
                      <a:pt x="1599" y="307"/>
                    </a:lnTo>
                    <a:lnTo>
                      <a:pt x="1601" y="309"/>
                    </a:lnTo>
                    <a:lnTo>
                      <a:pt x="1604" y="312"/>
                    </a:lnTo>
                    <a:lnTo>
                      <a:pt x="1610" y="316"/>
                    </a:lnTo>
                    <a:lnTo>
                      <a:pt x="1615" y="319"/>
                    </a:lnTo>
                    <a:lnTo>
                      <a:pt x="1621" y="322"/>
                    </a:lnTo>
                    <a:lnTo>
                      <a:pt x="1628" y="324"/>
                    </a:lnTo>
                    <a:lnTo>
                      <a:pt x="1637" y="327"/>
                    </a:lnTo>
                    <a:lnTo>
                      <a:pt x="1646" y="329"/>
                    </a:lnTo>
                    <a:lnTo>
                      <a:pt x="1657" y="330"/>
                    </a:lnTo>
                    <a:lnTo>
                      <a:pt x="1668" y="330"/>
                    </a:lnTo>
                    <a:lnTo>
                      <a:pt x="1681" y="329"/>
                    </a:lnTo>
                    <a:lnTo>
                      <a:pt x="1691" y="327"/>
                    </a:lnTo>
                    <a:lnTo>
                      <a:pt x="1702" y="323"/>
                    </a:lnTo>
                    <a:lnTo>
                      <a:pt x="1710" y="320"/>
                    </a:lnTo>
                    <a:lnTo>
                      <a:pt x="1719" y="317"/>
                    </a:lnTo>
                    <a:lnTo>
                      <a:pt x="1725" y="315"/>
                    </a:lnTo>
                    <a:lnTo>
                      <a:pt x="1731" y="314"/>
                    </a:lnTo>
                    <a:lnTo>
                      <a:pt x="1736" y="315"/>
                    </a:lnTo>
                    <a:lnTo>
                      <a:pt x="1748" y="319"/>
                    </a:lnTo>
                    <a:lnTo>
                      <a:pt x="1764" y="324"/>
                    </a:lnTo>
                    <a:lnTo>
                      <a:pt x="1772" y="329"/>
                    </a:lnTo>
                    <a:lnTo>
                      <a:pt x="1781" y="332"/>
                    </a:lnTo>
                    <a:lnTo>
                      <a:pt x="1789" y="337"/>
                    </a:lnTo>
                    <a:lnTo>
                      <a:pt x="1796" y="341"/>
                    </a:lnTo>
                    <a:lnTo>
                      <a:pt x="1809" y="351"/>
                    </a:lnTo>
                    <a:lnTo>
                      <a:pt x="1820" y="356"/>
                    </a:lnTo>
                    <a:lnTo>
                      <a:pt x="1825" y="359"/>
                    </a:lnTo>
                    <a:lnTo>
                      <a:pt x="1829" y="362"/>
                    </a:lnTo>
                    <a:lnTo>
                      <a:pt x="1832" y="366"/>
                    </a:lnTo>
                    <a:lnTo>
                      <a:pt x="1833" y="372"/>
                    </a:lnTo>
                    <a:lnTo>
                      <a:pt x="1833" y="383"/>
                    </a:lnTo>
                    <a:lnTo>
                      <a:pt x="1834" y="394"/>
                    </a:lnTo>
                    <a:lnTo>
                      <a:pt x="1837" y="402"/>
                    </a:lnTo>
                    <a:lnTo>
                      <a:pt x="1840" y="408"/>
                    </a:lnTo>
                    <a:lnTo>
                      <a:pt x="1848" y="421"/>
                    </a:lnTo>
                    <a:lnTo>
                      <a:pt x="1855" y="432"/>
                    </a:lnTo>
                    <a:lnTo>
                      <a:pt x="1859" y="438"/>
                    </a:lnTo>
                    <a:lnTo>
                      <a:pt x="1865" y="446"/>
                    </a:lnTo>
                    <a:lnTo>
                      <a:pt x="1868" y="450"/>
                    </a:lnTo>
                    <a:lnTo>
                      <a:pt x="1869" y="454"/>
                    </a:lnTo>
                    <a:lnTo>
                      <a:pt x="1869" y="456"/>
                    </a:lnTo>
                    <a:lnTo>
                      <a:pt x="1869" y="459"/>
                    </a:lnTo>
                    <a:lnTo>
                      <a:pt x="1868" y="461"/>
                    </a:lnTo>
                    <a:lnTo>
                      <a:pt x="1866" y="463"/>
                    </a:lnTo>
                    <a:lnTo>
                      <a:pt x="1864" y="466"/>
                    </a:lnTo>
                    <a:lnTo>
                      <a:pt x="1864" y="468"/>
                    </a:lnTo>
                    <a:lnTo>
                      <a:pt x="1865" y="469"/>
                    </a:lnTo>
                    <a:lnTo>
                      <a:pt x="1868" y="470"/>
                    </a:lnTo>
                    <a:lnTo>
                      <a:pt x="1873" y="471"/>
                    </a:lnTo>
                    <a:lnTo>
                      <a:pt x="1877" y="473"/>
                    </a:lnTo>
                    <a:lnTo>
                      <a:pt x="1882" y="476"/>
                    </a:lnTo>
                    <a:lnTo>
                      <a:pt x="1887" y="482"/>
                    </a:lnTo>
                    <a:lnTo>
                      <a:pt x="1892" y="488"/>
                    </a:lnTo>
                    <a:lnTo>
                      <a:pt x="1897" y="492"/>
                    </a:lnTo>
                    <a:lnTo>
                      <a:pt x="1900" y="494"/>
                    </a:lnTo>
                    <a:lnTo>
                      <a:pt x="1903" y="496"/>
                    </a:lnTo>
                    <a:lnTo>
                      <a:pt x="1904" y="497"/>
                    </a:lnTo>
                    <a:lnTo>
                      <a:pt x="1905" y="498"/>
                    </a:lnTo>
                    <a:lnTo>
                      <a:pt x="1905" y="499"/>
                    </a:lnTo>
                    <a:lnTo>
                      <a:pt x="1903" y="503"/>
                    </a:lnTo>
                    <a:lnTo>
                      <a:pt x="1898" y="508"/>
                    </a:lnTo>
                    <a:lnTo>
                      <a:pt x="1892" y="510"/>
                    </a:lnTo>
                    <a:lnTo>
                      <a:pt x="1891" y="511"/>
                    </a:lnTo>
                    <a:lnTo>
                      <a:pt x="1890" y="513"/>
                    </a:lnTo>
                    <a:lnTo>
                      <a:pt x="1891" y="516"/>
                    </a:lnTo>
                    <a:lnTo>
                      <a:pt x="1895" y="519"/>
                    </a:lnTo>
                    <a:lnTo>
                      <a:pt x="1898" y="523"/>
                    </a:lnTo>
                    <a:lnTo>
                      <a:pt x="1898" y="527"/>
                    </a:lnTo>
                    <a:lnTo>
                      <a:pt x="1898" y="529"/>
                    </a:lnTo>
                    <a:lnTo>
                      <a:pt x="1896" y="530"/>
                    </a:lnTo>
                    <a:lnTo>
                      <a:pt x="1890" y="533"/>
                    </a:lnTo>
                    <a:lnTo>
                      <a:pt x="1885" y="536"/>
                    </a:lnTo>
                    <a:lnTo>
                      <a:pt x="1882" y="541"/>
                    </a:lnTo>
                    <a:lnTo>
                      <a:pt x="1880" y="545"/>
                    </a:lnTo>
                    <a:lnTo>
                      <a:pt x="1880" y="549"/>
                    </a:lnTo>
                    <a:lnTo>
                      <a:pt x="1880" y="551"/>
                    </a:lnTo>
                    <a:lnTo>
                      <a:pt x="1881" y="555"/>
                    </a:lnTo>
                    <a:lnTo>
                      <a:pt x="1883" y="559"/>
                    </a:lnTo>
                    <a:lnTo>
                      <a:pt x="1884" y="560"/>
                    </a:lnTo>
                    <a:lnTo>
                      <a:pt x="1885" y="562"/>
                    </a:lnTo>
                    <a:lnTo>
                      <a:pt x="1887" y="562"/>
                    </a:lnTo>
                    <a:lnTo>
                      <a:pt x="1889" y="563"/>
                    </a:lnTo>
                    <a:lnTo>
                      <a:pt x="1893" y="562"/>
                    </a:lnTo>
                    <a:lnTo>
                      <a:pt x="1898" y="560"/>
                    </a:lnTo>
                    <a:lnTo>
                      <a:pt x="1909" y="555"/>
                    </a:lnTo>
                    <a:lnTo>
                      <a:pt x="1920" y="551"/>
                    </a:lnTo>
                    <a:lnTo>
                      <a:pt x="1931" y="549"/>
                    </a:lnTo>
                    <a:lnTo>
                      <a:pt x="1942" y="545"/>
                    </a:lnTo>
                    <a:lnTo>
                      <a:pt x="1946" y="547"/>
                    </a:lnTo>
                    <a:lnTo>
                      <a:pt x="1950" y="548"/>
                    </a:lnTo>
                    <a:lnTo>
                      <a:pt x="1953" y="552"/>
                    </a:lnTo>
                    <a:lnTo>
                      <a:pt x="1954" y="559"/>
                    </a:lnTo>
                    <a:lnTo>
                      <a:pt x="1956" y="566"/>
                    </a:lnTo>
                    <a:lnTo>
                      <a:pt x="1958" y="574"/>
                    </a:lnTo>
                    <a:lnTo>
                      <a:pt x="1962" y="580"/>
                    </a:lnTo>
                    <a:lnTo>
                      <a:pt x="1965" y="585"/>
                    </a:lnTo>
                    <a:lnTo>
                      <a:pt x="1967" y="591"/>
                    </a:lnTo>
                    <a:lnTo>
                      <a:pt x="1970" y="596"/>
                    </a:lnTo>
                    <a:lnTo>
                      <a:pt x="1971" y="600"/>
                    </a:lnTo>
                    <a:lnTo>
                      <a:pt x="1972" y="605"/>
                    </a:lnTo>
                    <a:lnTo>
                      <a:pt x="1972" y="609"/>
                    </a:lnTo>
                    <a:lnTo>
                      <a:pt x="1971" y="613"/>
                    </a:lnTo>
                    <a:lnTo>
                      <a:pt x="1969" y="615"/>
                    </a:lnTo>
                    <a:lnTo>
                      <a:pt x="1965" y="616"/>
                    </a:lnTo>
                    <a:lnTo>
                      <a:pt x="1961" y="615"/>
                    </a:lnTo>
                    <a:lnTo>
                      <a:pt x="1955" y="613"/>
                    </a:lnTo>
                    <a:lnTo>
                      <a:pt x="1948" y="608"/>
                    </a:lnTo>
                    <a:lnTo>
                      <a:pt x="1941" y="602"/>
                    </a:lnTo>
                    <a:lnTo>
                      <a:pt x="1932" y="596"/>
                    </a:lnTo>
                    <a:lnTo>
                      <a:pt x="1925" y="593"/>
                    </a:lnTo>
                    <a:lnTo>
                      <a:pt x="1919" y="592"/>
                    </a:lnTo>
                    <a:lnTo>
                      <a:pt x="1913" y="593"/>
                    </a:lnTo>
                    <a:lnTo>
                      <a:pt x="1908" y="595"/>
                    </a:lnTo>
                    <a:lnTo>
                      <a:pt x="1905" y="597"/>
                    </a:lnTo>
                    <a:lnTo>
                      <a:pt x="1902" y="600"/>
                    </a:lnTo>
                    <a:lnTo>
                      <a:pt x="1899" y="603"/>
                    </a:lnTo>
                    <a:lnTo>
                      <a:pt x="1899" y="604"/>
                    </a:lnTo>
                    <a:lnTo>
                      <a:pt x="1899" y="605"/>
                    </a:lnTo>
                    <a:lnTo>
                      <a:pt x="1900" y="607"/>
                    </a:lnTo>
                    <a:lnTo>
                      <a:pt x="1902" y="608"/>
                    </a:lnTo>
                    <a:lnTo>
                      <a:pt x="1907" y="610"/>
                    </a:lnTo>
                    <a:lnTo>
                      <a:pt x="1913" y="613"/>
                    </a:lnTo>
                    <a:lnTo>
                      <a:pt x="1920" y="615"/>
                    </a:lnTo>
                    <a:lnTo>
                      <a:pt x="1926" y="617"/>
                    </a:lnTo>
                    <a:lnTo>
                      <a:pt x="1930" y="620"/>
                    </a:lnTo>
                    <a:lnTo>
                      <a:pt x="1932" y="623"/>
                    </a:lnTo>
                    <a:lnTo>
                      <a:pt x="1932" y="624"/>
                    </a:lnTo>
                    <a:lnTo>
                      <a:pt x="1932" y="625"/>
                    </a:lnTo>
                    <a:lnTo>
                      <a:pt x="1930" y="626"/>
                    </a:lnTo>
                    <a:lnTo>
                      <a:pt x="1928" y="627"/>
                    </a:lnTo>
                    <a:lnTo>
                      <a:pt x="1922" y="627"/>
                    </a:lnTo>
                    <a:lnTo>
                      <a:pt x="1915" y="627"/>
                    </a:lnTo>
                    <a:lnTo>
                      <a:pt x="1908" y="627"/>
                    </a:lnTo>
                    <a:lnTo>
                      <a:pt x="1902" y="627"/>
                    </a:lnTo>
                    <a:lnTo>
                      <a:pt x="1900" y="628"/>
                    </a:lnTo>
                    <a:lnTo>
                      <a:pt x="1898" y="629"/>
                    </a:lnTo>
                    <a:lnTo>
                      <a:pt x="1897" y="630"/>
                    </a:lnTo>
                    <a:lnTo>
                      <a:pt x="1897" y="632"/>
                    </a:lnTo>
                    <a:lnTo>
                      <a:pt x="1899" y="638"/>
                    </a:lnTo>
                    <a:lnTo>
                      <a:pt x="1904" y="645"/>
                    </a:lnTo>
                    <a:lnTo>
                      <a:pt x="1909" y="653"/>
                    </a:lnTo>
                    <a:lnTo>
                      <a:pt x="1917" y="662"/>
                    </a:lnTo>
                    <a:lnTo>
                      <a:pt x="1928" y="676"/>
                    </a:lnTo>
                    <a:lnTo>
                      <a:pt x="1934" y="683"/>
                    </a:lnTo>
                    <a:lnTo>
                      <a:pt x="1942" y="673"/>
                    </a:lnTo>
                    <a:lnTo>
                      <a:pt x="1947" y="667"/>
                    </a:lnTo>
                    <a:lnTo>
                      <a:pt x="1951" y="661"/>
                    </a:lnTo>
                    <a:lnTo>
                      <a:pt x="1958" y="650"/>
                    </a:lnTo>
                    <a:lnTo>
                      <a:pt x="1955" y="646"/>
                    </a:lnTo>
                    <a:lnTo>
                      <a:pt x="1950" y="637"/>
                    </a:lnTo>
                    <a:lnTo>
                      <a:pt x="1948" y="631"/>
                    </a:lnTo>
                    <a:lnTo>
                      <a:pt x="1949" y="628"/>
                    </a:lnTo>
                    <a:lnTo>
                      <a:pt x="1950" y="627"/>
                    </a:lnTo>
                    <a:lnTo>
                      <a:pt x="1951" y="626"/>
                    </a:lnTo>
                    <a:lnTo>
                      <a:pt x="1953" y="626"/>
                    </a:lnTo>
                    <a:lnTo>
                      <a:pt x="1957" y="627"/>
                    </a:lnTo>
                    <a:lnTo>
                      <a:pt x="1969" y="631"/>
                    </a:lnTo>
                    <a:lnTo>
                      <a:pt x="1976" y="635"/>
                    </a:lnTo>
                    <a:lnTo>
                      <a:pt x="1979" y="637"/>
                    </a:lnTo>
                    <a:lnTo>
                      <a:pt x="1980" y="639"/>
                    </a:lnTo>
                    <a:lnTo>
                      <a:pt x="1981" y="642"/>
                    </a:lnTo>
                    <a:lnTo>
                      <a:pt x="1981" y="646"/>
                    </a:lnTo>
                    <a:lnTo>
                      <a:pt x="1981" y="650"/>
                    </a:lnTo>
                    <a:lnTo>
                      <a:pt x="1980" y="653"/>
                    </a:lnTo>
                    <a:lnTo>
                      <a:pt x="1978" y="658"/>
                    </a:lnTo>
                    <a:lnTo>
                      <a:pt x="1976" y="661"/>
                    </a:lnTo>
                    <a:lnTo>
                      <a:pt x="1974" y="665"/>
                    </a:lnTo>
                    <a:lnTo>
                      <a:pt x="1972" y="669"/>
                    </a:lnTo>
                    <a:lnTo>
                      <a:pt x="1971" y="673"/>
                    </a:lnTo>
                    <a:lnTo>
                      <a:pt x="1971" y="680"/>
                    </a:lnTo>
                    <a:lnTo>
                      <a:pt x="1971" y="686"/>
                    </a:lnTo>
                    <a:lnTo>
                      <a:pt x="1969" y="692"/>
                    </a:lnTo>
                    <a:lnTo>
                      <a:pt x="1967" y="697"/>
                    </a:lnTo>
                    <a:lnTo>
                      <a:pt x="1964" y="702"/>
                    </a:lnTo>
                    <a:lnTo>
                      <a:pt x="1959" y="706"/>
                    </a:lnTo>
                    <a:lnTo>
                      <a:pt x="1955" y="710"/>
                    </a:lnTo>
                    <a:lnTo>
                      <a:pt x="1950" y="714"/>
                    </a:lnTo>
                    <a:lnTo>
                      <a:pt x="1945" y="717"/>
                    </a:lnTo>
                    <a:lnTo>
                      <a:pt x="1940" y="722"/>
                    </a:lnTo>
                    <a:lnTo>
                      <a:pt x="1935" y="727"/>
                    </a:lnTo>
                    <a:lnTo>
                      <a:pt x="1932" y="732"/>
                    </a:lnTo>
                    <a:lnTo>
                      <a:pt x="1929" y="738"/>
                    </a:lnTo>
                    <a:lnTo>
                      <a:pt x="1925" y="750"/>
                    </a:lnTo>
                    <a:lnTo>
                      <a:pt x="1923" y="759"/>
                    </a:lnTo>
                    <a:lnTo>
                      <a:pt x="1923" y="764"/>
                    </a:lnTo>
                    <a:lnTo>
                      <a:pt x="1924" y="772"/>
                    </a:lnTo>
                    <a:lnTo>
                      <a:pt x="1927" y="780"/>
                    </a:lnTo>
                    <a:lnTo>
                      <a:pt x="1931" y="791"/>
                    </a:lnTo>
                    <a:lnTo>
                      <a:pt x="1940" y="808"/>
                    </a:lnTo>
                    <a:lnTo>
                      <a:pt x="1944" y="821"/>
                    </a:lnTo>
                    <a:lnTo>
                      <a:pt x="1945" y="826"/>
                    </a:lnTo>
                    <a:lnTo>
                      <a:pt x="1948" y="832"/>
                    </a:lnTo>
                    <a:lnTo>
                      <a:pt x="1953" y="838"/>
                    </a:lnTo>
                    <a:lnTo>
                      <a:pt x="1958" y="845"/>
                    </a:lnTo>
                    <a:lnTo>
                      <a:pt x="1971" y="858"/>
                    </a:lnTo>
                    <a:lnTo>
                      <a:pt x="1979" y="867"/>
                    </a:lnTo>
                    <a:lnTo>
                      <a:pt x="1991" y="874"/>
                    </a:lnTo>
                    <a:lnTo>
                      <a:pt x="2008" y="882"/>
                    </a:lnTo>
                    <a:lnTo>
                      <a:pt x="2014" y="885"/>
                    </a:lnTo>
                    <a:lnTo>
                      <a:pt x="2016" y="888"/>
                    </a:lnTo>
                    <a:lnTo>
                      <a:pt x="2016" y="890"/>
                    </a:lnTo>
                    <a:lnTo>
                      <a:pt x="2014" y="891"/>
                    </a:lnTo>
                    <a:lnTo>
                      <a:pt x="2011" y="893"/>
                    </a:lnTo>
                    <a:lnTo>
                      <a:pt x="2005" y="894"/>
                    </a:lnTo>
                    <a:lnTo>
                      <a:pt x="1994" y="898"/>
                    </a:lnTo>
                    <a:lnTo>
                      <a:pt x="1985" y="900"/>
                    </a:lnTo>
                    <a:lnTo>
                      <a:pt x="1978" y="903"/>
                    </a:lnTo>
                    <a:lnTo>
                      <a:pt x="1975" y="906"/>
                    </a:lnTo>
                    <a:lnTo>
                      <a:pt x="1973" y="909"/>
                    </a:lnTo>
                    <a:lnTo>
                      <a:pt x="1973" y="913"/>
                    </a:lnTo>
                    <a:lnTo>
                      <a:pt x="1974" y="918"/>
                    </a:lnTo>
                    <a:lnTo>
                      <a:pt x="1977" y="924"/>
                    </a:lnTo>
                    <a:lnTo>
                      <a:pt x="1995" y="945"/>
                    </a:lnTo>
                    <a:lnTo>
                      <a:pt x="2024" y="977"/>
                    </a:lnTo>
                    <a:lnTo>
                      <a:pt x="2038" y="994"/>
                    </a:lnTo>
                    <a:lnTo>
                      <a:pt x="2051" y="1010"/>
                    </a:lnTo>
                    <a:lnTo>
                      <a:pt x="2055" y="1017"/>
                    </a:lnTo>
                    <a:lnTo>
                      <a:pt x="2058" y="1022"/>
                    </a:lnTo>
                    <a:lnTo>
                      <a:pt x="2060" y="1027"/>
                    </a:lnTo>
                    <a:lnTo>
                      <a:pt x="2060" y="1032"/>
                    </a:lnTo>
                    <a:lnTo>
                      <a:pt x="2058" y="1037"/>
                    </a:lnTo>
                    <a:lnTo>
                      <a:pt x="2056" y="1041"/>
                    </a:lnTo>
                    <a:lnTo>
                      <a:pt x="2053" y="1042"/>
                    </a:lnTo>
                    <a:lnTo>
                      <a:pt x="2050" y="1043"/>
                    </a:lnTo>
                    <a:lnTo>
                      <a:pt x="2047" y="1044"/>
                    </a:lnTo>
                    <a:lnTo>
                      <a:pt x="2045" y="1045"/>
                    </a:lnTo>
                    <a:lnTo>
                      <a:pt x="2045" y="1047"/>
                    </a:lnTo>
                    <a:lnTo>
                      <a:pt x="2046" y="1052"/>
                    </a:lnTo>
                    <a:lnTo>
                      <a:pt x="2047" y="1054"/>
                    </a:lnTo>
                    <a:lnTo>
                      <a:pt x="2050" y="1055"/>
                    </a:lnTo>
                    <a:lnTo>
                      <a:pt x="2052" y="1056"/>
                    </a:lnTo>
                    <a:lnTo>
                      <a:pt x="2054" y="1056"/>
                    </a:lnTo>
                    <a:lnTo>
                      <a:pt x="2059" y="1056"/>
                    </a:lnTo>
                    <a:lnTo>
                      <a:pt x="2065" y="1054"/>
                    </a:lnTo>
                    <a:lnTo>
                      <a:pt x="2072" y="1053"/>
                    </a:lnTo>
                    <a:lnTo>
                      <a:pt x="2078" y="1053"/>
                    </a:lnTo>
                    <a:lnTo>
                      <a:pt x="2080" y="1053"/>
                    </a:lnTo>
                    <a:lnTo>
                      <a:pt x="2082" y="1053"/>
                    </a:lnTo>
                    <a:lnTo>
                      <a:pt x="2084" y="1055"/>
                    </a:lnTo>
                    <a:lnTo>
                      <a:pt x="2086" y="1056"/>
                    </a:lnTo>
                    <a:lnTo>
                      <a:pt x="2088" y="1059"/>
                    </a:lnTo>
                    <a:lnTo>
                      <a:pt x="2090" y="1061"/>
                    </a:lnTo>
                    <a:lnTo>
                      <a:pt x="2094" y="1061"/>
                    </a:lnTo>
                    <a:lnTo>
                      <a:pt x="2096" y="1061"/>
                    </a:lnTo>
                    <a:lnTo>
                      <a:pt x="2099" y="1061"/>
                    </a:lnTo>
                    <a:lnTo>
                      <a:pt x="2101" y="1062"/>
                    </a:lnTo>
                    <a:lnTo>
                      <a:pt x="2104" y="1064"/>
                    </a:lnTo>
                    <a:lnTo>
                      <a:pt x="2106" y="1068"/>
                    </a:lnTo>
                    <a:lnTo>
                      <a:pt x="2111" y="1080"/>
                    </a:lnTo>
                    <a:lnTo>
                      <a:pt x="2117" y="1089"/>
                    </a:lnTo>
                    <a:lnTo>
                      <a:pt x="2122" y="1097"/>
                    </a:lnTo>
                    <a:lnTo>
                      <a:pt x="2124" y="1099"/>
                    </a:lnTo>
                    <a:lnTo>
                      <a:pt x="2129" y="1098"/>
                    </a:lnTo>
                    <a:lnTo>
                      <a:pt x="2133" y="1095"/>
                    </a:lnTo>
                    <a:close/>
                    <a:moveTo>
                      <a:pt x="2505" y="920"/>
                    </a:moveTo>
                    <a:lnTo>
                      <a:pt x="2511" y="922"/>
                    </a:lnTo>
                    <a:lnTo>
                      <a:pt x="2516" y="924"/>
                    </a:lnTo>
                    <a:lnTo>
                      <a:pt x="2521" y="925"/>
                    </a:lnTo>
                    <a:lnTo>
                      <a:pt x="2526" y="926"/>
                    </a:lnTo>
                    <a:lnTo>
                      <a:pt x="2531" y="927"/>
                    </a:lnTo>
                    <a:lnTo>
                      <a:pt x="2534" y="928"/>
                    </a:lnTo>
                    <a:lnTo>
                      <a:pt x="2535" y="930"/>
                    </a:lnTo>
                    <a:lnTo>
                      <a:pt x="2535" y="931"/>
                    </a:lnTo>
                    <a:lnTo>
                      <a:pt x="2535" y="933"/>
                    </a:lnTo>
                    <a:lnTo>
                      <a:pt x="2535" y="935"/>
                    </a:lnTo>
                    <a:lnTo>
                      <a:pt x="2531" y="942"/>
                    </a:lnTo>
                    <a:lnTo>
                      <a:pt x="2527" y="946"/>
                    </a:lnTo>
                    <a:lnTo>
                      <a:pt x="2526" y="948"/>
                    </a:lnTo>
                    <a:lnTo>
                      <a:pt x="2526" y="950"/>
                    </a:lnTo>
                    <a:lnTo>
                      <a:pt x="2527" y="952"/>
                    </a:lnTo>
                    <a:lnTo>
                      <a:pt x="2528" y="955"/>
                    </a:lnTo>
                    <a:lnTo>
                      <a:pt x="2543" y="959"/>
                    </a:lnTo>
                    <a:lnTo>
                      <a:pt x="2557" y="965"/>
                    </a:lnTo>
                    <a:lnTo>
                      <a:pt x="2558" y="967"/>
                    </a:lnTo>
                    <a:lnTo>
                      <a:pt x="2561" y="968"/>
                    </a:lnTo>
                    <a:lnTo>
                      <a:pt x="2564" y="970"/>
                    </a:lnTo>
                    <a:lnTo>
                      <a:pt x="2568" y="971"/>
                    </a:lnTo>
                    <a:lnTo>
                      <a:pt x="2578" y="973"/>
                    </a:lnTo>
                    <a:lnTo>
                      <a:pt x="2588" y="974"/>
                    </a:lnTo>
                    <a:lnTo>
                      <a:pt x="2608" y="976"/>
                    </a:lnTo>
                    <a:lnTo>
                      <a:pt x="2616" y="976"/>
                    </a:lnTo>
                    <a:lnTo>
                      <a:pt x="2624" y="972"/>
                    </a:lnTo>
                    <a:lnTo>
                      <a:pt x="2638" y="961"/>
                    </a:lnTo>
                    <a:lnTo>
                      <a:pt x="2655" y="949"/>
                    </a:lnTo>
                    <a:lnTo>
                      <a:pt x="2666" y="939"/>
                    </a:lnTo>
                    <a:lnTo>
                      <a:pt x="2670" y="932"/>
                    </a:lnTo>
                    <a:lnTo>
                      <a:pt x="2675" y="924"/>
                    </a:lnTo>
                    <a:lnTo>
                      <a:pt x="2676" y="918"/>
                    </a:lnTo>
                    <a:lnTo>
                      <a:pt x="2676" y="913"/>
                    </a:lnTo>
                    <a:lnTo>
                      <a:pt x="2673" y="907"/>
                    </a:lnTo>
                    <a:lnTo>
                      <a:pt x="2668" y="900"/>
                    </a:lnTo>
                    <a:lnTo>
                      <a:pt x="2654" y="884"/>
                    </a:lnTo>
                    <a:lnTo>
                      <a:pt x="2642" y="870"/>
                    </a:lnTo>
                    <a:lnTo>
                      <a:pt x="2635" y="864"/>
                    </a:lnTo>
                    <a:lnTo>
                      <a:pt x="2629" y="861"/>
                    </a:lnTo>
                    <a:lnTo>
                      <a:pt x="2626" y="860"/>
                    </a:lnTo>
                    <a:lnTo>
                      <a:pt x="2624" y="859"/>
                    </a:lnTo>
                    <a:lnTo>
                      <a:pt x="2621" y="859"/>
                    </a:lnTo>
                    <a:lnTo>
                      <a:pt x="2619" y="860"/>
                    </a:lnTo>
                    <a:lnTo>
                      <a:pt x="2608" y="865"/>
                    </a:lnTo>
                    <a:lnTo>
                      <a:pt x="2595" y="869"/>
                    </a:lnTo>
                    <a:lnTo>
                      <a:pt x="2589" y="872"/>
                    </a:lnTo>
                    <a:lnTo>
                      <a:pt x="2583" y="873"/>
                    </a:lnTo>
                    <a:lnTo>
                      <a:pt x="2577" y="874"/>
                    </a:lnTo>
                    <a:lnTo>
                      <a:pt x="2570" y="874"/>
                    </a:lnTo>
                    <a:lnTo>
                      <a:pt x="2565" y="874"/>
                    </a:lnTo>
                    <a:lnTo>
                      <a:pt x="2558" y="872"/>
                    </a:lnTo>
                    <a:lnTo>
                      <a:pt x="2551" y="869"/>
                    </a:lnTo>
                    <a:lnTo>
                      <a:pt x="2545" y="866"/>
                    </a:lnTo>
                    <a:lnTo>
                      <a:pt x="2536" y="861"/>
                    </a:lnTo>
                    <a:lnTo>
                      <a:pt x="2532" y="859"/>
                    </a:lnTo>
                    <a:lnTo>
                      <a:pt x="2532" y="855"/>
                    </a:lnTo>
                    <a:lnTo>
                      <a:pt x="2531" y="845"/>
                    </a:lnTo>
                    <a:lnTo>
                      <a:pt x="2528" y="842"/>
                    </a:lnTo>
                    <a:lnTo>
                      <a:pt x="2525" y="840"/>
                    </a:lnTo>
                    <a:lnTo>
                      <a:pt x="2523" y="840"/>
                    </a:lnTo>
                    <a:lnTo>
                      <a:pt x="2521" y="840"/>
                    </a:lnTo>
                    <a:lnTo>
                      <a:pt x="2519" y="841"/>
                    </a:lnTo>
                    <a:lnTo>
                      <a:pt x="2516" y="843"/>
                    </a:lnTo>
                    <a:lnTo>
                      <a:pt x="2510" y="849"/>
                    </a:lnTo>
                    <a:lnTo>
                      <a:pt x="2504" y="856"/>
                    </a:lnTo>
                    <a:lnTo>
                      <a:pt x="2499" y="862"/>
                    </a:lnTo>
                    <a:lnTo>
                      <a:pt x="2496" y="869"/>
                    </a:lnTo>
                    <a:lnTo>
                      <a:pt x="2494" y="876"/>
                    </a:lnTo>
                    <a:lnTo>
                      <a:pt x="2492" y="881"/>
                    </a:lnTo>
                    <a:lnTo>
                      <a:pt x="2492" y="886"/>
                    </a:lnTo>
                    <a:lnTo>
                      <a:pt x="2493" y="888"/>
                    </a:lnTo>
                    <a:lnTo>
                      <a:pt x="2499" y="893"/>
                    </a:lnTo>
                    <a:lnTo>
                      <a:pt x="2511" y="898"/>
                    </a:lnTo>
                    <a:lnTo>
                      <a:pt x="2520" y="901"/>
                    </a:lnTo>
                    <a:lnTo>
                      <a:pt x="2525" y="902"/>
                    </a:lnTo>
                    <a:lnTo>
                      <a:pt x="2519" y="903"/>
                    </a:lnTo>
                    <a:lnTo>
                      <a:pt x="2506" y="906"/>
                    </a:lnTo>
                    <a:lnTo>
                      <a:pt x="2500" y="908"/>
                    </a:lnTo>
                    <a:lnTo>
                      <a:pt x="2495" y="910"/>
                    </a:lnTo>
                    <a:lnTo>
                      <a:pt x="2493" y="911"/>
                    </a:lnTo>
                    <a:lnTo>
                      <a:pt x="2492" y="912"/>
                    </a:lnTo>
                    <a:lnTo>
                      <a:pt x="2491" y="914"/>
                    </a:lnTo>
                    <a:lnTo>
                      <a:pt x="2491" y="915"/>
                    </a:lnTo>
                    <a:lnTo>
                      <a:pt x="2493" y="918"/>
                    </a:lnTo>
                    <a:lnTo>
                      <a:pt x="2495" y="920"/>
                    </a:lnTo>
                    <a:lnTo>
                      <a:pt x="2498" y="921"/>
                    </a:lnTo>
                    <a:lnTo>
                      <a:pt x="2500" y="921"/>
                    </a:lnTo>
                    <a:lnTo>
                      <a:pt x="2504" y="920"/>
                    </a:lnTo>
                    <a:lnTo>
                      <a:pt x="2505" y="920"/>
                    </a:lnTo>
                    <a:close/>
                    <a:moveTo>
                      <a:pt x="2830" y="1398"/>
                    </a:moveTo>
                    <a:lnTo>
                      <a:pt x="2823" y="1407"/>
                    </a:lnTo>
                    <a:lnTo>
                      <a:pt x="2810" y="1417"/>
                    </a:lnTo>
                    <a:lnTo>
                      <a:pt x="2803" y="1422"/>
                    </a:lnTo>
                    <a:lnTo>
                      <a:pt x="2796" y="1426"/>
                    </a:lnTo>
                    <a:lnTo>
                      <a:pt x="2793" y="1427"/>
                    </a:lnTo>
                    <a:lnTo>
                      <a:pt x="2790" y="1428"/>
                    </a:lnTo>
                    <a:lnTo>
                      <a:pt x="2788" y="1427"/>
                    </a:lnTo>
                    <a:lnTo>
                      <a:pt x="2786" y="1426"/>
                    </a:lnTo>
                    <a:lnTo>
                      <a:pt x="2779" y="1418"/>
                    </a:lnTo>
                    <a:lnTo>
                      <a:pt x="2770" y="1409"/>
                    </a:lnTo>
                    <a:lnTo>
                      <a:pt x="2766" y="1405"/>
                    </a:lnTo>
                    <a:lnTo>
                      <a:pt x="2764" y="1402"/>
                    </a:lnTo>
                    <a:lnTo>
                      <a:pt x="2764" y="1400"/>
                    </a:lnTo>
                    <a:lnTo>
                      <a:pt x="2764" y="1398"/>
                    </a:lnTo>
                    <a:lnTo>
                      <a:pt x="2765" y="1397"/>
                    </a:lnTo>
                    <a:lnTo>
                      <a:pt x="2766" y="1397"/>
                    </a:lnTo>
                    <a:lnTo>
                      <a:pt x="2775" y="1394"/>
                    </a:lnTo>
                    <a:lnTo>
                      <a:pt x="2783" y="1390"/>
                    </a:lnTo>
                    <a:lnTo>
                      <a:pt x="2785" y="1387"/>
                    </a:lnTo>
                    <a:lnTo>
                      <a:pt x="2787" y="1384"/>
                    </a:lnTo>
                    <a:lnTo>
                      <a:pt x="2788" y="1380"/>
                    </a:lnTo>
                    <a:lnTo>
                      <a:pt x="2787" y="1375"/>
                    </a:lnTo>
                    <a:lnTo>
                      <a:pt x="2782" y="1365"/>
                    </a:lnTo>
                    <a:lnTo>
                      <a:pt x="2775" y="1355"/>
                    </a:lnTo>
                    <a:lnTo>
                      <a:pt x="2773" y="1350"/>
                    </a:lnTo>
                    <a:lnTo>
                      <a:pt x="2770" y="1346"/>
                    </a:lnTo>
                    <a:lnTo>
                      <a:pt x="2769" y="1343"/>
                    </a:lnTo>
                    <a:lnTo>
                      <a:pt x="2769" y="1340"/>
                    </a:lnTo>
                    <a:lnTo>
                      <a:pt x="2771" y="1337"/>
                    </a:lnTo>
                    <a:lnTo>
                      <a:pt x="2776" y="1332"/>
                    </a:lnTo>
                    <a:lnTo>
                      <a:pt x="2781" y="1329"/>
                    </a:lnTo>
                    <a:lnTo>
                      <a:pt x="2787" y="1326"/>
                    </a:lnTo>
                    <a:lnTo>
                      <a:pt x="2798" y="1321"/>
                    </a:lnTo>
                    <a:lnTo>
                      <a:pt x="2803" y="1319"/>
                    </a:lnTo>
                    <a:lnTo>
                      <a:pt x="2806" y="1316"/>
                    </a:lnTo>
                    <a:lnTo>
                      <a:pt x="2813" y="1310"/>
                    </a:lnTo>
                    <a:lnTo>
                      <a:pt x="2818" y="1308"/>
                    </a:lnTo>
                    <a:lnTo>
                      <a:pt x="2821" y="1307"/>
                    </a:lnTo>
                    <a:lnTo>
                      <a:pt x="2823" y="1306"/>
                    </a:lnTo>
                    <a:lnTo>
                      <a:pt x="2824" y="1306"/>
                    </a:lnTo>
                    <a:lnTo>
                      <a:pt x="2825" y="1307"/>
                    </a:lnTo>
                    <a:lnTo>
                      <a:pt x="2825" y="1308"/>
                    </a:lnTo>
                    <a:lnTo>
                      <a:pt x="2831" y="1317"/>
                    </a:lnTo>
                    <a:lnTo>
                      <a:pt x="2836" y="1326"/>
                    </a:lnTo>
                    <a:lnTo>
                      <a:pt x="2834" y="1345"/>
                    </a:lnTo>
                    <a:lnTo>
                      <a:pt x="2832" y="1356"/>
                    </a:lnTo>
                    <a:lnTo>
                      <a:pt x="2832" y="1366"/>
                    </a:lnTo>
                    <a:lnTo>
                      <a:pt x="2832" y="1383"/>
                    </a:lnTo>
                    <a:lnTo>
                      <a:pt x="2832" y="1389"/>
                    </a:lnTo>
                    <a:lnTo>
                      <a:pt x="2831" y="1394"/>
                    </a:lnTo>
                    <a:lnTo>
                      <a:pt x="2830" y="1397"/>
                    </a:lnTo>
                    <a:lnTo>
                      <a:pt x="2830" y="1398"/>
                    </a:lnTo>
                    <a:close/>
                    <a:moveTo>
                      <a:pt x="2863" y="1380"/>
                    </a:moveTo>
                    <a:lnTo>
                      <a:pt x="2863" y="1392"/>
                    </a:lnTo>
                    <a:lnTo>
                      <a:pt x="2862" y="1399"/>
                    </a:lnTo>
                    <a:lnTo>
                      <a:pt x="2861" y="1404"/>
                    </a:lnTo>
                    <a:lnTo>
                      <a:pt x="2858" y="1407"/>
                    </a:lnTo>
                    <a:lnTo>
                      <a:pt x="2856" y="1408"/>
                    </a:lnTo>
                    <a:lnTo>
                      <a:pt x="2856" y="1409"/>
                    </a:lnTo>
                    <a:lnTo>
                      <a:pt x="2856" y="1410"/>
                    </a:lnTo>
                    <a:lnTo>
                      <a:pt x="2856" y="1412"/>
                    </a:lnTo>
                    <a:lnTo>
                      <a:pt x="2858" y="1414"/>
                    </a:lnTo>
                    <a:lnTo>
                      <a:pt x="2861" y="1419"/>
                    </a:lnTo>
                    <a:lnTo>
                      <a:pt x="2864" y="1422"/>
                    </a:lnTo>
                    <a:lnTo>
                      <a:pt x="2869" y="1425"/>
                    </a:lnTo>
                    <a:lnTo>
                      <a:pt x="2870" y="1426"/>
                    </a:lnTo>
                    <a:lnTo>
                      <a:pt x="2871" y="1427"/>
                    </a:lnTo>
                    <a:lnTo>
                      <a:pt x="2871" y="1429"/>
                    </a:lnTo>
                    <a:lnTo>
                      <a:pt x="2869" y="1432"/>
                    </a:lnTo>
                    <a:lnTo>
                      <a:pt x="2860" y="1440"/>
                    </a:lnTo>
                    <a:lnTo>
                      <a:pt x="2848" y="1451"/>
                    </a:lnTo>
                    <a:lnTo>
                      <a:pt x="2843" y="1455"/>
                    </a:lnTo>
                    <a:lnTo>
                      <a:pt x="2840" y="1459"/>
                    </a:lnTo>
                    <a:lnTo>
                      <a:pt x="2839" y="1461"/>
                    </a:lnTo>
                    <a:lnTo>
                      <a:pt x="2839" y="1463"/>
                    </a:lnTo>
                    <a:lnTo>
                      <a:pt x="2840" y="1464"/>
                    </a:lnTo>
                    <a:lnTo>
                      <a:pt x="2842" y="1466"/>
                    </a:lnTo>
                    <a:lnTo>
                      <a:pt x="2848" y="1468"/>
                    </a:lnTo>
                    <a:lnTo>
                      <a:pt x="2856" y="1469"/>
                    </a:lnTo>
                    <a:lnTo>
                      <a:pt x="2866" y="1468"/>
                    </a:lnTo>
                    <a:lnTo>
                      <a:pt x="2876" y="1466"/>
                    </a:lnTo>
                    <a:lnTo>
                      <a:pt x="2894" y="1462"/>
                    </a:lnTo>
                    <a:lnTo>
                      <a:pt x="2901" y="1460"/>
                    </a:lnTo>
                    <a:lnTo>
                      <a:pt x="2908" y="1460"/>
                    </a:lnTo>
                    <a:lnTo>
                      <a:pt x="2921" y="1460"/>
                    </a:lnTo>
                    <a:lnTo>
                      <a:pt x="2929" y="1459"/>
                    </a:lnTo>
                    <a:lnTo>
                      <a:pt x="2936" y="1458"/>
                    </a:lnTo>
                    <a:lnTo>
                      <a:pt x="2941" y="1456"/>
                    </a:lnTo>
                    <a:lnTo>
                      <a:pt x="2944" y="1454"/>
                    </a:lnTo>
                    <a:lnTo>
                      <a:pt x="2943" y="1438"/>
                    </a:lnTo>
                    <a:lnTo>
                      <a:pt x="2943" y="1424"/>
                    </a:lnTo>
                    <a:lnTo>
                      <a:pt x="2946" y="1418"/>
                    </a:lnTo>
                    <a:lnTo>
                      <a:pt x="2950" y="1413"/>
                    </a:lnTo>
                    <a:lnTo>
                      <a:pt x="2951" y="1409"/>
                    </a:lnTo>
                    <a:lnTo>
                      <a:pt x="2951" y="1404"/>
                    </a:lnTo>
                    <a:lnTo>
                      <a:pt x="2949" y="1393"/>
                    </a:lnTo>
                    <a:lnTo>
                      <a:pt x="2944" y="1377"/>
                    </a:lnTo>
                    <a:lnTo>
                      <a:pt x="2941" y="1370"/>
                    </a:lnTo>
                    <a:lnTo>
                      <a:pt x="2938" y="1362"/>
                    </a:lnTo>
                    <a:lnTo>
                      <a:pt x="2934" y="1355"/>
                    </a:lnTo>
                    <a:lnTo>
                      <a:pt x="2930" y="1350"/>
                    </a:lnTo>
                    <a:lnTo>
                      <a:pt x="2923" y="1345"/>
                    </a:lnTo>
                    <a:lnTo>
                      <a:pt x="2915" y="1334"/>
                    </a:lnTo>
                    <a:lnTo>
                      <a:pt x="2906" y="1322"/>
                    </a:lnTo>
                    <a:lnTo>
                      <a:pt x="2895" y="1307"/>
                    </a:lnTo>
                    <a:lnTo>
                      <a:pt x="2886" y="1294"/>
                    </a:lnTo>
                    <a:lnTo>
                      <a:pt x="2878" y="1282"/>
                    </a:lnTo>
                    <a:lnTo>
                      <a:pt x="2874" y="1274"/>
                    </a:lnTo>
                    <a:lnTo>
                      <a:pt x="2873" y="1271"/>
                    </a:lnTo>
                    <a:lnTo>
                      <a:pt x="2879" y="1266"/>
                    </a:lnTo>
                    <a:lnTo>
                      <a:pt x="2889" y="1259"/>
                    </a:lnTo>
                    <a:lnTo>
                      <a:pt x="2892" y="1255"/>
                    </a:lnTo>
                    <a:lnTo>
                      <a:pt x="2895" y="1250"/>
                    </a:lnTo>
                    <a:lnTo>
                      <a:pt x="2895" y="1247"/>
                    </a:lnTo>
                    <a:lnTo>
                      <a:pt x="2895" y="1244"/>
                    </a:lnTo>
                    <a:lnTo>
                      <a:pt x="2894" y="1242"/>
                    </a:lnTo>
                    <a:lnTo>
                      <a:pt x="2892" y="1239"/>
                    </a:lnTo>
                    <a:lnTo>
                      <a:pt x="2887" y="1235"/>
                    </a:lnTo>
                    <a:lnTo>
                      <a:pt x="2880" y="1232"/>
                    </a:lnTo>
                    <a:lnTo>
                      <a:pt x="2875" y="1229"/>
                    </a:lnTo>
                    <a:lnTo>
                      <a:pt x="2870" y="1225"/>
                    </a:lnTo>
                    <a:lnTo>
                      <a:pt x="2865" y="1223"/>
                    </a:lnTo>
                    <a:lnTo>
                      <a:pt x="2862" y="1221"/>
                    </a:lnTo>
                    <a:lnTo>
                      <a:pt x="2860" y="1219"/>
                    </a:lnTo>
                    <a:lnTo>
                      <a:pt x="2858" y="1217"/>
                    </a:lnTo>
                    <a:lnTo>
                      <a:pt x="2864" y="1205"/>
                    </a:lnTo>
                    <a:lnTo>
                      <a:pt x="2868" y="1197"/>
                    </a:lnTo>
                    <a:lnTo>
                      <a:pt x="2861" y="1193"/>
                    </a:lnTo>
                    <a:lnTo>
                      <a:pt x="2852" y="1188"/>
                    </a:lnTo>
                    <a:lnTo>
                      <a:pt x="2845" y="1191"/>
                    </a:lnTo>
                    <a:lnTo>
                      <a:pt x="2834" y="1196"/>
                    </a:lnTo>
                    <a:lnTo>
                      <a:pt x="2831" y="1199"/>
                    </a:lnTo>
                    <a:lnTo>
                      <a:pt x="2827" y="1201"/>
                    </a:lnTo>
                    <a:lnTo>
                      <a:pt x="2824" y="1202"/>
                    </a:lnTo>
                    <a:lnTo>
                      <a:pt x="2820" y="1201"/>
                    </a:lnTo>
                    <a:lnTo>
                      <a:pt x="2813" y="1200"/>
                    </a:lnTo>
                    <a:lnTo>
                      <a:pt x="2808" y="1201"/>
                    </a:lnTo>
                    <a:lnTo>
                      <a:pt x="2803" y="1203"/>
                    </a:lnTo>
                    <a:lnTo>
                      <a:pt x="2801" y="1205"/>
                    </a:lnTo>
                    <a:lnTo>
                      <a:pt x="2804" y="1208"/>
                    </a:lnTo>
                    <a:lnTo>
                      <a:pt x="2810" y="1214"/>
                    </a:lnTo>
                    <a:lnTo>
                      <a:pt x="2813" y="1218"/>
                    </a:lnTo>
                    <a:lnTo>
                      <a:pt x="2817" y="1222"/>
                    </a:lnTo>
                    <a:lnTo>
                      <a:pt x="2819" y="1225"/>
                    </a:lnTo>
                    <a:lnTo>
                      <a:pt x="2819" y="1228"/>
                    </a:lnTo>
                    <a:lnTo>
                      <a:pt x="2810" y="1238"/>
                    </a:lnTo>
                    <a:lnTo>
                      <a:pt x="2803" y="1246"/>
                    </a:lnTo>
                    <a:lnTo>
                      <a:pt x="2810" y="1251"/>
                    </a:lnTo>
                    <a:lnTo>
                      <a:pt x="2818" y="1255"/>
                    </a:lnTo>
                    <a:lnTo>
                      <a:pt x="2817" y="1260"/>
                    </a:lnTo>
                    <a:lnTo>
                      <a:pt x="2815" y="1265"/>
                    </a:lnTo>
                    <a:lnTo>
                      <a:pt x="2819" y="1264"/>
                    </a:lnTo>
                    <a:lnTo>
                      <a:pt x="2825" y="1262"/>
                    </a:lnTo>
                    <a:lnTo>
                      <a:pt x="2828" y="1262"/>
                    </a:lnTo>
                    <a:lnTo>
                      <a:pt x="2830" y="1263"/>
                    </a:lnTo>
                    <a:lnTo>
                      <a:pt x="2831" y="1264"/>
                    </a:lnTo>
                    <a:lnTo>
                      <a:pt x="2831" y="1267"/>
                    </a:lnTo>
                    <a:lnTo>
                      <a:pt x="2829" y="1271"/>
                    </a:lnTo>
                    <a:lnTo>
                      <a:pt x="2827" y="1273"/>
                    </a:lnTo>
                    <a:lnTo>
                      <a:pt x="2825" y="1273"/>
                    </a:lnTo>
                    <a:lnTo>
                      <a:pt x="2824" y="1274"/>
                    </a:lnTo>
                    <a:lnTo>
                      <a:pt x="2822" y="1274"/>
                    </a:lnTo>
                    <a:lnTo>
                      <a:pt x="2821" y="1274"/>
                    </a:lnTo>
                    <a:lnTo>
                      <a:pt x="2821" y="1276"/>
                    </a:lnTo>
                    <a:lnTo>
                      <a:pt x="2821" y="1278"/>
                    </a:lnTo>
                    <a:lnTo>
                      <a:pt x="2825" y="1287"/>
                    </a:lnTo>
                    <a:lnTo>
                      <a:pt x="2827" y="1293"/>
                    </a:lnTo>
                    <a:lnTo>
                      <a:pt x="2835" y="1297"/>
                    </a:lnTo>
                    <a:lnTo>
                      <a:pt x="2846" y="1303"/>
                    </a:lnTo>
                    <a:lnTo>
                      <a:pt x="2847" y="1305"/>
                    </a:lnTo>
                    <a:lnTo>
                      <a:pt x="2848" y="1305"/>
                    </a:lnTo>
                    <a:lnTo>
                      <a:pt x="2849" y="1306"/>
                    </a:lnTo>
                    <a:lnTo>
                      <a:pt x="2851" y="1305"/>
                    </a:lnTo>
                    <a:lnTo>
                      <a:pt x="2853" y="1306"/>
                    </a:lnTo>
                    <a:lnTo>
                      <a:pt x="2854" y="1306"/>
                    </a:lnTo>
                    <a:lnTo>
                      <a:pt x="2855" y="1309"/>
                    </a:lnTo>
                    <a:lnTo>
                      <a:pt x="2855" y="1313"/>
                    </a:lnTo>
                    <a:lnTo>
                      <a:pt x="2853" y="1322"/>
                    </a:lnTo>
                    <a:lnTo>
                      <a:pt x="2852" y="1329"/>
                    </a:lnTo>
                    <a:lnTo>
                      <a:pt x="2852" y="1332"/>
                    </a:lnTo>
                    <a:lnTo>
                      <a:pt x="2852" y="1334"/>
                    </a:lnTo>
                    <a:lnTo>
                      <a:pt x="2852" y="1337"/>
                    </a:lnTo>
                    <a:lnTo>
                      <a:pt x="2854" y="1338"/>
                    </a:lnTo>
                    <a:lnTo>
                      <a:pt x="2860" y="1338"/>
                    </a:lnTo>
                    <a:lnTo>
                      <a:pt x="2868" y="1338"/>
                    </a:lnTo>
                    <a:lnTo>
                      <a:pt x="2872" y="1338"/>
                    </a:lnTo>
                    <a:lnTo>
                      <a:pt x="2875" y="1338"/>
                    </a:lnTo>
                    <a:lnTo>
                      <a:pt x="2878" y="1340"/>
                    </a:lnTo>
                    <a:lnTo>
                      <a:pt x="2879" y="1342"/>
                    </a:lnTo>
                    <a:lnTo>
                      <a:pt x="2879" y="1345"/>
                    </a:lnTo>
                    <a:lnTo>
                      <a:pt x="2878" y="1349"/>
                    </a:lnTo>
                    <a:lnTo>
                      <a:pt x="2875" y="1354"/>
                    </a:lnTo>
                    <a:lnTo>
                      <a:pt x="2873" y="1359"/>
                    </a:lnTo>
                    <a:lnTo>
                      <a:pt x="2868" y="1366"/>
                    </a:lnTo>
                    <a:lnTo>
                      <a:pt x="2865" y="1368"/>
                    </a:lnTo>
                    <a:lnTo>
                      <a:pt x="2864" y="1374"/>
                    </a:lnTo>
                    <a:lnTo>
                      <a:pt x="2863" y="138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u="sng">
                  <a:solidFill>
                    <a:srgbClr val="FFFFFF"/>
                  </a:solidFill>
                  <a:latin typeface="Calibri" charset="0"/>
                  <a:ea typeface="ＭＳ Ｐゴシック" charset="-128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92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86390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fr-FR" dirty="0" smtClean="0"/>
              <a:t>Le potentiel </a:t>
            </a:r>
            <a:r>
              <a:rPr lang="fr-FR" dirty="0" err="1" smtClean="0"/>
              <a:t>DataNest</a:t>
            </a:r>
            <a:r>
              <a:rPr lang="fr-FR" dirty="0" smtClean="0"/>
              <a:t>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fr-FR" dirty="0" smtClean="0"/>
              <a:t>17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fr-FR" dirty="0" smtClean="0"/>
              <a:t>Matrice SWOT</a:t>
            </a:r>
            <a:endParaRPr lang="en-US" dirty="0">
              <a:latin typeface="+mn-lt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fr-FR" dirty="0" err="1" smtClean="0"/>
              <a:t>DataNest</a:t>
            </a:r>
            <a:endParaRPr lang="en-US" dirty="0"/>
          </a:p>
        </p:txBody>
      </p:sp>
      <p:sp>
        <p:nvSpPr>
          <p:cNvPr id="18" name="Teardrop 17"/>
          <p:cNvSpPr/>
          <p:nvPr>
            <p:custDataLst>
              <p:tags r:id="rId8"/>
            </p:custDataLst>
          </p:nvPr>
        </p:nvSpPr>
        <p:spPr>
          <a:xfrm>
            <a:off x="2434581" y="3727294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ardrop 18"/>
          <p:cNvSpPr/>
          <p:nvPr>
            <p:custDataLst>
              <p:tags r:id="rId9"/>
            </p:custDataLst>
          </p:nvPr>
        </p:nvSpPr>
        <p:spPr>
          <a:xfrm flipV="1">
            <a:off x="2434581" y="1585913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150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ardrop 20"/>
          <p:cNvSpPr/>
          <p:nvPr>
            <p:custDataLst>
              <p:tags r:id="rId10"/>
            </p:custDataLst>
          </p:nvPr>
        </p:nvSpPr>
        <p:spPr>
          <a:xfrm flipH="1">
            <a:off x="4580467" y="3727294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ardrop 21"/>
          <p:cNvSpPr/>
          <p:nvPr>
            <p:custDataLst>
              <p:tags r:id="rId11"/>
            </p:custDataLst>
          </p:nvPr>
        </p:nvSpPr>
        <p:spPr>
          <a:xfrm flipH="1" flipV="1">
            <a:off x="4580467" y="1585913"/>
            <a:ext cx="2094068" cy="2094068"/>
          </a:xfrm>
          <a:prstGeom prst="teardrop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150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1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625849" y="2055711"/>
            <a:ext cx="1821596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 err="1" smtClean="0">
                <a:latin typeface="Calibri" charset="0"/>
              </a:rPr>
              <a:t>Une</a:t>
            </a:r>
            <a:r>
              <a:rPr lang="en-US" sz="1200" b="1" dirty="0" smtClean="0">
                <a:latin typeface="Calibri" charset="0"/>
              </a:rPr>
              <a:t> </a:t>
            </a:r>
            <a:r>
              <a:rPr lang="en-US" sz="1200" b="1" dirty="0" err="1" smtClean="0">
                <a:latin typeface="Calibri" charset="0"/>
              </a:rPr>
              <a:t>réponse</a:t>
            </a:r>
            <a:r>
              <a:rPr lang="en-US" sz="1200" b="1" dirty="0" smtClean="0">
                <a:latin typeface="Calibri" charset="0"/>
              </a:rPr>
              <a:t> 2.0 au </a:t>
            </a:r>
            <a:r>
              <a:rPr lang="en-US" sz="1200" b="1" dirty="0" err="1" smtClean="0">
                <a:latin typeface="Calibri" charset="0"/>
              </a:rPr>
              <a:t>défis</a:t>
            </a:r>
            <a:r>
              <a:rPr lang="en-US" sz="1200" b="1" dirty="0" smtClean="0">
                <a:latin typeface="Calibri" charset="0"/>
              </a:rPr>
              <a:t> du siècle.</a:t>
            </a:r>
            <a:endParaRPr lang="en-US" sz="1200" b="1" dirty="0">
              <a:latin typeface="Calibri" charset="0"/>
            </a:endParaRP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en-US" sz="1100" noProof="1" smtClean="0">
                <a:latin typeface="Calibri" charset="0"/>
                <a:cs typeface="Arial" charset="0"/>
              </a:rPr>
              <a:t>Speed it Up. Cut the expenses !</a:t>
            </a:r>
            <a:endParaRPr lang="en-US" sz="1100" dirty="0">
              <a:latin typeface="Calibri" charset="0"/>
            </a:endParaRPr>
          </a:p>
        </p:txBody>
      </p:sp>
      <p:sp>
        <p:nvSpPr>
          <p:cNvPr id="26" name="TextBox 1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716703" y="2055711"/>
            <a:ext cx="1821596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 smtClean="0">
                <a:latin typeface="Calibri" charset="0"/>
              </a:rPr>
              <a:t>Un </a:t>
            </a:r>
            <a:r>
              <a:rPr lang="en-US" sz="1200" b="1" dirty="0" err="1" smtClean="0">
                <a:latin typeface="Calibri" charset="0"/>
              </a:rPr>
              <a:t>domaine</a:t>
            </a:r>
            <a:r>
              <a:rPr lang="en-US" sz="1200" b="1" dirty="0" smtClean="0">
                <a:latin typeface="Calibri" charset="0"/>
              </a:rPr>
              <a:t> en </a:t>
            </a:r>
            <a:r>
              <a:rPr lang="en-US" sz="1200" b="1" dirty="0" err="1" smtClean="0">
                <a:latin typeface="Calibri" charset="0"/>
              </a:rPr>
              <a:t>plein</a:t>
            </a:r>
            <a:r>
              <a:rPr lang="en-US" sz="1200" b="1" dirty="0" smtClean="0">
                <a:latin typeface="Calibri" charset="0"/>
              </a:rPr>
              <a:t> “boom”</a:t>
            </a:r>
            <a:endParaRPr lang="en-US" sz="1200" b="1" dirty="0">
              <a:latin typeface="Calibri" charset="0"/>
            </a:endParaRP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fr-CA" sz="1100" dirty="0">
                <a:latin typeface="Calibri" charset="0"/>
                <a:cs typeface="Arial" charset="0"/>
              </a:rPr>
              <a:t>Nouveau concept, incertitude quant au résultat</a:t>
            </a:r>
            <a:endParaRPr lang="en-US" sz="1100" dirty="0">
              <a:latin typeface="Calibri" charset="0"/>
              <a:cs typeface="Arial" charset="0"/>
            </a:endParaRPr>
          </a:p>
        </p:txBody>
      </p:sp>
      <p:sp>
        <p:nvSpPr>
          <p:cNvPr id="27" name="TextBox 12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625849" y="4169347"/>
            <a:ext cx="1821596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 err="1" smtClean="0">
                <a:latin typeface="Calibri" charset="0"/>
              </a:rPr>
              <a:t>L’ingénierie</a:t>
            </a:r>
            <a:r>
              <a:rPr lang="en-US" sz="1200" b="1" dirty="0" smtClean="0">
                <a:latin typeface="Calibri" charset="0"/>
              </a:rPr>
              <a:t> </a:t>
            </a:r>
            <a:r>
              <a:rPr lang="en-US" sz="1200" b="1" dirty="0" err="1" smtClean="0">
                <a:latin typeface="Calibri" charset="0"/>
              </a:rPr>
              <a:t>Sociale</a:t>
            </a:r>
            <a:r>
              <a:rPr lang="en-US" sz="1200" b="1" dirty="0" smtClean="0">
                <a:latin typeface="Calibri" charset="0"/>
              </a:rPr>
              <a:t>.</a:t>
            </a:r>
            <a:endParaRPr lang="en-US" sz="1200" b="1" dirty="0">
              <a:latin typeface="Calibri" charset="0"/>
            </a:endParaRPr>
          </a:p>
          <a:p>
            <a:pPr algn="ctr" eaLnBrk="1" hangingPunct="1"/>
            <a:endParaRPr lang="fr-FR" sz="1100" dirty="0" smtClean="0">
              <a:latin typeface="Calibri" charset="0"/>
            </a:endParaRPr>
          </a:p>
          <a:p>
            <a:pPr algn="ctr" eaLnBrk="1" hangingPunct="1"/>
            <a:endParaRPr lang="en-US" sz="1100" dirty="0">
              <a:latin typeface="Calibri" charset="0"/>
            </a:endParaRPr>
          </a:p>
          <a:p>
            <a:pPr algn="ctr" eaLnBrk="1" hangingPunct="1"/>
            <a:r>
              <a:rPr lang="en-US" sz="1100" noProof="1" smtClean="0">
                <a:latin typeface="Calibri" charset="0"/>
                <a:cs typeface="Arial" charset="0"/>
              </a:rPr>
              <a:t>Construire le client.</a:t>
            </a:r>
            <a:endParaRPr lang="en-US" sz="1100" dirty="0">
              <a:latin typeface="Calibri" charset="0"/>
            </a:endParaRPr>
          </a:p>
        </p:txBody>
      </p:sp>
      <p:sp>
        <p:nvSpPr>
          <p:cNvPr id="28" name="TextBox 1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04003" y="4169347"/>
            <a:ext cx="1821596" cy="81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n-US" sz="1200" b="1" dirty="0" err="1" smtClean="0">
                <a:latin typeface="Calibri" charset="0"/>
              </a:rPr>
              <a:t>Competiteurs</a:t>
            </a:r>
            <a:endParaRPr lang="en-US" sz="1200" b="1" dirty="0" smtClean="0">
              <a:latin typeface="Calibri" charset="0"/>
            </a:endParaRPr>
          </a:p>
          <a:p>
            <a:pPr algn="ctr" eaLnBrk="1" hangingPunct="1"/>
            <a:endParaRPr lang="fr-FR" sz="1200" b="1" dirty="0">
              <a:latin typeface="Calibri" charset="0"/>
            </a:endParaRPr>
          </a:p>
          <a:p>
            <a:pPr algn="ctr" eaLnBrk="1" hangingPunct="1"/>
            <a:endParaRPr lang="en-US" sz="1200" b="1" dirty="0">
              <a:latin typeface="Calibri" charset="0"/>
            </a:endParaRPr>
          </a:p>
          <a:p>
            <a:pPr algn="ctr" eaLnBrk="1" hangingPunct="1"/>
            <a:r>
              <a:rPr lang="fr-FR" sz="1100" dirty="0" err="1" smtClean="0">
                <a:latin typeface="Calibri" charset="0"/>
              </a:rPr>
              <a:t>Digimind</a:t>
            </a:r>
            <a:r>
              <a:rPr lang="fr-FR" sz="1100" dirty="0" smtClean="0">
                <a:latin typeface="Calibri" charset="0"/>
              </a:rPr>
              <a:t>, </a:t>
            </a:r>
            <a:r>
              <a:rPr lang="fr-FR" sz="1100" dirty="0" err="1" smtClean="0">
                <a:latin typeface="Calibri" charset="0"/>
              </a:rPr>
              <a:t>Octo</a:t>
            </a:r>
            <a:r>
              <a:rPr lang="fr-FR" sz="1100" dirty="0" smtClean="0">
                <a:latin typeface="Calibri" charset="0"/>
              </a:rPr>
              <a:t>, </a:t>
            </a:r>
            <a:r>
              <a:rPr lang="fr-FR" sz="1100" dirty="0" err="1" smtClean="0">
                <a:latin typeface="Calibri" charset="0"/>
              </a:rPr>
              <a:t>BoldData</a:t>
            </a:r>
            <a:r>
              <a:rPr lang="fr-FR" sz="1100" dirty="0" smtClean="0">
                <a:latin typeface="Calibri" charset="0"/>
              </a:rPr>
              <a:t>.</a:t>
            </a:r>
            <a:endParaRPr lang="en-US" sz="1100" dirty="0">
              <a:latin typeface="Calibri" charset="0"/>
            </a:endParaRPr>
          </a:p>
        </p:txBody>
      </p:sp>
      <p:sp>
        <p:nvSpPr>
          <p:cNvPr id="20" name="Oval 19"/>
          <p:cNvSpPr/>
          <p:nvPr>
            <p:custDataLst>
              <p:tags r:id="rId16"/>
            </p:custDataLst>
          </p:nvPr>
        </p:nvSpPr>
        <p:spPr>
          <a:xfrm>
            <a:off x="3876675" y="3727294"/>
            <a:ext cx="651975" cy="690952"/>
          </a:xfrm>
          <a:custGeom>
            <a:avLst/>
            <a:gdLst/>
            <a:ahLst/>
            <a:cxnLst/>
            <a:rect l="l" t="t" r="r" b="b"/>
            <a:pathLst>
              <a:path w="651975" h="690952">
                <a:moveTo>
                  <a:pt x="0" y="0"/>
                </a:moveTo>
                <a:lnTo>
                  <a:pt x="651975" y="0"/>
                </a:lnTo>
                <a:lnTo>
                  <a:pt x="651975" y="690952"/>
                </a:lnTo>
                <a:cubicBezTo>
                  <a:pt x="288052" y="671509"/>
                  <a:pt x="1" y="369394"/>
                  <a:pt x="0" y="0"/>
                </a:cubicBezTo>
                <a:close/>
              </a:path>
            </a:pathLst>
          </a:cu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>
            <p:custDataLst>
              <p:tags r:id="rId17"/>
            </p:custDataLst>
          </p:nvPr>
        </p:nvSpPr>
        <p:spPr>
          <a:xfrm>
            <a:off x="4580468" y="3727295"/>
            <a:ext cx="686859" cy="694469"/>
          </a:xfrm>
          <a:custGeom>
            <a:avLst/>
            <a:gdLst/>
            <a:ahLst/>
            <a:cxnLst/>
            <a:rect l="l" t="t" r="r" b="b"/>
            <a:pathLst>
              <a:path w="686859" h="694469">
                <a:moveTo>
                  <a:pt x="0" y="0"/>
                </a:moveTo>
                <a:lnTo>
                  <a:pt x="686859" y="0"/>
                </a:lnTo>
                <a:cubicBezTo>
                  <a:pt x="686858" y="381187"/>
                  <a:pt x="380121" y="690731"/>
                  <a:pt x="0" y="694469"/>
                </a:cubicBezTo>
                <a:close/>
              </a:path>
            </a:pathLst>
          </a:cu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>
            <p:custDataLst>
              <p:tags r:id="rId18"/>
            </p:custDataLst>
          </p:nvPr>
        </p:nvSpPr>
        <p:spPr>
          <a:xfrm>
            <a:off x="4580467" y="3032823"/>
            <a:ext cx="682090" cy="647159"/>
          </a:xfrm>
          <a:custGeom>
            <a:avLst/>
            <a:gdLst/>
            <a:ahLst/>
            <a:cxnLst/>
            <a:rect l="l" t="t" r="r" b="b"/>
            <a:pathLst>
              <a:path w="682090" h="647159">
                <a:moveTo>
                  <a:pt x="0" y="0"/>
                </a:moveTo>
                <a:cubicBezTo>
                  <a:pt x="364194" y="3547"/>
                  <a:pt x="661024" y="287876"/>
                  <a:pt x="682090" y="647159"/>
                </a:cubicBezTo>
                <a:lnTo>
                  <a:pt x="0" y="647159"/>
                </a:lnTo>
                <a:close/>
              </a:path>
            </a:pathLst>
          </a:cu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>
            <p:custDataLst>
              <p:tags r:id="rId19"/>
            </p:custDataLst>
          </p:nvPr>
        </p:nvSpPr>
        <p:spPr>
          <a:xfrm>
            <a:off x="3881445" y="3036339"/>
            <a:ext cx="647205" cy="643643"/>
          </a:xfrm>
          <a:custGeom>
            <a:avLst/>
            <a:gdLst/>
            <a:ahLst/>
            <a:cxnLst/>
            <a:rect l="l" t="t" r="r" b="b"/>
            <a:pathLst>
              <a:path w="647205" h="643643">
                <a:moveTo>
                  <a:pt x="647205" y="0"/>
                </a:moveTo>
                <a:lnTo>
                  <a:pt x="647205" y="643643"/>
                </a:lnTo>
                <a:lnTo>
                  <a:pt x="0" y="643643"/>
                </a:lnTo>
                <a:cubicBezTo>
                  <a:pt x="20283" y="295955"/>
                  <a:pt x="299010" y="18472"/>
                  <a:pt x="647205" y="0"/>
                </a:cubicBezTo>
                <a:close/>
              </a:path>
            </a:pathLst>
          </a:cu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>
            <p:custDataLst>
              <p:tags r:id="rId20"/>
            </p:custDataLst>
          </p:nvPr>
        </p:nvSpPr>
        <p:spPr>
          <a:xfrm>
            <a:off x="4110566" y="3265858"/>
            <a:ext cx="922867" cy="922867"/>
          </a:xfrm>
          <a:prstGeom prst="ellipse">
            <a:avLst/>
          </a:prstGeom>
          <a:solidFill>
            <a:srgbClr val="7F7F7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>
            <p:custDataLst>
              <p:tags r:id="rId21"/>
            </p:custDataLst>
          </p:nvPr>
        </p:nvSpPr>
        <p:spPr>
          <a:xfrm>
            <a:off x="4248256" y="3588793"/>
            <a:ext cx="6474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Calibri" charset="0"/>
              </a:rPr>
              <a:t>Market</a:t>
            </a:r>
            <a:endParaRPr lang="en-US" sz="1200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56127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dirty="0"/>
              <a:t>Investissement de Départ.</a:t>
            </a:r>
            <a:endParaRPr lang="en-US" dirty="0"/>
          </a:p>
        </p:txBody>
      </p:sp>
      <p:pic>
        <p:nvPicPr>
          <p:cNvPr id="4" name="Image1"/>
          <p:cNvPicPr/>
          <p:nvPr/>
        </p:nvPicPr>
        <p:blipFill>
          <a:blip r:embed="rId3">
            <a:lum bright="-50000"/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79" r="19527"/>
          <a:stretch>
            <a:fillRect/>
          </a:stretch>
        </p:blipFill>
        <p:spPr>
          <a:xfrm>
            <a:off x="1219200" y="1524000"/>
            <a:ext cx="6548438" cy="4438650"/>
          </a:xfrm>
          <a:prstGeom prst="rect">
            <a:avLst/>
          </a:prstGeom>
        </p:spPr>
      </p:pic>
      <p:sp>
        <p:nvSpPr>
          <p:cNvPr id="5" name="Slide Number Placeholder 9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4038600" y="640080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57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>
            <a:stCxn id="80" idx="6"/>
            <a:endCxn id="124" idx="2"/>
          </p:cNvCxnSpPr>
          <p:nvPr/>
        </p:nvCxnSpPr>
        <p:spPr>
          <a:xfrm>
            <a:off x="1816569" y="4552484"/>
            <a:ext cx="5577466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 smtClean="0"/>
              <a:t>Comprendre</a:t>
            </a:r>
            <a:r>
              <a:rPr lang="en-US" dirty="0" smtClean="0"/>
              <a:t> qui </a:t>
            </a:r>
            <a:r>
              <a:rPr lang="en-US" dirty="0" err="1" smtClean="0"/>
              <a:t>sont</a:t>
            </a:r>
            <a:r>
              <a:rPr lang="en-US" dirty="0" smtClean="0"/>
              <a:t> les clients de </a:t>
            </a:r>
            <a:r>
              <a:rPr lang="en-US" dirty="0" err="1" smtClean="0"/>
              <a:t>nos</a:t>
            </a:r>
            <a:r>
              <a:rPr lang="en-US" dirty="0" smtClean="0"/>
              <a:t> clients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r>
              <a:rPr lang="en-US" dirty="0" smtClean="0"/>
              <a:t>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1200" dirty="0" err="1" smtClean="0"/>
              <a:t>DataNest</a:t>
            </a:r>
            <a:endParaRPr lang="en-US" sz="1200" dirty="0"/>
          </a:p>
        </p:txBody>
      </p:sp>
      <p:sp>
        <p:nvSpPr>
          <p:cNvPr id="97" name="Rectangle 33"/>
          <p:cNvSpPr>
            <a:spLocks/>
          </p:cNvSpPr>
          <p:nvPr/>
        </p:nvSpPr>
        <p:spPr bwMode="auto">
          <a:xfrm>
            <a:off x="695851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fr-FR" sz="1100" b="1" dirty="0" smtClean="0"/>
              <a:t>Ecoute massive des flux internet à disponibilité.</a:t>
            </a:r>
            <a:endParaRPr lang="en-US" sz="1100" dirty="0"/>
          </a:p>
        </p:txBody>
      </p:sp>
      <p:sp>
        <p:nvSpPr>
          <p:cNvPr id="12" name="Freeform 5"/>
          <p:cNvSpPr>
            <a:spLocks noEditPoints="1"/>
          </p:cNvSpPr>
          <p:nvPr/>
        </p:nvSpPr>
        <p:spPr bwMode="auto">
          <a:xfrm>
            <a:off x="4839857" y="2340504"/>
            <a:ext cx="1408509" cy="1402491"/>
          </a:xfrm>
          <a:custGeom>
            <a:avLst/>
            <a:gdLst>
              <a:gd name="T0" fmla="*/ 2806 w 2806"/>
              <a:gd name="T1" fmla="*/ 2797 h 2797"/>
              <a:gd name="T2" fmla="*/ 2192 w 2806"/>
              <a:gd name="T3" fmla="*/ 2797 h 2797"/>
              <a:gd name="T4" fmla="*/ 1948 w 2806"/>
              <a:gd name="T5" fmla="*/ 2162 h 2797"/>
              <a:gd name="T6" fmla="*/ 829 w 2806"/>
              <a:gd name="T7" fmla="*/ 2162 h 2797"/>
              <a:gd name="T8" fmla="*/ 599 w 2806"/>
              <a:gd name="T9" fmla="*/ 2797 h 2797"/>
              <a:gd name="T10" fmla="*/ 0 w 2806"/>
              <a:gd name="T11" fmla="*/ 2797 h 2797"/>
              <a:gd name="T12" fmla="*/ 1089 w 2806"/>
              <a:gd name="T13" fmla="*/ 0 h 2797"/>
              <a:gd name="T14" fmla="*/ 1686 w 2806"/>
              <a:gd name="T15" fmla="*/ 0 h 2797"/>
              <a:gd name="T16" fmla="*/ 2806 w 2806"/>
              <a:gd name="T17" fmla="*/ 2797 h 2797"/>
              <a:gd name="T18" fmla="*/ 1766 w 2806"/>
              <a:gd name="T19" fmla="*/ 1691 h 2797"/>
              <a:gd name="T20" fmla="*/ 1381 w 2806"/>
              <a:gd name="T21" fmla="*/ 652 h 2797"/>
              <a:gd name="T22" fmla="*/ 1003 w 2806"/>
              <a:gd name="T23" fmla="*/ 1691 h 2797"/>
              <a:gd name="T24" fmla="*/ 1766 w 2806"/>
              <a:gd name="T25" fmla="*/ 1691 h 27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06" h="2797">
                <a:moveTo>
                  <a:pt x="2806" y="2797"/>
                </a:moveTo>
                <a:lnTo>
                  <a:pt x="2192" y="2797"/>
                </a:lnTo>
                <a:lnTo>
                  <a:pt x="1948" y="2162"/>
                </a:lnTo>
                <a:lnTo>
                  <a:pt x="829" y="2162"/>
                </a:lnTo>
                <a:lnTo>
                  <a:pt x="599" y="2797"/>
                </a:lnTo>
                <a:lnTo>
                  <a:pt x="0" y="2797"/>
                </a:lnTo>
                <a:lnTo>
                  <a:pt x="1089" y="0"/>
                </a:lnTo>
                <a:lnTo>
                  <a:pt x="1686" y="0"/>
                </a:lnTo>
                <a:lnTo>
                  <a:pt x="2806" y="2797"/>
                </a:lnTo>
                <a:close/>
                <a:moveTo>
                  <a:pt x="1766" y="1691"/>
                </a:moveTo>
                <a:lnTo>
                  <a:pt x="1381" y="652"/>
                </a:lnTo>
                <a:lnTo>
                  <a:pt x="1003" y="1691"/>
                </a:lnTo>
                <a:lnTo>
                  <a:pt x="1766" y="1691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6404868" y="2352542"/>
            <a:ext cx="989167" cy="1390452"/>
          </a:xfrm>
          <a:custGeom>
            <a:avLst/>
            <a:gdLst>
              <a:gd name="T0" fmla="*/ 0 w 1968"/>
              <a:gd name="T1" fmla="*/ 2775 h 2775"/>
              <a:gd name="T2" fmla="*/ 0 w 1968"/>
              <a:gd name="T3" fmla="*/ 0 h 2775"/>
              <a:gd name="T4" fmla="*/ 563 w 1968"/>
              <a:gd name="T5" fmla="*/ 0 h 2775"/>
              <a:gd name="T6" fmla="*/ 563 w 1968"/>
              <a:gd name="T7" fmla="*/ 2304 h 2775"/>
              <a:gd name="T8" fmla="*/ 1968 w 1968"/>
              <a:gd name="T9" fmla="*/ 2304 h 2775"/>
              <a:gd name="T10" fmla="*/ 1968 w 1968"/>
              <a:gd name="T11" fmla="*/ 2775 h 2775"/>
              <a:gd name="T12" fmla="*/ 0 w 1968"/>
              <a:gd name="T13" fmla="*/ 2775 h 2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68" h="2775">
                <a:moveTo>
                  <a:pt x="0" y="2775"/>
                </a:moveTo>
                <a:lnTo>
                  <a:pt x="0" y="0"/>
                </a:lnTo>
                <a:lnTo>
                  <a:pt x="563" y="0"/>
                </a:lnTo>
                <a:lnTo>
                  <a:pt x="563" y="2304"/>
                </a:lnTo>
                <a:lnTo>
                  <a:pt x="1968" y="2304"/>
                </a:lnTo>
                <a:lnTo>
                  <a:pt x="1968" y="2775"/>
                </a:lnTo>
                <a:lnTo>
                  <a:pt x="0" y="2775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15" name="Freeform 7"/>
          <p:cNvSpPr>
            <a:spLocks/>
          </p:cNvSpPr>
          <p:nvPr/>
        </p:nvSpPr>
        <p:spPr bwMode="auto">
          <a:xfrm>
            <a:off x="1749965" y="2316427"/>
            <a:ext cx="1314208" cy="1450645"/>
          </a:xfrm>
          <a:custGeom>
            <a:avLst/>
            <a:gdLst>
              <a:gd name="T0" fmla="*/ 2593 w 2617"/>
              <a:gd name="T1" fmla="*/ 2481 h 2892"/>
              <a:gd name="T2" fmla="*/ 2460 w 2617"/>
              <a:gd name="T3" fmla="*/ 2582 h 2892"/>
              <a:gd name="T4" fmla="*/ 2297 w 2617"/>
              <a:gd name="T5" fmla="*/ 2676 h 2892"/>
              <a:gd name="T6" fmla="*/ 2101 w 2617"/>
              <a:gd name="T7" fmla="*/ 2763 h 2892"/>
              <a:gd name="T8" fmla="*/ 1890 w 2617"/>
              <a:gd name="T9" fmla="*/ 2831 h 2892"/>
              <a:gd name="T10" fmla="*/ 1677 w 2617"/>
              <a:gd name="T11" fmla="*/ 2874 h 2892"/>
              <a:gd name="T12" fmla="*/ 1463 w 2617"/>
              <a:gd name="T13" fmla="*/ 2892 h 2892"/>
              <a:gd name="T14" fmla="*/ 1207 w 2617"/>
              <a:gd name="T15" fmla="*/ 2881 h 2892"/>
              <a:gd name="T16" fmla="*/ 962 w 2617"/>
              <a:gd name="T17" fmla="*/ 2835 h 2892"/>
              <a:gd name="T18" fmla="*/ 738 w 2617"/>
              <a:gd name="T19" fmla="*/ 2752 h 2892"/>
              <a:gd name="T20" fmla="*/ 538 w 2617"/>
              <a:gd name="T21" fmla="*/ 2634 h 2892"/>
              <a:gd name="T22" fmla="*/ 369 w 2617"/>
              <a:gd name="T23" fmla="*/ 2485 h 2892"/>
              <a:gd name="T24" fmla="*/ 231 w 2617"/>
              <a:gd name="T25" fmla="*/ 2305 h 2892"/>
              <a:gd name="T26" fmla="*/ 125 w 2617"/>
              <a:gd name="T27" fmla="*/ 2095 h 2892"/>
              <a:gd name="T28" fmla="*/ 52 w 2617"/>
              <a:gd name="T29" fmla="*/ 1871 h 2892"/>
              <a:gd name="T30" fmla="*/ 11 w 2617"/>
              <a:gd name="T31" fmla="*/ 1634 h 2892"/>
              <a:gd name="T32" fmla="*/ 1 w 2617"/>
              <a:gd name="T33" fmla="*/ 1382 h 2892"/>
              <a:gd name="T34" fmla="*/ 26 w 2617"/>
              <a:gd name="T35" fmla="*/ 1123 h 2892"/>
              <a:gd name="T36" fmla="*/ 86 w 2617"/>
              <a:gd name="T37" fmla="*/ 882 h 2892"/>
              <a:gd name="T38" fmla="*/ 184 w 2617"/>
              <a:gd name="T39" fmla="*/ 660 h 2892"/>
              <a:gd name="T40" fmla="*/ 314 w 2617"/>
              <a:gd name="T41" fmla="*/ 463 h 2892"/>
              <a:gd name="T42" fmla="*/ 478 w 2617"/>
              <a:gd name="T43" fmla="*/ 297 h 2892"/>
              <a:gd name="T44" fmla="*/ 676 w 2617"/>
              <a:gd name="T45" fmla="*/ 163 h 2892"/>
              <a:gd name="T46" fmla="*/ 863 w 2617"/>
              <a:gd name="T47" fmla="*/ 79 h 2892"/>
              <a:gd name="T48" fmla="*/ 1064 w 2617"/>
              <a:gd name="T49" fmla="*/ 27 h 2892"/>
              <a:gd name="T50" fmla="*/ 1292 w 2617"/>
              <a:gd name="T51" fmla="*/ 2 h 2892"/>
              <a:gd name="T52" fmla="*/ 1577 w 2617"/>
              <a:gd name="T53" fmla="*/ 8 h 2892"/>
              <a:gd name="T54" fmla="*/ 1853 w 2617"/>
              <a:gd name="T55" fmla="*/ 55 h 2892"/>
              <a:gd name="T56" fmla="*/ 2020 w 2617"/>
              <a:gd name="T57" fmla="*/ 113 h 2892"/>
              <a:gd name="T58" fmla="*/ 2126 w 2617"/>
              <a:gd name="T59" fmla="*/ 167 h 2892"/>
              <a:gd name="T60" fmla="*/ 2239 w 2617"/>
              <a:gd name="T61" fmla="*/ 246 h 2892"/>
              <a:gd name="T62" fmla="*/ 2393 w 2617"/>
              <a:gd name="T63" fmla="*/ 406 h 2892"/>
              <a:gd name="T64" fmla="*/ 2506 w 2617"/>
              <a:gd name="T65" fmla="*/ 598 h 2892"/>
              <a:gd name="T66" fmla="*/ 2580 w 2617"/>
              <a:gd name="T67" fmla="*/ 823 h 2892"/>
              <a:gd name="T68" fmla="*/ 1983 w 2617"/>
              <a:gd name="T69" fmla="*/ 829 h 2892"/>
              <a:gd name="T70" fmla="*/ 1919 w 2617"/>
              <a:gd name="T71" fmla="*/ 723 h 2892"/>
              <a:gd name="T72" fmla="*/ 1836 w 2617"/>
              <a:gd name="T73" fmla="*/ 633 h 2892"/>
              <a:gd name="T74" fmla="*/ 1732 w 2617"/>
              <a:gd name="T75" fmla="*/ 562 h 2892"/>
              <a:gd name="T76" fmla="*/ 1613 w 2617"/>
              <a:gd name="T77" fmla="*/ 513 h 2892"/>
              <a:gd name="T78" fmla="*/ 1478 w 2617"/>
              <a:gd name="T79" fmla="*/ 487 h 2892"/>
              <a:gd name="T80" fmla="*/ 1299 w 2617"/>
              <a:gd name="T81" fmla="*/ 486 h 2892"/>
              <a:gd name="T82" fmla="*/ 1094 w 2617"/>
              <a:gd name="T83" fmla="*/ 527 h 2892"/>
              <a:gd name="T84" fmla="*/ 952 w 2617"/>
              <a:gd name="T85" fmla="*/ 594 h 2892"/>
              <a:gd name="T86" fmla="*/ 873 w 2617"/>
              <a:gd name="T87" fmla="*/ 649 h 2892"/>
              <a:gd name="T88" fmla="*/ 774 w 2617"/>
              <a:gd name="T89" fmla="*/ 747 h 2892"/>
              <a:gd name="T90" fmla="*/ 715 w 2617"/>
              <a:gd name="T91" fmla="*/ 831 h 2892"/>
              <a:gd name="T92" fmla="*/ 667 w 2617"/>
              <a:gd name="T93" fmla="*/ 926 h 2892"/>
              <a:gd name="T94" fmla="*/ 624 w 2617"/>
              <a:gd name="T95" fmla="*/ 1053 h 2892"/>
              <a:gd name="T96" fmla="*/ 585 w 2617"/>
              <a:gd name="T97" fmla="*/ 1303 h 2892"/>
              <a:gd name="T98" fmla="*/ 590 w 2617"/>
              <a:gd name="T99" fmla="*/ 1592 h 2892"/>
              <a:gd name="T100" fmla="*/ 637 w 2617"/>
              <a:gd name="T101" fmla="*/ 1850 h 2892"/>
              <a:gd name="T102" fmla="*/ 677 w 2617"/>
              <a:gd name="T103" fmla="*/ 1960 h 2892"/>
              <a:gd name="T104" fmla="*/ 729 w 2617"/>
              <a:gd name="T105" fmla="*/ 2059 h 2892"/>
              <a:gd name="T106" fmla="*/ 790 w 2617"/>
              <a:gd name="T107" fmla="*/ 2145 h 2892"/>
              <a:gd name="T108" fmla="*/ 891 w 2617"/>
              <a:gd name="T109" fmla="*/ 2245 h 2892"/>
              <a:gd name="T110" fmla="*/ 972 w 2617"/>
              <a:gd name="T111" fmla="*/ 2303 h 2892"/>
              <a:gd name="T112" fmla="*/ 1059 w 2617"/>
              <a:gd name="T113" fmla="*/ 2348 h 2892"/>
              <a:gd name="T114" fmla="*/ 1173 w 2617"/>
              <a:gd name="T115" fmla="*/ 2386 h 2892"/>
              <a:gd name="T116" fmla="*/ 1383 w 2617"/>
              <a:gd name="T117" fmla="*/ 2410 h 2892"/>
              <a:gd name="T118" fmla="*/ 1516 w 2617"/>
              <a:gd name="T119" fmla="*/ 2400 h 2892"/>
              <a:gd name="T120" fmla="*/ 1740 w 2617"/>
              <a:gd name="T121" fmla="*/ 2340 h 2892"/>
              <a:gd name="T122" fmla="*/ 1943 w 2617"/>
              <a:gd name="T123" fmla="*/ 2242 h 2892"/>
              <a:gd name="T124" fmla="*/ 1398 w 2617"/>
              <a:gd name="T125" fmla="*/ 1817 h 2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17" h="2892">
                <a:moveTo>
                  <a:pt x="1398" y="1817"/>
                </a:moveTo>
                <a:lnTo>
                  <a:pt x="1398" y="1345"/>
                </a:lnTo>
                <a:lnTo>
                  <a:pt x="2617" y="1345"/>
                </a:lnTo>
                <a:lnTo>
                  <a:pt x="2617" y="2459"/>
                </a:lnTo>
                <a:lnTo>
                  <a:pt x="2593" y="2481"/>
                </a:lnTo>
                <a:lnTo>
                  <a:pt x="2569" y="2501"/>
                </a:lnTo>
                <a:lnTo>
                  <a:pt x="2544" y="2523"/>
                </a:lnTo>
                <a:lnTo>
                  <a:pt x="2517" y="2543"/>
                </a:lnTo>
                <a:lnTo>
                  <a:pt x="2489" y="2563"/>
                </a:lnTo>
                <a:lnTo>
                  <a:pt x="2460" y="2582"/>
                </a:lnTo>
                <a:lnTo>
                  <a:pt x="2430" y="2602"/>
                </a:lnTo>
                <a:lnTo>
                  <a:pt x="2398" y="2621"/>
                </a:lnTo>
                <a:lnTo>
                  <a:pt x="2366" y="2640"/>
                </a:lnTo>
                <a:lnTo>
                  <a:pt x="2331" y="2658"/>
                </a:lnTo>
                <a:lnTo>
                  <a:pt x="2297" y="2676"/>
                </a:lnTo>
                <a:lnTo>
                  <a:pt x="2260" y="2695"/>
                </a:lnTo>
                <a:lnTo>
                  <a:pt x="2222" y="2712"/>
                </a:lnTo>
                <a:lnTo>
                  <a:pt x="2184" y="2729"/>
                </a:lnTo>
                <a:lnTo>
                  <a:pt x="2144" y="2745"/>
                </a:lnTo>
                <a:lnTo>
                  <a:pt x="2101" y="2763"/>
                </a:lnTo>
                <a:lnTo>
                  <a:pt x="2059" y="2778"/>
                </a:lnTo>
                <a:lnTo>
                  <a:pt x="2017" y="2793"/>
                </a:lnTo>
                <a:lnTo>
                  <a:pt x="1975" y="2807"/>
                </a:lnTo>
                <a:lnTo>
                  <a:pt x="1933" y="2819"/>
                </a:lnTo>
                <a:lnTo>
                  <a:pt x="1890" y="2831"/>
                </a:lnTo>
                <a:lnTo>
                  <a:pt x="1848" y="2842"/>
                </a:lnTo>
                <a:lnTo>
                  <a:pt x="1806" y="2851"/>
                </a:lnTo>
                <a:lnTo>
                  <a:pt x="1762" y="2860"/>
                </a:lnTo>
                <a:lnTo>
                  <a:pt x="1720" y="2867"/>
                </a:lnTo>
                <a:lnTo>
                  <a:pt x="1677" y="2874"/>
                </a:lnTo>
                <a:lnTo>
                  <a:pt x="1635" y="2879"/>
                </a:lnTo>
                <a:lnTo>
                  <a:pt x="1592" y="2885"/>
                </a:lnTo>
                <a:lnTo>
                  <a:pt x="1549" y="2888"/>
                </a:lnTo>
                <a:lnTo>
                  <a:pt x="1505" y="2890"/>
                </a:lnTo>
                <a:lnTo>
                  <a:pt x="1463" y="2892"/>
                </a:lnTo>
                <a:lnTo>
                  <a:pt x="1420" y="2892"/>
                </a:lnTo>
                <a:lnTo>
                  <a:pt x="1365" y="2892"/>
                </a:lnTo>
                <a:lnTo>
                  <a:pt x="1312" y="2890"/>
                </a:lnTo>
                <a:lnTo>
                  <a:pt x="1259" y="2886"/>
                </a:lnTo>
                <a:lnTo>
                  <a:pt x="1207" y="2881"/>
                </a:lnTo>
                <a:lnTo>
                  <a:pt x="1157" y="2875"/>
                </a:lnTo>
                <a:lnTo>
                  <a:pt x="1107" y="2866"/>
                </a:lnTo>
                <a:lnTo>
                  <a:pt x="1057" y="2858"/>
                </a:lnTo>
                <a:lnTo>
                  <a:pt x="1009" y="2847"/>
                </a:lnTo>
                <a:lnTo>
                  <a:pt x="962" y="2835"/>
                </a:lnTo>
                <a:lnTo>
                  <a:pt x="915" y="2821"/>
                </a:lnTo>
                <a:lnTo>
                  <a:pt x="869" y="2806"/>
                </a:lnTo>
                <a:lnTo>
                  <a:pt x="825" y="2790"/>
                </a:lnTo>
                <a:lnTo>
                  <a:pt x="781" y="2771"/>
                </a:lnTo>
                <a:lnTo>
                  <a:pt x="738" y="2752"/>
                </a:lnTo>
                <a:lnTo>
                  <a:pt x="695" y="2731"/>
                </a:lnTo>
                <a:lnTo>
                  <a:pt x="654" y="2709"/>
                </a:lnTo>
                <a:lnTo>
                  <a:pt x="614" y="2685"/>
                </a:lnTo>
                <a:lnTo>
                  <a:pt x="576" y="2660"/>
                </a:lnTo>
                <a:lnTo>
                  <a:pt x="538" y="2634"/>
                </a:lnTo>
                <a:lnTo>
                  <a:pt x="501" y="2607"/>
                </a:lnTo>
                <a:lnTo>
                  <a:pt x="466" y="2578"/>
                </a:lnTo>
                <a:lnTo>
                  <a:pt x="433" y="2549"/>
                </a:lnTo>
                <a:lnTo>
                  <a:pt x="401" y="2518"/>
                </a:lnTo>
                <a:lnTo>
                  <a:pt x="369" y="2485"/>
                </a:lnTo>
                <a:lnTo>
                  <a:pt x="339" y="2452"/>
                </a:lnTo>
                <a:lnTo>
                  <a:pt x="310" y="2417"/>
                </a:lnTo>
                <a:lnTo>
                  <a:pt x="283" y="2380"/>
                </a:lnTo>
                <a:lnTo>
                  <a:pt x="256" y="2344"/>
                </a:lnTo>
                <a:lnTo>
                  <a:pt x="231" y="2305"/>
                </a:lnTo>
                <a:lnTo>
                  <a:pt x="207" y="2265"/>
                </a:lnTo>
                <a:lnTo>
                  <a:pt x="186" y="2224"/>
                </a:lnTo>
                <a:lnTo>
                  <a:pt x="164" y="2182"/>
                </a:lnTo>
                <a:lnTo>
                  <a:pt x="145" y="2138"/>
                </a:lnTo>
                <a:lnTo>
                  <a:pt x="125" y="2095"/>
                </a:lnTo>
                <a:lnTo>
                  <a:pt x="108" y="2051"/>
                </a:lnTo>
                <a:lnTo>
                  <a:pt x="93" y="2007"/>
                </a:lnTo>
                <a:lnTo>
                  <a:pt x="78" y="1962"/>
                </a:lnTo>
                <a:lnTo>
                  <a:pt x="64" y="1917"/>
                </a:lnTo>
                <a:lnTo>
                  <a:pt x="52" y="1871"/>
                </a:lnTo>
                <a:lnTo>
                  <a:pt x="41" y="1824"/>
                </a:lnTo>
                <a:lnTo>
                  <a:pt x="31" y="1778"/>
                </a:lnTo>
                <a:lnTo>
                  <a:pt x="23" y="1730"/>
                </a:lnTo>
                <a:lnTo>
                  <a:pt x="16" y="1683"/>
                </a:lnTo>
                <a:lnTo>
                  <a:pt x="11" y="1634"/>
                </a:lnTo>
                <a:lnTo>
                  <a:pt x="5" y="1585"/>
                </a:lnTo>
                <a:lnTo>
                  <a:pt x="2" y="1537"/>
                </a:lnTo>
                <a:lnTo>
                  <a:pt x="1" y="1487"/>
                </a:lnTo>
                <a:lnTo>
                  <a:pt x="0" y="1436"/>
                </a:lnTo>
                <a:lnTo>
                  <a:pt x="1" y="1382"/>
                </a:lnTo>
                <a:lnTo>
                  <a:pt x="3" y="1330"/>
                </a:lnTo>
                <a:lnTo>
                  <a:pt x="6" y="1277"/>
                </a:lnTo>
                <a:lnTo>
                  <a:pt x="12" y="1225"/>
                </a:lnTo>
                <a:lnTo>
                  <a:pt x="18" y="1173"/>
                </a:lnTo>
                <a:lnTo>
                  <a:pt x="26" y="1123"/>
                </a:lnTo>
                <a:lnTo>
                  <a:pt x="36" y="1074"/>
                </a:lnTo>
                <a:lnTo>
                  <a:pt x="46" y="1024"/>
                </a:lnTo>
                <a:lnTo>
                  <a:pt x="58" y="976"/>
                </a:lnTo>
                <a:lnTo>
                  <a:pt x="71" y="929"/>
                </a:lnTo>
                <a:lnTo>
                  <a:pt x="86" y="882"/>
                </a:lnTo>
                <a:lnTo>
                  <a:pt x="103" y="836"/>
                </a:lnTo>
                <a:lnTo>
                  <a:pt x="121" y="791"/>
                </a:lnTo>
                <a:lnTo>
                  <a:pt x="140" y="746"/>
                </a:lnTo>
                <a:lnTo>
                  <a:pt x="161" y="703"/>
                </a:lnTo>
                <a:lnTo>
                  <a:pt x="184" y="660"/>
                </a:lnTo>
                <a:lnTo>
                  <a:pt x="206" y="618"/>
                </a:lnTo>
                <a:lnTo>
                  <a:pt x="231" y="578"/>
                </a:lnTo>
                <a:lnTo>
                  <a:pt x="258" y="538"/>
                </a:lnTo>
                <a:lnTo>
                  <a:pt x="285" y="500"/>
                </a:lnTo>
                <a:lnTo>
                  <a:pt x="314" y="463"/>
                </a:lnTo>
                <a:lnTo>
                  <a:pt x="344" y="428"/>
                </a:lnTo>
                <a:lnTo>
                  <a:pt x="376" y="393"/>
                </a:lnTo>
                <a:lnTo>
                  <a:pt x="409" y="360"/>
                </a:lnTo>
                <a:lnTo>
                  <a:pt x="443" y="328"/>
                </a:lnTo>
                <a:lnTo>
                  <a:pt x="478" y="297"/>
                </a:lnTo>
                <a:lnTo>
                  <a:pt x="515" y="268"/>
                </a:lnTo>
                <a:lnTo>
                  <a:pt x="554" y="240"/>
                </a:lnTo>
                <a:lnTo>
                  <a:pt x="593" y="213"/>
                </a:lnTo>
                <a:lnTo>
                  <a:pt x="634" y="187"/>
                </a:lnTo>
                <a:lnTo>
                  <a:pt x="676" y="163"/>
                </a:lnTo>
                <a:lnTo>
                  <a:pt x="719" y="139"/>
                </a:lnTo>
                <a:lnTo>
                  <a:pt x="754" y="122"/>
                </a:lnTo>
                <a:lnTo>
                  <a:pt x="789" y="107"/>
                </a:lnTo>
                <a:lnTo>
                  <a:pt x="825" y="92"/>
                </a:lnTo>
                <a:lnTo>
                  <a:pt x="863" y="79"/>
                </a:lnTo>
                <a:lnTo>
                  <a:pt x="901" y="66"/>
                </a:lnTo>
                <a:lnTo>
                  <a:pt x="939" y="54"/>
                </a:lnTo>
                <a:lnTo>
                  <a:pt x="981" y="44"/>
                </a:lnTo>
                <a:lnTo>
                  <a:pt x="1022" y="35"/>
                </a:lnTo>
                <a:lnTo>
                  <a:pt x="1064" y="27"/>
                </a:lnTo>
                <a:lnTo>
                  <a:pt x="1107" y="19"/>
                </a:lnTo>
                <a:lnTo>
                  <a:pt x="1151" y="14"/>
                </a:lnTo>
                <a:lnTo>
                  <a:pt x="1198" y="9"/>
                </a:lnTo>
                <a:lnTo>
                  <a:pt x="1244" y="5"/>
                </a:lnTo>
                <a:lnTo>
                  <a:pt x="1292" y="2"/>
                </a:lnTo>
                <a:lnTo>
                  <a:pt x="1340" y="1"/>
                </a:lnTo>
                <a:lnTo>
                  <a:pt x="1389" y="0"/>
                </a:lnTo>
                <a:lnTo>
                  <a:pt x="1454" y="1"/>
                </a:lnTo>
                <a:lnTo>
                  <a:pt x="1516" y="3"/>
                </a:lnTo>
                <a:lnTo>
                  <a:pt x="1577" y="8"/>
                </a:lnTo>
                <a:lnTo>
                  <a:pt x="1635" y="14"/>
                </a:lnTo>
                <a:lnTo>
                  <a:pt x="1692" y="22"/>
                </a:lnTo>
                <a:lnTo>
                  <a:pt x="1747" y="31"/>
                </a:lnTo>
                <a:lnTo>
                  <a:pt x="1801" y="42"/>
                </a:lnTo>
                <a:lnTo>
                  <a:pt x="1853" y="55"/>
                </a:lnTo>
                <a:lnTo>
                  <a:pt x="1903" y="69"/>
                </a:lnTo>
                <a:lnTo>
                  <a:pt x="1951" y="85"/>
                </a:lnTo>
                <a:lnTo>
                  <a:pt x="1975" y="94"/>
                </a:lnTo>
                <a:lnTo>
                  <a:pt x="1998" y="104"/>
                </a:lnTo>
                <a:lnTo>
                  <a:pt x="2020" y="113"/>
                </a:lnTo>
                <a:lnTo>
                  <a:pt x="2042" y="123"/>
                </a:lnTo>
                <a:lnTo>
                  <a:pt x="2064" y="133"/>
                </a:lnTo>
                <a:lnTo>
                  <a:pt x="2085" y="144"/>
                </a:lnTo>
                <a:lnTo>
                  <a:pt x="2106" y="156"/>
                </a:lnTo>
                <a:lnTo>
                  <a:pt x="2126" y="167"/>
                </a:lnTo>
                <a:lnTo>
                  <a:pt x="2146" y="179"/>
                </a:lnTo>
                <a:lnTo>
                  <a:pt x="2165" y="192"/>
                </a:lnTo>
                <a:lnTo>
                  <a:pt x="2185" y="205"/>
                </a:lnTo>
                <a:lnTo>
                  <a:pt x="2203" y="218"/>
                </a:lnTo>
                <a:lnTo>
                  <a:pt x="2239" y="246"/>
                </a:lnTo>
                <a:lnTo>
                  <a:pt x="2272" y="275"/>
                </a:lnTo>
                <a:lnTo>
                  <a:pt x="2306" y="306"/>
                </a:lnTo>
                <a:lnTo>
                  <a:pt x="2336" y="338"/>
                </a:lnTo>
                <a:lnTo>
                  <a:pt x="2365" y="372"/>
                </a:lnTo>
                <a:lnTo>
                  <a:pt x="2393" y="406"/>
                </a:lnTo>
                <a:lnTo>
                  <a:pt x="2419" y="442"/>
                </a:lnTo>
                <a:lnTo>
                  <a:pt x="2444" y="478"/>
                </a:lnTo>
                <a:lnTo>
                  <a:pt x="2466" y="517"/>
                </a:lnTo>
                <a:lnTo>
                  <a:pt x="2487" y="557"/>
                </a:lnTo>
                <a:lnTo>
                  <a:pt x="2506" y="598"/>
                </a:lnTo>
                <a:lnTo>
                  <a:pt x="2525" y="640"/>
                </a:lnTo>
                <a:lnTo>
                  <a:pt x="2541" y="684"/>
                </a:lnTo>
                <a:lnTo>
                  <a:pt x="2555" y="729"/>
                </a:lnTo>
                <a:lnTo>
                  <a:pt x="2568" y="775"/>
                </a:lnTo>
                <a:lnTo>
                  <a:pt x="2580" y="823"/>
                </a:lnTo>
                <a:lnTo>
                  <a:pt x="2019" y="928"/>
                </a:lnTo>
                <a:lnTo>
                  <a:pt x="2011" y="902"/>
                </a:lnTo>
                <a:lnTo>
                  <a:pt x="2002" y="877"/>
                </a:lnTo>
                <a:lnTo>
                  <a:pt x="1993" y="853"/>
                </a:lnTo>
                <a:lnTo>
                  <a:pt x="1983" y="829"/>
                </a:lnTo>
                <a:lnTo>
                  <a:pt x="1972" y="807"/>
                </a:lnTo>
                <a:lnTo>
                  <a:pt x="1960" y="785"/>
                </a:lnTo>
                <a:lnTo>
                  <a:pt x="1947" y="764"/>
                </a:lnTo>
                <a:lnTo>
                  <a:pt x="1933" y="743"/>
                </a:lnTo>
                <a:lnTo>
                  <a:pt x="1919" y="723"/>
                </a:lnTo>
                <a:lnTo>
                  <a:pt x="1904" y="703"/>
                </a:lnTo>
                <a:lnTo>
                  <a:pt x="1888" y="685"/>
                </a:lnTo>
                <a:lnTo>
                  <a:pt x="1871" y="667"/>
                </a:lnTo>
                <a:lnTo>
                  <a:pt x="1854" y="650"/>
                </a:lnTo>
                <a:lnTo>
                  <a:pt x="1836" y="633"/>
                </a:lnTo>
                <a:lnTo>
                  <a:pt x="1816" y="617"/>
                </a:lnTo>
                <a:lnTo>
                  <a:pt x="1796" y="602"/>
                </a:lnTo>
                <a:lnTo>
                  <a:pt x="1775" y="588"/>
                </a:lnTo>
                <a:lnTo>
                  <a:pt x="1754" y="574"/>
                </a:lnTo>
                <a:lnTo>
                  <a:pt x="1732" y="562"/>
                </a:lnTo>
                <a:lnTo>
                  <a:pt x="1709" y="550"/>
                </a:lnTo>
                <a:lnTo>
                  <a:pt x="1687" y="539"/>
                </a:lnTo>
                <a:lnTo>
                  <a:pt x="1663" y="529"/>
                </a:lnTo>
                <a:lnTo>
                  <a:pt x="1638" y="521"/>
                </a:lnTo>
                <a:lnTo>
                  <a:pt x="1613" y="513"/>
                </a:lnTo>
                <a:lnTo>
                  <a:pt x="1587" y="505"/>
                </a:lnTo>
                <a:lnTo>
                  <a:pt x="1560" y="499"/>
                </a:lnTo>
                <a:lnTo>
                  <a:pt x="1533" y="495"/>
                </a:lnTo>
                <a:lnTo>
                  <a:pt x="1506" y="490"/>
                </a:lnTo>
                <a:lnTo>
                  <a:pt x="1478" y="487"/>
                </a:lnTo>
                <a:lnTo>
                  <a:pt x="1449" y="485"/>
                </a:lnTo>
                <a:lnTo>
                  <a:pt x="1419" y="483"/>
                </a:lnTo>
                <a:lnTo>
                  <a:pt x="1389" y="483"/>
                </a:lnTo>
                <a:lnTo>
                  <a:pt x="1343" y="484"/>
                </a:lnTo>
                <a:lnTo>
                  <a:pt x="1299" y="486"/>
                </a:lnTo>
                <a:lnTo>
                  <a:pt x="1256" y="491"/>
                </a:lnTo>
                <a:lnTo>
                  <a:pt x="1214" y="497"/>
                </a:lnTo>
                <a:lnTo>
                  <a:pt x="1173" y="505"/>
                </a:lnTo>
                <a:lnTo>
                  <a:pt x="1133" y="515"/>
                </a:lnTo>
                <a:lnTo>
                  <a:pt x="1094" y="527"/>
                </a:lnTo>
                <a:lnTo>
                  <a:pt x="1057" y="541"/>
                </a:lnTo>
                <a:lnTo>
                  <a:pt x="1020" y="557"/>
                </a:lnTo>
                <a:lnTo>
                  <a:pt x="986" y="575"/>
                </a:lnTo>
                <a:lnTo>
                  <a:pt x="969" y="583"/>
                </a:lnTo>
                <a:lnTo>
                  <a:pt x="952" y="594"/>
                </a:lnTo>
                <a:lnTo>
                  <a:pt x="935" y="604"/>
                </a:lnTo>
                <a:lnTo>
                  <a:pt x="919" y="615"/>
                </a:lnTo>
                <a:lnTo>
                  <a:pt x="904" y="625"/>
                </a:lnTo>
                <a:lnTo>
                  <a:pt x="888" y="637"/>
                </a:lnTo>
                <a:lnTo>
                  <a:pt x="873" y="649"/>
                </a:lnTo>
                <a:lnTo>
                  <a:pt x="857" y="662"/>
                </a:lnTo>
                <a:lnTo>
                  <a:pt x="828" y="689"/>
                </a:lnTo>
                <a:lnTo>
                  <a:pt x="800" y="717"/>
                </a:lnTo>
                <a:lnTo>
                  <a:pt x="787" y="732"/>
                </a:lnTo>
                <a:lnTo>
                  <a:pt x="774" y="747"/>
                </a:lnTo>
                <a:lnTo>
                  <a:pt x="761" y="764"/>
                </a:lnTo>
                <a:lnTo>
                  <a:pt x="749" y="780"/>
                </a:lnTo>
                <a:lnTo>
                  <a:pt x="738" y="796"/>
                </a:lnTo>
                <a:lnTo>
                  <a:pt x="726" y="813"/>
                </a:lnTo>
                <a:lnTo>
                  <a:pt x="715" y="831"/>
                </a:lnTo>
                <a:lnTo>
                  <a:pt x="705" y="849"/>
                </a:lnTo>
                <a:lnTo>
                  <a:pt x="694" y="867"/>
                </a:lnTo>
                <a:lnTo>
                  <a:pt x="686" y="887"/>
                </a:lnTo>
                <a:lnTo>
                  <a:pt x="676" y="906"/>
                </a:lnTo>
                <a:lnTo>
                  <a:pt x="667" y="926"/>
                </a:lnTo>
                <a:lnTo>
                  <a:pt x="659" y="946"/>
                </a:lnTo>
                <a:lnTo>
                  <a:pt x="651" y="967"/>
                </a:lnTo>
                <a:lnTo>
                  <a:pt x="644" y="987"/>
                </a:lnTo>
                <a:lnTo>
                  <a:pt x="637" y="1009"/>
                </a:lnTo>
                <a:lnTo>
                  <a:pt x="624" y="1053"/>
                </a:lnTo>
                <a:lnTo>
                  <a:pt x="613" y="1099"/>
                </a:lnTo>
                <a:lnTo>
                  <a:pt x="604" y="1148"/>
                </a:lnTo>
                <a:lnTo>
                  <a:pt x="596" y="1198"/>
                </a:lnTo>
                <a:lnTo>
                  <a:pt x="590" y="1249"/>
                </a:lnTo>
                <a:lnTo>
                  <a:pt x="585" y="1303"/>
                </a:lnTo>
                <a:lnTo>
                  <a:pt x="583" y="1358"/>
                </a:lnTo>
                <a:lnTo>
                  <a:pt x="582" y="1414"/>
                </a:lnTo>
                <a:lnTo>
                  <a:pt x="583" y="1475"/>
                </a:lnTo>
                <a:lnTo>
                  <a:pt x="585" y="1535"/>
                </a:lnTo>
                <a:lnTo>
                  <a:pt x="590" y="1592"/>
                </a:lnTo>
                <a:lnTo>
                  <a:pt x="596" y="1647"/>
                </a:lnTo>
                <a:lnTo>
                  <a:pt x="604" y="1701"/>
                </a:lnTo>
                <a:lnTo>
                  <a:pt x="613" y="1753"/>
                </a:lnTo>
                <a:lnTo>
                  <a:pt x="624" y="1801"/>
                </a:lnTo>
                <a:lnTo>
                  <a:pt x="637" y="1850"/>
                </a:lnTo>
                <a:lnTo>
                  <a:pt x="645" y="1873"/>
                </a:lnTo>
                <a:lnTo>
                  <a:pt x="652" y="1895"/>
                </a:lnTo>
                <a:lnTo>
                  <a:pt x="660" y="1917"/>
                </a:lnTo>
                <a:lnTo>
                  <a:pt x="668" y="1940"/>
                </a:lnTo>
                <a:lnTo>
                  <a:pt x="677" y="1960"/>
                </a:lnTo>
                <a:lnTo>
                  <a:pt x="687" y="1981"/>
                </a:lnTo>
                <a:lnTo>
                  <a:pt x="697" y="2001"/>
                </a:lnTo>
                <a:lnTo>
                  <a:pt x="706" y="2021"/>
                </a:lnTo>
                <a:lnTo>
                  <a:pt x="717" y="2040"/>
                </a:lnTo>
                <a:lnTo>
                  <a:pt x="729" y="2059"/>
                </a:lnTo>
                <a:lnTo>
                  <a:pt x="740" y="2077"/>
                </a:lnTo>
                <a:lnTo>
                  <a:pt x="752" y="2095"/>
                </a:lnTo>
                <a:lnTo>
                  <a:pt x="765" y="2113"/>
                </a:lnTo>
                <a:lnTo>
                  <a:pt x="776" y="2129"/>
                </a:lnTo>
                <a:lnTo>
                  <a:pt x="790" y="2145"/>
                </a:lnTo>
                <a:lnTo>
                  <a:pt x="803" y="2161"/>
                </a:lnTo>
                <a:lnTo>
                  <a:pt x="831" y="2191"/>
                </a:lnTo>
                <a:lnTo>
                  <a:pt x="861" y="2219"/>
                </a:lnTo>
                <a:lnTo>
                  <a:pt x="876" y="2232"/>
                </a:lnTo>
                <a:lnTo>
                  <a:pt x="891" y="2245"/>
                </a:lnTo>
                <a:lnTo>
                  <a:pt x="907" y="2258"/>
                </a:lnTo>
                <a:lnTo>
                  <a:pt x="923" y="2270"/>
                </a:lnTo>
                <a:lnTo>
                  <a:pt x="938" y="2282"/>
                </a:lnTo>
                <a:lnTo>
                  <a:pt x="956" y="2293"/>
                </a:lnTo>
                <a:lnTo>
                  <a:pt x="972" y="2303"/>
                </a:lnTo>
                <a:lnTo>
                  <a:pt x="989" y="2313"/>
                </a:lnTo>
                <a:lnTo>
                  <a:pt x="1006" y="2322"/>
                </a:lnTo>
                <a:lnTo>
                  <a:pt x="1024" y="2332"/>
                </a:lnTo>
                <a:lnTo>
                  <a:pt x="1041" y="2339"/>
                </a:lnTo>
                <a:lnTo>
                  <a:pt x="1059" y="2348"/>
                </a:lnTo>
                <a:lnTo>
                  <a:pt x="1078" y="2356"/>
                </a:lnTo>
                <a:lnTo>
                  <a:pt x="1096" y="2362"/>
                </a:lnTo>
                <a:lnTo>
                  <a:pt x="1114" y="2368"/>
                </a:lnTo>
                <a:lnTo>
                  <a:pt x="1134" y="2375"/>
                </a:lnTo>
                <a:lnTo>
                  <a:pt x="1173" y="2386"/>
                </a:lnTo>
                <a:lnTo>
                  <a:pt x="1213" y="2394"/>
                </a:lnTo>
                <a:lnTo>
                  <a:pt x="1254" y="2401"/>
                </a:lnTo>
                <a:lnTo>
                  <a:pt x="1296" y="2406"/>
                </a:lnTo>
                <a:lnTo>
                  <a:pt x="1339" y="2410"/>
                </a:lnTo>
                <a:lnTo>
                  <a:pt x="1383" y="2410"/>
                </a:lnTo>
                <a:lnTo>
                  <a:pt x="1406" y="2410"/>
                </a:lnTo>
                <a:lnTo>
                  <a:pt x="1428" y="2408"/>
                </a:lnTo>
                <a:lnTo>
                  <a:pt x="1450" y="2407"/>
                </a:lnTo>
                <a:lnTo>
                  <a:pt x="1472" y="2405"/>
                </a:lnTo>
                <a:lnTo>
                  <a:pt x="1516" y="2400"/>
                </a:lnTo>
                <a:lnTo>
                  <a:pt x="1562" y="2392"/>
                </a:lnTo>
                <a:lnTo>
                  <a:pt x="1606" y="2383"/>
                </a:lnTo>
                <a:lnTo>
                  <a:pt x="1650" y="2371"/>
                </a:lnTo>
                <a:lnTo>
                  <a:pt x="1695" y="2357"/>
                </a:lnTo>
                <a:lnTo>
                  <a:pt x="1740" y="2340"/>
                </a:lnTo>
                <a:lnTo>
                  <a:pt x="1783" y="2322"/>
                </a:lnTo>
                <a:lnTo>
                  <a:pt x="1825" y="2304"/>
                </a:lnTo>
                <a:lnTo>
                  <a:pt x="1866" y="2284"/>
                </a:lnTo>
                <a:lnTo>
                  <a:pt x="1905" y="2264"/>
                </a:lnTo>
                <a:lnTo>
                  <a:pt x="1943" y="2242"/>
                </a:lnTo>
                <a:lnTo>
                  <a:pt x="1978" y="2219"/>
                </a:lnTo>
                <a:lnTo>
                  <a:pt x="2013" y="2196"/>
                </a:lnTo>
                <a:lnTo>
                  <a:pt x="2045" y="2172"/>
                </a:lnTo>
                <a:lnTo>
                  <a:pt x="2045" y="1817"/>
                </a:lnTo>
                <a:lnTo>
                  <a:pt x="1398" y="1817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16" name="Freeform 8"/>
          <p:cNvSpPr>
            <a:spLocks noEditPoints="1"/>
          </p:cNvSpPr>
          <p:nvPr/>
        </p:nvSpPr>
        <p:spPr bwMode="auto">
          <a:xfrm>
            <a:off x="3174526" y="2173970"/>
            <a:ext cx="1733550" cy="1733550"/>
          </a:xfrm>
          <a:custGeom>
            <a:avLst/>
            <a:gdLst>
              <a:gd name="T0" fmla="*/ 2043 w 3456"/>
              <a:gd name="T1" fmla="*/ 373 h 3456"/>
              <a:gd name="T2" fmla="*/ 2320 w 3456"/>
              <a:gd name="T3" fmla="*/ 469 h 3456"/>
              <a:gd name="T4" fmla="*/ 2567 w 3456"/>
              <a:gd name="T5" fmla="*/ 619 h 3456"/>
              <a:gd name="T6" fmla="*/ 2777 w 3456"/>
              <a:gd name="T7" fmla="*/ 814 h 3456"/>
              <a:gd name="T8" fmla="*/ 2942 w 3456"/>
              <a:gd name="T9" fmla="*/ 1050 h 3456"/>
              <a:gd name="T10" fmla="*/ 3057 w 3456"/>
              <a:gd name="T11" fmla="*/ 1318 h 3456"/>
              <a:gd name="T12" fmla="*/ 3113 w 3456"/>
              <a:gd name="T13" fmla="*/ 1611 h 3456"/>
              <a:gd name="T14" fmla="*/ 3106 w 3456"/>
              <a:gd name="T15" fmla="*/ 1913 h 3456"/>
              <a:gd name="T16" fmla="*/ 3037 w 3456"/>
              <a:gd name="T17" fmla="*/ 2201 h 3456"/>
              <a:gd name="T18" fmla="*/ 2909 w 3456"/>
              <a:gd name="T19" fmla="*/ 2461 h 3456"/>
              <a:gd name="T20" fmla="*/ 2733 w 3456"/>
              <a:gd name="T21" fmla="*/ 2689 h 3456"/>
              <a:gd name="T22" fmla="*/ 2515 w 3456"/>
              <a:gd name="T23" fmla="*/ 2875 h 3456"/>
              <a:gd name="T24" fmla="*/ 2260 w 3456"/>
              <a:gd name="T25" fmla="*/ 3013 h 3456"/>
              <a:gd name="T26" fmla="*/ 1977 w 3456"/>
              <a:gd name="T27" fmla="*/ 3096 h 3456"/>
              <a:gd name="T28" fmla="*/ 1678 w 3456"/>
              <a:gd name="T29" fmla="*/ 3118 h 3456"/>
              <a:gd name="T30" fmla="*/ 1380 w 3456"/>
              <a:gd name="T31" fmla="*/ 3076 h 3456"/>
              <a:gd name="T32" fmla="*/ 1107 w 3456"/>
              <a:gd name="T33" fmla="*/ 2973 h 3456"/>
              <a:gd name="T34" fmla="*/ 863 w 3456"/>
              <a:gd name="T35" fmla="*/ 2818 h 3456"/>
              <a:gd name="T36" fmla="*/ 658 w 3456"/>
              <a:gd name="T37" fmla="*/ 2617 h 3456"/>
              <a:gd name="T38" fmla="*/ 498 w 3456"/>
              <a:gd name="T39" fmla="*/ 2378 h 3456"/>
              <a:gd name="T40" fmla="*/ 389 w 3456"/>
              <a:gd name="T41" fmla="*/ 2107 h 3456"/>
              <a:gd name="T42" fmla="*/ 339 w 3456"/>
              <a:gd name="T43" fmla="*/ 1811 h 3456"/>
              <a:gd name="T44" fmla="*/ 354 w 3456"/>
              <a:gd name="T45" fmla="*/ 1511 h 3456"/>
              <a:gd name="T46" fmla="*/ 431 w 3456"/>
              <a:gd name="T47" fmla="*/ 1226 h 3456"/>
              <a:gd name="T48" fmla="*/ 563 w 3456"/>
              <a:gd name="T49" fmla="*/ 968 h 3456"/>
              <a:gd name="T50" fmla="*/ 744 w 3456"/>
              <a:gd name="T51" fmla="*/ 744 h 3456"/>
              <a:gd name="T52" fmla="*/ 968 w 3456"/>
              <a:gd name="T53" fmla="*/ 564 h 3456"/>
              <a:gd name="T54" fmla="*/ 1225 w 3456"/>
              <a:gd name="T55" fmla="*/ 431 h 3456"/>
              <a:gd name="T56" fmla="*/ 1511 w 3456"/>
              <a:gd name="T57" fmla="*/ 354 h 3456"/>
              <a:gd name="T58" fmla="*/ 2572 w 3456"/>
              <a:gd name="T59" fmla="*/ 883 h 3456"/>
              <a:gd name="T60" fmla="*/ 2372 w 3456"/>
              <a:gd name="T61" fmla="*/ 723 h 3456"/>
              <a:gd name="T62" fmla="*/ 2138 w 3456"/>
              <a:gd name="T63" fmla="*/ 607 h 3456"/>
              <a:gd name="T64" fmla="*/ 1880 w 3456"/>
              <a:gd name="T65" fmla="*/ 544 h 3456"/>
              <a:gd name="T66" fmla="*/ 1606 w 3456"/>
              <a:gd name="T67" fmla="*/ 540 h 3456"/>
              <a:gd name="T68" fmla="*/ 1345 w 3456"/>
              <a:gd name="T69" fmla="*/ 597 h 3456"/>
              <a:gd name="T70" fmla="*/ 1109 w 3456"/>
              <a:gd name="T71" fmla="*/ 707 h 3456"/>
              <a:gd name="T72" fmla="*/ 904 w 3456"/>
              <a:gd name="T73" fmla="*/ 864 h 3456"/>
              <a:gd name="T74" fmla="*/ 738 w 3456"/>
              <a:gd name="T75" fmla="*/ 1061 h 3456"/>
              <a:gd name="T76" fmla="*/ 617 w 3456"/>
              <a:gd name="T77" fmla="*/ 1291 h 3456"/>
              <a:gd name="T78" fmla="*/ 548 w 3456"/>
              <a:gd name="T79" fmla="*/ 1547 h 3456"/>
              <a:gd name="T80" fmla="*/ 537 w 3456"/>
              <a:gd name="T81" fmla="*/ 1820 h 3456"/>
              <a:gd name="T82" fmla="*/ 588 w 3456"/>
              <a:gd name="T83" fmla="*/ 2083 h 3456"/>
              <a:gd name="T84" fmla="*/ 692 w 3456"/>
              <a:gd name="T85" fmla="*/ 2322 h 3456"/>
              <a:gd name="T86" fmla="*/ 843 w 3456"/>
              <a:gd name="T87" fmla="*/ 2532 h 3456"/>
              <a:gd name="T88" fmla="*/ 1037 w 3456"/>
              <a:gd name="T89" fmla="*/ 2702 h 3456"/>
              <a:gd name="T90" fmla="*/ 1262 w 3456"/>
              <a:gd name="T91" fmla="*/ 2829 h 3456"/>
              <a:gd name="T92" fmla="*/ 1516 w 3456"/>
              <a:gd name="T93" fmla="*/ 2903 h 3456"/>
              <a:gd name="T94" fmla="*/ 1789 w 3456"/>
              <a:gd name="T95" fmla="*/ 2920 h 3456"/>
              <a:gd name="T96" fmla="*/ 2054 w 3456"/>
              <a:gd name="T97" fmla="*/ 2877 h 3456"/>
              <a:gd name="T98" fmla="*/ 2297 w 3456"/>
              <a:gd name="T99" fmla="*/ 2778 h 3456"/>
              <a:gd name="T100" fmla="*/ 2509 w 3456"/>
              <a:gd name="T101" fmla="*/ 2631 h 3456"/>
              <a:gd name="T102" fmla="*/ 2685 w 3456"/>
              <a:gd name="T103" fmla="*/ 2443 h 3456"/>
              <a:gd name="T104" fmla="*/ 2816 w 3456"/>
              <a:gd name="T105" fmla="*/ 2219 h 3456"/>
              <a:gd name="T106" fmla="*/ 2897 w 3456"/>
              <a:gd name="T107" fmla="*/ 1969 h 3456"/>
              <a:gd name="T108" fmla="*/ 2921 w 3456"/>
              <a:gd name="T109" fmla="*/ 1698 h 3456"/>
              <a:gd name="T110" fmla="*/ 2885 w 3456"/>
              <a:gd name="T111" fmla="*/ 1430 h 3456"/>
              <a:gd name="T112" fmla="*/ 2791 w 3456"/>
              <a:gd name="T113" fmla="*/ 1185 h 3456"/>
              <a:gd name="T114" fmla="*/ 2649 w 3456"/>
              <a:gd name="T115" fmla="*/ 969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3456">
                <a:moveTo>
                  <a:pt x="1777" y="338"/>
                </a:moveTo>
                <a:lnTo>
                  <a:pt x="1811" y="340"/>
                </a:lnTo>
                <a:lnTo>
                  <a:pt x="1845" y="342"/>
                </a:lnTo>
                <a:lnTo>
                  <a:pt x="1878" y="346"/>
                </a:lnTo>
                <a:lnTo>
                  <a:pt x="1912" y="349"/>
                </a:lnTo>
                <a:lnTo>
                  <a:pt x="1945" y="354"/>
                </a:lnTo>
                <a:lnTo>
                  <a:pt x="1977" y="360"/>
                </a:lnTo>
                <a:lnTo>
                  <a:pt x="2011" y="366"/>
                </a:lnTo>
                <a:lnTo>
                  <a:pt x="2043" y="373"/>
                </a:lnTo>
                <a:lnTo>
                  <a:pt x="2075" y="381"/>
                </a:lnTo>
                <a:lnTo>
                  <a:pt x="2107" y="390"/>
                </a:lnTo>
                <a:lnTo>
                  <a:pt x="2138" y="399"/>
                </a:lnTo>
                <a:lnTo>
                  <a:pt x="2170" y="409"/>
                </a:lnTo>
                <a:lnTo>
                  <a:pt x="2200" y="419"/>
                </a:lnTo>
                <a:lnTo>
                  <a:pt x="2230" y="431"/>
                </a:lnTo>
                <a:lnTo>
                  <a:pt x="2260" y="443"/>
                </a:lnTo>
                <a:lnTo>
                  <a:pt x="2291" y="456"/>
                </a:lnTo>
                <a:lnTo>
                  <a:pt x="2320" y="469"/>
                </a:lnTo>
                <a:lnTo>
                  <a:pt x="2349" y="484"/>
                </a:lnTo>
                <a:lnTo>
                  <a:pt x="2378" y="498"/>
                </a:lnTo>
                <a:lnTo>
                  <a:pt x="2406" y="513"/>
                </a:lnTo>
                <a:lnTo>
                  <a:pt x="2434" y="529"/>
                </a:lnTo>
                <a:lnTo>
                  <a:pt x="2461" y="546"/>
                </a:lnTo>
                <a:lnTo>
                  <a:pt x="2488" y="564"/>
                </a:lnTo>
                <a:lnTo>
                  <a:pt x="2515" y="581"/>
                </a:lnTo>
                <a:lnTo>
                  <a:pt x="2541" y="599"/>
                </a:lnTo>
                <a:lnTo>
                  <a:pt x="2567" y="619"/>
                </a:lnTo>
                <a:lnTo>
                  <a:pt x="2592" y="638"/>
                </a:lnTo>
                <a:lnTo>
                  <a:pt x="2617" y="659"/>
                </a:lnTo>
                <a:lnTo>
                  <a:pt x="2642" y="679"/>
                </a:lnTo>
                <a:lnTo>
                  <a:pt x="2665" y="701"/>
                </a:lnTo>
                <a:lnTo>
                  <a:pt x="2688" y="723"/>
                </a:lnTo>
                <a:lnTo>
                  <a:pt x="2711" y="744"/>
                </a:lnTo>
                <a:lnTo>
                  <a:pt x="2733" y="768"/>
                </a:lnTo>
                <a:lnTo>
                  <a:pt x="2755" y="791"/>
                </a:lnTo>
                <a:lnTo>
                  <a:pt x="2777" y="814"/>
                </a:lnTo>
                <a:lnTo>
                  <a:pt x="2797" y="839"/>
                </a:lnTo>
                <a:lnTo>
                  <a:pt x="2818" y="864"/>
                </a:lnTo>
                <a:lnTo>
                  <a:pt x="2837" y="889"/>
                </a:lnTo>
                <a:lnTo>
                  <a:pt x="2856" y="915"/>
                </a:lnTo>
                <a:lnTo>
                  <a:pt x="2875" y="941"/>
                </a:lnTo>
                <a:lnTo>
                  <a:pt x="2892" y="968"/>
                </a:lnTo>
                <a:lnTo>
                  <a:pt x="2909" y="995"/>
                </a:lnTo>
                <a:lnTo>
                  <a:pt x="2927" y="1022"/>
                </a:lnTo>
                <a:lnTo>
                  <a:pt x="2942" y="1050"/>
                </a:lnTo>
                <a:lnTo>
                  <a:pt x="2958" y="1078"/>
                </a:lnTo>
                <a:lnTo>
                  <a:pt x="2972" y="1107"/>
                </a:lnTo>
                <a:lnTo>
                  <a:pt x="2986" y="1136"/>
                </a:lnTo>
                <a:lnTo>
                  <a:pt x="3000" y="1165"/>
                </a:lnTo>
                <a:lnTo>
                  <a:pt x="3013" y="1196"/>
                </a:lnTo>
                <a:lnTo>
                  <a:pt x="3025" y="1226"/>
                </a:lnTo>
                <a:lnTo>
                  <a:pt x="3037" y="1256"/>
                </a:lnTo>
                <a:lnTo>
                  <a:pt x="3047" y="1286"/>
                </a:lnTo>
                <a:lnTo>
                  <a:pt x="3057" y="1318"/>
                </a:lnTo>
                <a:lnTo>
                  <a:pt x="3066" y="1349"/>
                </a:lnTo>
                <a:lnTo>
                  <a:pt x="3075" y="1381"/>
                </a:lnTo>
                <a:lnTo>
                  <a:pt x="3082" y="1413"/>
                </a:lnTo>
                <a:lnTo>
                  <a:pt x="3090" y="1445"/>
                </a:lnTo>
                <a:lnTo>
                  <a:pt x="3096" y="1479"/>
                </a:lnTo>
                <a:lnTo>
                  <a:pt x="3102" y="1511"/>
                </a:lnTo>
                <a:lnTo>
                  <a:pt x="3106" y="1544"/>
                </a:lnTo>
                <a:lnTo>
                  <a:pt x="3110" y="1578"/>
                </a:lnTo>
                <a:lnTo>
                  <a:pt x="3113" y="1611"/>
                </a:lnTo>
                <a:lnTo>
                  <a:pt x="3116" y="1645"/>
                </a:lnTo>
                <a:lnTo>
                  <a:pt x="3118" y="1679"/>
                </a:lnTo>
                <a:lnTo>
                  <a:pt x="3456" y="1679"/>
                </a:lnTo>
                <a:lnTo>
                  <a:pt x="3456" y="1778"/>
                </a:lnTo>
                <a:lnTo>
                  <a:pt x="3118" y="1778"/>
                </a:lnTo>
                <a:lnTo>
                  <a:pt x="3116" y="1811"/>
                </a:lnTo>
                <a:lnTo>
                  <a:pt x="3113" y="1846"/>
                </a:lnTo>
                <a:lnTo>
                  <a:pt x="3110" y="1879"/>
                </a:lnTo>
                <a:lnTo>
                  <a:pt x="3106" y="1913"/>
                </a:lnTo>
                <a:lnTo>
                  <a:pt x="3102" y="1945"/>
                </a:lnTo>
                <a:lnTo>
                  <a:pt x="3096" y="1979"/>
                </a:lnTo>
                <a:lnTo>
                  <a:pt x="3090" y="2011"/>
                </a:lnTo>
                <a:lnTo>
                  <a:pt x="3082" y="2043"/>
                </a:lnTo>
                <a:lnTo>
                  <a:pt x="3075" y="2076"/>
                </a:lnTo>
                <a:lnTo>
                  <a:pt x="3066" y="2107"/>
                </a:lnTo>
                <a:lnTo>
                  <a:pt x="3057" y="2138"/>
                </a:lnTo>
                <a:lnTo>
                  <a:pt x="3047" y="2170"/>
                </a:lnTo>
                <a:lnTo>
                  <a:pt x="3037" y="2201"/>
                </a:lnTo>
                <a:lnTo>
                  <a:pt x="3025" y="2231"/>
                </a:lnTo>
                <a:lnTo>
                  <a:pt x="3013" y="2262"/>
                </a:lnTo>
                <a:lnTo>
                  <a:pt x="3000" y="2291"/>
                </a:lnTo>
                <a:lnTo>
                  <a:pt x="2986" y="2320"/>
                </a:lnTo>
                <a:lnTo>
                  <a:pt x="2972" y="2349"/>
                </a:lnTo>
                <a:lnTo>
                  <a:pt x="2958" y="2378"/>
                </a:lnTo>
                <a:lnTo>
                  <a:pt x="2942" y="2406"/>
                </a:lnTo>
                <a:lnTo>
                  <a:pt x="2927" y="2434"/>
                </a:lnTo>
                <a:lnTo>
                  <a:pt x="2909" y="2461"/>
                </a:lnTo>
                <a:lnTo>
                  <a:pt x="2892" y="2488"/>
                </a:lnTo>
                <a:lnTo>
                  <a:pt x="2875" y="2515"/>
                </a:lnTo>
                <a:lnTo>
                  <a:pt x="2856" y="2541"/>
                </a:lnTo>
                <a:lnTo>
                  <a:pt x="2837" y="2567"/>
                </a:lnTo>
                <a:lnTo>
                  <a:pt x="2818" y="2593"/>
                </a:lnTo>
                <a:lnTo>
                  <a:pt x="2797" y="2617"/>
                </a:lnTo>
                <a:lnTo>
                  <a:pt x="2777" y="2642"/>
                </a:lnTo>
                <a:lnTo>
                  <a:pt x="2755" y="2665"/>
                </a:lnTo>
                <a:lnTo>
                  <a:pt x="2733" y="2689"/>
                </a:lnTo>
                <a:lnTo>
                  <a:pt x="2711" y="2712"/>
                </a:lnTo>
                <a:lnTo>
                  <a:pt x="2688" y="2735"/>
                </a:lnTo>
                <a:lnTo>
                  <a:pt x="2665" y="2756"/>
                </a:lnTo>
                <a:lnTo>
                  <a:pt x="2642" y="2777"/>
                </a:lnTo>
                <a:lnTo>
                  <a:pt x="2617" y="2798"/>
                </a:lnTo>
                <a:lnTo>
                  <a:pt x="2592" y="2818"/>
                </a:lnTo>
                <a:lnTo>
                  <a:pt x="2567" y="2837"/>
                </a:lnTo>
                <a:lnTo>
                  <a:pt x="2541" y="2857"/>
                </a:lnTo>
                <a:lnTo>
                  <a:pt x="2515" y="2875"/>
                </a:lnTo>
                <a:lnTo>
                  <a:pt x="2488" y="2893"/>
                </a:lnTo>
                <a:lnTo>
                  <a:pt x="2461" y="2911"/>
                </a:lnTo>
                <a:lnTo>
                  <a:pt x="2434" y="2927"/>
                </a:lnTo>
                <a:lnTo>
                  <a:pt x="2406" y="2943"/>
                </a:lnTo>
                <a:lnTo>
                  <a:pt x="2378" y="2958"/>
                </a:lnTo>
                <a:lnTo>
                  <a:pt x="2349" y="2973"/>
                </a:lnTo>
                <a:lnTo>
                  <a:pt x="2320" y="2987"/>
                </a:lnTo>
                <a:lnTo>
                  <a:pt x="2291" y="3000"/>
                </a:lnTo>
                <a:lnTo>
                  <a:pt x="2260" y="3013"/>
                </a:lnTo>
                <a:lnTo>
                  <a:pt x="2230" y="3025"/>
                </a:lnTo>
                <a:lnTo>
                  <a:pt x="2200" y="3037"/>
                </a:lnTo>
                <a:lnTo>
                  <a:pt x="2170" y="3048"/>
                </a:lnTo>
                <a:lnTo>
                  <a:pt x="2138" y="3057"/>
                </a:lnTo>
                <a:lnTo>
                  <a:pt x="2107" y="3067"/>
                </a:lnTo>
                <a:lnTo>
                  <a:pt x="2075" y="3076"/>
                </a:lnTo>
                <a:lnTo>
                  <a:pt x="2043" y="3083"/>
                </a:lnTo>
                <a:lnTo>
                  <a:pt x="2011" y="3090"/>
                </a:lnTo>
                <a:lnTo>
                  <a:pt x="1977" y="3096"/>
                </a:lnTo>
                <a:lnTo>
                  <a:pt x="1945" y="3102"/>
                </a:lnTo>
                <a:lnTo>
                  <a:pt x="1912" y="3107"/>
                </a:lnTo>
                <a:lnTo>
                  <a:pt x="1878" y="3111"/>
                </a:lnTo>
                <a:lnTo>
                  <a:pt x="1845" y="3115"/>
                </a:lnTo>
                <a:lnTo>
                  <a:pt x="1811" y="3117"/>
                </a:lnTo>
                <a:lnTo>
                  <a:pt x="1777" y="3118"/>
                </a:lnTo>
                <a:lnTo>
                  <a:pt x="1777" y="3456"/>
                </a:lnTo>
                <a:lnTo>
                  <a:pt x="1678" y="3456"/>
                </a:lnTo>
                <a:lnTo>
                  <a:pt x="1678" y="3118"/>
                </a:lnTo>
                <a:lnTo>
                  <a:pt x="1645" y="3117"/>
                </a:lnTo>
                <a:lnTo>
                  <a:pt x="1610" y="3115"/>
                </a:lnTo>
                <a:lnTo>
                  <a:pt x="1577" y="3111"/>
                </a:lnTo>
                <a:lnTo>
                  <a:pt x="1543" y="3107"/>
                </a:lnTo>
                <a:lnTo>
                  <a:pt x="1511" y="3102"/>
                </a:lnTo>
                <a:lnTo>
                  <a:pt x="1477" y="3096"/>
                </a:lnTo>
                <a:lnTo>
                  <a:pt x="1445" y="3090"/>
                </a:lnTo>
                <a:lnTo>
                  <a:pt x="1413" y="3083"/>
                </a:lnTo>
                <a:lnTo>
                  <a:pt x="1380" y="3076"/>
                </a:lnTo>
                <a:lnTo>
                  <a:pt x="1349" y="3067"/>
                </a:lnTo>
                <a:lnTo>
                  <a:pt x="1318" y="3057"/>
                </a:lnTo>
                <a:lnTo>
                  <a:pt x="1286" y="3048"/>
                </a:lnTo>
                <a:lnTo>
                  <a:pt x="1255" y="3037"/>
                </a:lnTo>
                <a:lnTo>
                  <a:pt x="1225" y="3025"/>
                </a:lnTo>
                <a:lnTo>
                  <a:pt x="1194" y="3013"/>
                </a:lnTo>
                <a:lnTo>
                  <a:pt x="1165" y="3000"/>
                </a:lnTo>
                <a:lnTo>
                  <a:pt x="1136" y="2987"/>
                </a:lnTo>
                <a:lnTo>
                  <a:pt x="1107" y="2973"/>
                </a:lnTo>
                <a:lnTo>
                  <a:pt x="1078" y="2958"/>
                </a:lnTo>
                <a:lnTo>
                  <a:pt x="1050" y="2943"/>
                </a:lnTo>
                <a:lnTo>
                  <a:pt x="1022" y="2927"/>
                </a:lnTo>
                <a:lnTo>
                  <a:pt x="995" y="2911"/>
                </a:lnTo>
                <a:lnTo>
                  <a:pt x="968" y="2893"/>
                </a:lnTo>
                <a:lnTo>
                  <a:pt x="941" y="2875"/>
                </a:lnTo>
                <a:lnTo>
                  <a:pt x="915" y="2857"/>
                </a:lnTo>
                <a:lnTo>
                  <a:pt x="889" y="2837"/>
                </a:lnTo>
                <a:lnTo>
                  <a:pt x="863" y="2818"/>
                </a:lnTo>
                <a:lnTo>
                  <a:pt x="839" y="2798"/>
                </a:lnTo>
                <a:lnTo>
                  <a:pt x="814" y="2777"/>
                </a:lnTo>
                <a:lnTo>
                  <a:pt x="791" y="2756"/>
                </a:lnTo>
                <a:lnTo>
                  <a:pt x="767" y="2735"/>
                </a:lnTo>
                <a:lnTo>
                  <a:pt x="744" y="2712"/>
                </a:lnTo>
                <a:lnTo>
                  <a:pt x="721" y="2689"/>
                </a:lnTo>
                <a:lnTo>
                  <a:pt x="700" y="2665"/>
                </a:lnTo>
                <a:lnTo>
                  <a:pt x="679" y="2642"/>
                </a:lnTo>
                <a:lnTo>
                  <a:pt x="658" y="2617"/>
                </a:lnTo>
                <a:lnTo>
                  <a:pt x="638" y="2593"/>
                </a:lnTo>
                <a:lnTo>
                  <a:pt x="619" y="2567"/>
                </a:lnTo>
                <a:lnTo>
                  <a:pt x="599" y="2541"/>
                </a:lnTo>
                <a:lnTo>
                  <a:pt x="581" y="2515"/>
                </a:lnTo>
                <a:lnTo>
                  <a:pt x="563" y="2488"/>
                </a:lnTo>
                <a:lnTo>
                  <a:pt x="545" y="2461"/>
                </a:lnTo>
                <a:lnTo>
                  <a:pt x="529" y="2434"/>
                </a:lnTo>
                <a:lnTo>
                  <a:pt x="513" y="2406"/>
                </a:lnTo>
                <a:lnTo>
                  <a:pt x="498" y="2378"/>
                </a:lnTo>
                <a:lnTo>
                  <a:pt x="483" y="2349"/>
                </a:lnTo>
                <a:lnTo>
                  <a:pt x="469" y="2320"/>
                </a:lnTo>
                <a:lnTo>
                  <a:pt x="456" y="2291"/>
                </a:lnTo>
                <a:lnTo>
                  <a:pt x="443" y="2262"/>
                </a:lnTo>
                <a:lnTo>
                  <a:pt x="431" y="2231"/>
                </a:lnTo>
                <a:lnTo>
                  <a:pt x="419" y="2201"/>
                </a:lnTo>
                <a:lnTo>
                  <a:pt x="408" y="2170"/>
                </a:lnTo>
                <a:lnTo>
                  <a:pt x="399" y="2138"/>
                </a:lnTo>
                <a:lnTo>
                  <a:pt x="389" y="2107"/>
                </a:lnTo>
                <a:lnTo>
                  <a:pt x="380" y="2076"/>
                </a:lnTo>
                <a:lnTo>
                  <a:pt x="373" y="2043"/>
                </a:lnTo>
                <a:lnTo>
                  <a:pt x="366" y="2011"/>
                </a:lnTo>
                <a:lnTo>
                  <a:pt x="360" y="1979"/>
                </a:lnTo>
                <a:lnTo>
                  <a:pt x="354" y="1945"/>
                </a:lnTo>
                <a:lnTo>
                  <a:pt x="349" y="1913"/>
                </a:lnTo>
                <a:lnTo>
                  <a:pt x="345" y="1879"/>
                </a:lnTo>
                <a:lnTo>
                  <a:pt x="341" y="1846"/>
                </a:lnTo>
                <a:lnTo>
                  <a:pt x="339" y="1811"/>
                </a:lnTo>
                <a:lnTo>
                  <a:pt x="338" y="1778"/>
                </a:lnTo>
                <a:lnTo>
                  <a:pt x="0" y="1778"/>
                </a:lnTo>
                <a:lnTo>
                  <a:pt x="0" y="1679"/>
                </a:lnTo>
                <a:lnTo>
                  <a:pt x="338" y="1679"/>
                </a:lnTo>
                <a:lnTo>
                  <a:pt x="339" y="1645"/>
                </a:lnTo>
                <a:lnTo>
                  <a:pt x="341" y="1611"/>
                </a:lnTo>
                <a:lnTo>
                  <a:pt x="345" y="1578"/>
                </a:lnTo>
                <a:lnTo>
                  <a:pt x="349" y="1544"/>
                </a:lnTo>
                <a:lnTo>
                  <a:pt x="354" y="1511"/>
                </a:lnTo>
                <a:lnTo>
                  <a:pt x="360" y="1479"/>
                </a:lnTo>
                <a:lnTo>
                  <a:pt x="366" y="1445"/>
                </a:lnTo>
                <a:lnTo>
                  <a:pt x="373" y="1413"/>
                </a:lnTo>
                <a:lnTo>
                  <a:pt x="380" y="1381"/>
                </a:lnTo>
                <a:lnTo>
                  <a:pt x="389" y="1349"/>
                </a:lnTo>
                <a:lnTo>
                  <a:pt x="399" y="1318"/>
                </a:lnTo>
                <a:lnTo>
                  <a:pt x="408" y="1286"/>
                </a:lnTo>
                <a:lnTo>
                  <a:pt x="419" y="1256"/>
                </a:lnTo>
                <a:lnTo>
                  <a:pt x="431" y="1226"/>
                </a:lnTo>
                <a:lnTo>
                  <a:pt x="443" y="1196"/>
                </a:lnTo>
                <a:lnTo>
                  <a:pt x="456" y="1165"/>
                </a:lnTo>
                <a:lnTo>
                  <a:pt x="469" y="1136"/>
                </a:lnTo>
                <a:lnTo>
                  <a:pt x="483" y="1107"/>
                </a:lnTo>
                <a:lnTo>
                  <a:pt x="498" y="1078"/>
                </a:lnTo>
                <a:lnTo>
                  <a:pt x="513" y="1050"/>
                </a:lnTo>
                <a:lnTo>
                  <a:pt x="529" y="1022"/>
                </a:lnTo>
                <a:lnTo>
                  <a:pt x="545" y="995"/>
                </a:lnTo>
                <a:lnTo>
                  <a:pt x="563" y="968"/>
                </a:lnTo>
                <a:lnTo>
                  <a:pt x="581" y="941"/>
                </a:lnTo>
                <a:lnTo>
                  <a:pt x="599" y="915"/>
                </a:lnTo>
                <a:lnTo>
                  <a:pt x="619" y="889"/>
                </a:lnTo>
                <a:lnTo>
                  <a:pt x="638" y="864"/>
                </a:lnTo>
                <a:lnTo>
                  <a:pt x="658" y="839"/>
                </a:lnTo>
                <a:lnTo>
                  <a:pt x="679" y="814"/>
                </a:lnTo>
                <a:lnTo>
                  <a:pt x="700" y="791"/>
                </a:lnTo>
                <a:lnTo>
                  <a:pt x="721" y="768"/>
                </a:lnTo>
                <a:lnTo>
                  <a:pt x="744" y="744"/>
                </a:lnTo>
                <a:lnTo>
                  <a:pt x="767" y="723"/>
                </a:lnTo>
                <a:lnTo>
                  <a:pt x="791" y="701"/>
                </a:lnTo>
                <a:lnTo>
                  <a:pt x="814" y="679"/>
                </a:lnTo>
                <a:lnTo>
                  <a:pt x="839" y="659"/>
                </a:lnTo>
                <a:lnTo>
                  <a:pt x="863" y="638"/>
                </a:lnTo>
                <a:lnTo>
                  <a:pt x="889" y="619"/>
                </a:lnTo>
                <a:lnTo>
                  <a:pt x="915" y="599"/>
                </a:lnTo>
                <a:lnTo>
                  <a:pt x="941" y="581"/>
                </a:lnTo>
                <a:lnTo>
                  <a:pt x="968" y="564"/>
                </a:lnTo>
                <a:lnTo>
                  <a:pt x="995" y="546"/>
                </a:lnTo>
                <a:lnTo>
                  <a:pt x="1022" y="529"/>
                </a:lnTo>
                <a:lnTo>
                  <a:pt x="1050" y="513"/>
                </a:lnTo>
                <a:lnTo>
                  <a:pt x="1078" y="498"/>
                </a:lnTo>
                <a:lnTo>
                  <a:pt x="1107" y="484"/>
                </a:lnTo>
                <a:lnTo>
                  <a:pt x="1136" y="469"/>
                </a:lnTo>
                <a:lnTo>
                  <a:pt x="1165" y="456"/>
                </a:lnTo>
                <a:lnTo>
                  <a:pt x="1194" y="443"/>
                </a:lnTo>
                <a:lnTo>
                  <a:pt x="1225" y="431"/>
                </a:lnTo>
                <a:lnTo>
                  <a:pt x="1255" y="419"/>
                </a:lnTo>
                <a:lnTo>
                  <a:pt x="1286" y="409"/>
                </a:lnTo>
                <a:lnTo>
                  <a:pt x="1318" y="399"/>
                </a:lnTo>
                <a:lnTo>
                  <a:pt x="1349" y="390"/>
                </a:lnTo>
                <a:lnTo>
                  <a:pt x="1380" y="381"/>
                </a:lnTo>
                <a:lnTo>
                  <a:pt x="1413" y="373"/>
                </a:lnTo>
                <a:lnTo>
                  <a:pt x="1445" y="366"/>
                </a:lnTo>
                <a:lnTo>
                  <a:pt x="1477" y="360"/>
                </a:lnTo>
                <a:lnTo>
                  <a:pt x="1511" y="354"/>
                </a:lnTo>
                <a:lnTo>
                  <a:pt x="1543" y="349"/>
                </a:lnTo>
                <a:lnTo>
                  <a:pt x="1577" y="346"/>
                </a:lnTo>
                <a:lnTo>
                  <a:pt x="1610" y="342"/>
                </a:lnTo>
                <a:lnTo>
                  <a:pt x="1645" y="340"/>
                </a:lnTo>
                <a:lnTo>
                  <a:pt x="1678" y="338"/>
                </a:lnTo>
                <a:lnTo>
                  <a:pt x="1678" y="0"/>
                </a:lnTo>
                <a:lnTo>
                  <a:pt x="1777" y="0"/>
                </a:lnTo>
                <a:lnTo>
                  <a:pt x="1777" y="338"/>
                </a:lnTo>
                <a:close/>
                <a:moveTo>
                  <a:pt x="2572" y="883"/>
                </a:moveTo>
                <a:lnTo>
                  <a:pt x="2552" y="864"/>
                </a:lnTo>
                <a:lnTo>
                  <a:pt x="2530" y="845"/>
                </a:lnTo>
                <a:lnTo>
                  <a:pt x="2509" y="825"/>
                </a:lnTo>
                <a:lnTo>
                  <a:pt x="2487" y="807"/>
                </a:lnTo>
                <a:lnTo>
                  <a:pt x="2464" y="788"/>
                </a:lnTo>
                <a:lnTo>
                  <a:pt x="2442" y="771"/>
                </a:lnTo>
                <a:lnTo>
                  <a:pt x="2419" y="755"/>
                </a:lnTo>
                <a:lnTo>
                  <a:pt x="2395" y="738"/>
                </a:lnTo>
                <a:lnTo>
                  <a:pt x="2372" y="723"/>
                </a:lnTo>
                <a:lnTo>
                  <a:pt x="2347" y="707"/>
                </a:lnTo>
                <a:lnTo>
                  <a:pt x="2322" y="692"/>
                </a:lnTo>
                <a:lnTo>
                  <a:pt x="2297" y="678"/>
                </a:lnTo>
                <a:lnTo>
                  <a:pt x="2271" y="665"/>
                </a:lnTo>
                <a:lnTo>
                  <a:pt x="2245" y="652"/>
                </a:lnTo>
                <a:lnTo>
                  <a:pt x="2219" y="639"/>
                </a:lnTo>
                <a:lnTo>
                  <a:pt x="2192" y="627"/>
                </a:lnTo>
                <a:lnTo>
                  <a:pt x="2165" y="617"/>
                </a:lnTo>
                <a:lnTo>
                  <a:pt x="2138" y="607"/>
                </a:lnTo>
                <a:lnTo>
                  <a:pt x="2110" y="597"/>
                </a:lnTo>
                <a:lnTo>
                  <a:pt x="2083" y="588"/>
                </a:lnTo>
                <a:lnTo>
                  <a:pt x="2054" y="580"/>
                </a:lnTo>
                <a:lnTo>
                  <a:pt x="2026" y="571"/>
                </a:lnTo>
                <a:lnTo>
                  <a:pt x="1997" y="565"/>
                </a:lnTo>
                <a:lnTo>
                  <a:pt x="1969" y="558"/>
                </a:lnTo>
                <a:lnTo>
                  <a:pt x="1940" y="553"/>
                </a:lnTo>
                <a:lnTo>
                  <a:pt x="1909" y="548"/>
                </a:lnTo>
                <a:lnTo>
                  <a:pt x="1880" y="544"/>
                </a:lnTo>
                <a:lnTo>
                  <a:pt x="1850" y="540"/>
                </a:lnTo>
                <a:lnTo>
                  <a:pt x="1820" y="538"/>
                </a:lnTo>
                <a:lnTo>
                  <a:pt x="1789" y="536"/>
                </a:lnTo>
                <a:lnTo>
                  <a:pt x="1758" y="535"/>
                </a:lnTo>
                <a:lnTo>
                  <a:pt x="1728" y="535"/>
                </a:lnTo>
                <a:lnTo>
                  <a:pt x="1697" y="535"/>
                </a:lnTo>
                <a:lnTo>
                  <a:pt x="1666" y="536"/>
                </a:lnTo>
                <a:lnTo>
                  <a:pt x="1636" y="538"/>
                </a:lnTo>
                <a:lnTo>
                  <a:pt x="1606" y="540"/>
                </a:lnTo>
                <a:lnTo>
                  <a:pt x="1576" y="544"/>
                </a:lnTo>
                <a:lnTo>
                  <a:pt x="1545" y="548"/>
                </a:lnTo>
                <a:lnTo>
                  <a:pt x="1516" y="553"/>
                </a:lnTo>
                <a:lnTo>
                  <a:pt x="1487" y="558"/>
                </a:lnTo>
                <a:lnTo>
                  <a:pt x="1458" y="565"/>
                </a:lnTo>
                <a:lnTo>
                  <a:pt x="1430" y="571"/>
                </a:lnTo>
                <a:lnTo>
                  <a:pt x="1401" y="580"/>
                </a:lnTo>
                <a:lnTo>
                  <a:pt x="1373" y="588"/>
                </a:lnTo>
                <a:lnTo>
                  <a:pt x="1345" y="597"/>
                </a:lnTo>
                <a:lnTo>
                  <a:pt x="1318" y="607"/>
                </a:lnTo>
                <a:lnTo>
                  <a:pt x="1289" y="617"/>
                </a:lnTo>
                <a:lnTo>
                  <a:pt x="1262" y="627"/>
                </a:lnTo>
                <a:lnTo>
                  <a:pt x="1237" y="639"/>
                </a:lnTo>
                <a:lnTo>
                  <a:pt x="1210" y="652"/>
                </a:lnTo>
                <a:lnTo>
                  <a:pt x="1184" y="665"/>
                </a:lnTo>
                <a:lnTo>
                  <a:pt x="1159" y="678"/>
                </a:lnTo>
                <a:lnTo>
                  <a:pt x="1134" y="692"/>
                </a:lnTo>
                <a:lnTo>
                  <a:pt x="1109" y="707"/>
                </a:lnTo>
                <a:lnTo>
                  <a:pt x="1084" y="723"/>
                </a:lnTo>
                <a:lnTo>
                  <a:pt x="1061" y="738"/>
                </a:lnTo>
                <a:lnTo>
                  <a:pt x="1037" y="755"/>
                </a:lnTo>
                <a:lnTo>
                  <a:pt x="1013" y="771"/>
                </a:lnTo>
                <a:lnTo>
                  <a:pt x="990" y="788"/>
                </a:lnTo>
                <a:lnTo>
                  <a:pt x="969" y="807"/>
                </a:lnTo>
                <a:lnTo>
                  <a:pt x="946" y="825"/>
                </a:lnTo>
                <a:lnTo>
                  <a:pt x="924" y="845"/>
                </a:lnTo>
                <a:lnTo>
                  <a:pt x="904" y="864"/>
                </a:lnTo>
                <a:lnTo>
                  <a:pt x="883" y="883"/>
                </a:lnTo>
                <a:lnTo>
                  <a:pt x="864" y="904"/>
                </a:lnTo>
                <a:lnTo>
                  <a:pt x="843" y="926"/>
                </a:lnTo>
                <a:lnTo>
                  <a:pt x="825" y="947"/>
                </a:lnTo>
                <a:lnTo>
                  <a:pt x="807" y="969"/>
                </a:lnTo>
                <a:lnTo>
                  <a:pt x="788" y="991"/>
                </a:lnTo>
                <a:lnTo>
                  <a:pt x="771" y="1014"/>
                </a:lnTo>
                <a:lnTo>
                  <a:pt x="754" y="1037"/>
                </a:lnTo>
                <a:lnTo>
                  <a:pt x="738" y="1061"/>
                </a:lnTo>
                <a:lnTo>
                  <a:pt x="721" y="1084"/>
                </a:lnTo>
                <a:lnTo>
                  <a:pt x="706" y="1109"/>
                </a:lnTo>
                <a:lnTo>
                  <a:pt x="692" y="1134"/>
                </a:lnTo>
                <a:lnTo>
                  <a:pt x="678" y="1159"/>
                </a:lnTo>
                <a:lnTo>
                  <a:pt x="664" y="1185"/>
                </a:lnTo>
                <a:lnTo>
                  <a:pt x="651" y="1211"/>
                </a:lnTo>
                <a:lnTo>
                  <a:pt x="639" y="1237"/>
                </a:lnTo>
                <a:lnTo>
                  <a:pt x="627" y="1264"/>
                </a:lnTo>
                <a:lnTo>
                  <a:pt x="617" y="1291"/>
                </a:lnTo>
                <a:lnTo>
                  <a:pt x="606" y="1318"/>
                </a:lnTo>
                <a:lnTo>
                  <a:pt x="596" y="1346"/>
                </a:lnTo>
                <a:lnTo>
                  <a:pt x="588" y="1373"/>
                </a:lnTo>
                <a:lnTo>
                  <a:pt x="579" y="1402"/>
                </a:lnTo>
                <a:lnTo>
                  <a:pt x="571" y="1430"/>
                </a:lnTo>
                <a:lnTo>
                  <a:pt x="565" y="1458"/>
                </a:lnTo>
                <a:lnTo>
                  <a:pt x="558" y="1487"/>
                </a:lnTo>
                <a:lnTo>
                  <a:pt x="553" y="1516"/>
                </a:lnTo>
                <a:lnTo>
                  <a:pt x="548" y="1547"/>
                </a:lnTo>
                <a:lnTo>
                  <a:pt x="543" y="1576"/>
                </a:lnTo>
                <a:lnTo>
                  <a:pt x="540" y="1606"/>
                </a:lnTo>
                <a:lnTo>
                  <a:pt x="537" y="1636"/>
                </a:lnTo>
                <a:lnTo>
                  <a:pt x="536" y="1666"/>
                </a:lnTo>
                <a:lnTo>
                  <a:pt x="535" y="1698"/>
                </a:lnTo>
                <a:lnTo>
                  <a:pt x="534" y="1728"/>
                </a:lnTo>
                <a:lnTo>
                  <a:pt x="535" y="1759"/>
                </a:lnTo>
                <a:lnTo>
                  <a:pt x="536" y="1790"/>
                </a:lnTo>
                <a:lnTo>
                  <a:pt x="537" y="1820"/>
                </a:lnTo>
                <a:lnTo>
                  <a:pt x="540" y="1850"/>
                </a:lnTo>
                <a:lnTo>
                  <a:pt x="543" y="1880"/>
                </a:lnTo>
                <a:lnTo>
                  <a:pt x="548" y="1911"/>
                </a:lnTo>
                <a:lnTo>
                  <a:pt x="553" y="1940"/>
                </a:lnTo>
                <a:lnTo>
                  <a:pt x="558" y="1969"/>
                </a:lnTo>
                <a:lnTo>
                  <a:pt x="565" y="1998"/>
                </a:lnTo>
                <a:lnTo>
                  <a:pt x="571" y="2026"/>
                </a:lnTo>
                <a:lnTo>
                  <a:pt x="579" y="2055"/>
                </a:lnTo>
                <a:lnTo>
                  <a:pt x="588" y="2083"/>
                </a:lnTo>
                <a:lnTo>
                  <a:pt x="596" y="2111"/>
                </a:lnTo>
                <a:lnTo>
                  <a:pt x="606" y="2138"/>
                </a:lnTo>
                <a:lnTo>
                  <a:pt x="617" y="2166"/>
                </a:lnTo>
                <a:lnTo>
                  <a:pt x="627" y="2193"/>
                </a:lnTo>
                <a:lnTo>
                  <a:pt x="639" y="2219"/>
                </a:lnTo>
                <a:lnTo>
                  <a:pt x="651" y="2245"/>
                </a:lnTo>
                <a:lnTo>
                  <a:pt x="664" y="2271"/>
                </a:lnTo>
                <a:lnTo>
                  <a:pt x="678" y="2297"/>
                </a:lnTo>
                <a:lnTo>
                  <a:pt x="692" y="2322"/>
                </a:lnTo>
                <a:lnTo>
                  <a:pt x="706" y="2347"/>
                </a:lnTo>
                <a:lnTo>
                  <a:pt x="721" y="2372"/>
                </a:lnTo>
                <a:lnTo>
                  <a:pt x="738" y="2395"/>
                </a:lnTo>
                <a:lnTo>
                  <a:pt x="754" y="2419"/>
                </a:lnTo>
                <a:lnTo>
                  <a:pt x="771" y="2443"/>
                </a:lnTo>
                <a:lnTo>
                  <a:pt x="788" y="2466"/>
                </a:lnTo>
                <a:lnTo>
                  <a:pt x="807" y="2487"/>
                </a:lnTo>
                <a:lnTo>
                  <a:pt x="825" y="2510"/>
                </a:lnTo>
                <a:lnTo>
                  <a:pt x="843" y="2532"/>
                </a:lnTo>
                <a:lnTo>
                  <a:pt x="864" y="2552"/>
                </a:lnTo>
                <a:lnTo>
                  <a:pt x="883" y="2573"/>
                </a:lnTo>
                <a:lnTo>
                  <a:pt x="904" y="2592"/>
                </a:lnTo>
                <a:lnTo>
                  <a:pt x="924" y="2613"/>
                </a:lnTo>
                <a:lnTo>
                  <a:pt x="946" y="2631"/>
                </a:lnTo>
                <a:lnTo>
                  <a:pt x="969" y="2649"/>
                </a:lnTo>
                <a:lnTo>
                  <a:pt x="990" y="2668"/>
                </a:lnTo>
                <a:lnTo>
                  <a:pt x="1013" y="2685"/>
                </a:lnTo>
                <a:lnTo>
                  <a:pt x="1037" y="2702"/>
                </a:lnTo>
                <a:lnTo>
                  <a:pt x="1061" y="2718"/>
                </a:lnTo>
                <a:lnTo>
                  <a:pt x="1084" y="2735"/>
                </a:lnTo>
                <a:lnTo>
                  <a:pt x="1109" y="2750"/>
                </a:lnTo>
                <a:lnTo>
                  <a:pt x="1134" y="2764"/>
                </a:lnTo>
                <a:lnTo>
                  <a:pt x="1159" y="2778"/>
                </a:lnTo>
                <a:lnTo>
                  <a:pt x="1184" y="2792"/>
                </a:lnTo>
                <a:lnTo>
                  <a:pt x="1210" y="2805"/>
                </a:lnTo>
                <a:lnTo>
                  <a:pt x="1237" y="2817"/>
                </a:lnTo>
                <a:lnTo>
                  <a:pt x="1262" y="2829"/>
                </a:lnTo>
                <a:lnTo>
                  <a:pt x="1289" y="2839"/>
                </a:lnTo>
                <a:lnTo>
                  <a:pt x="1318" y="2850"/>
                </a:lnTo>
                <a:lnTo>
                  <a:pt x="1345" y="2860"/>
                </a:lnTo>
                <a:lnTo>
                  <a:pt x="1373" y="2868"/>
                </a:lnTo>
                <a:lnTo>
                  <a:pt x="1401" y="2877"/>
                </a:lnTo>
                <a:lnTo>
                  <a:pt x="1430" y="2885"/>
                </a:lnTo>
                <a:lnTo>
                  <a:pt x="1458" y="2891"/>
                </a:lnTo>
                <a:lnTo>
                  <a:pt x="1487" y="2898"/>
                </a:lnTo>
                <a:lnTo>
                  <a:pt x="1516" y="2903"/>
                </a:lnTo>
                <a:lnTo>
                  <a:pt x="1545" y="2908"/>
                </a:lnTo>
                <a:lnTo>
                  <a:pt x="1576" y="2913"/>
                </a:lnTo>
                <a:lnTo>
                  <a:pt x="1606" y="2916"/>
                </a:lnTo>
                <a:lnTo>
                  <a:pt x="1636" y="2919"/>
                </a:lnTo>
                <a:lnTo>
                  <a:pt x="1666" y="2920"/>
                </a:lnTo>
                <a:lnTo>
                  <a:pt x="1697" y="2921"/>
                </a:lnTo>
                <a:lnTo>
                  <a:pt x="1728" y="2922"/>
                </a:lnTo>
                <a:lnTo>
                  <a:pt x="1758" y="2921"/>
                </a:lnTo>
                <a:lnTo>
                  <a:pt x="1789" y="2920"/>
                </a:lnTo>
                <a:lnTo>
                  <a:pt x="1820" y="2919"/>
                </a:lnTo>
                <a:lnTo>
                  <a:pt x="1850" y="2916"/>
                </a:lnTo>
                <a:lnTo>
                  <a:pt x="1880" y="2913"/>
                </a:lnTo>
                <a:lnTo>
                  <a:pt x="1909" y="2908"/>
                </a:lnTo>
                <a:lnTo>
                  <a:pt x="1940" y="2903"/>
                </a:lnTo>
                <a:lnTo>
                  <a:pt x="1969" y="2898"/>
                </a:lnTo>
                <a:lnTo>
                  <a:pt x="1997" y="2891"/>
                </a:lnTo>
                <a:lnTo>
                  <a:pt x="2026" y="2885"/>
                </a:lnTo>
                <a:lnTo>
                  <a:pt x="2054" y="2877"/>
                </a:lnTo>
                <a:lnTo>
                  <a:pt x="2083" y="2868"/>
                </a:lnTo>
                <a:lnTo>
                  <a:pt x="2110" y="2860"/>
                </a:lnTo>
                <a:lnTo>
                  <a:pt x="2138" y="2850"/>
                </a:lnTo>
                <a:lnTo>
                  <a:pt x="2165" y="2839"/>
                </a:lnTo>
                <a:lnTo>
                  <a:pt x="2192" y="2829"/>
                </a:lnTo>
                <a:lnTo>
                  <a:pt x="2219" y="2817"/>
                </a:lnTo>
                <a:lnTo>
                  <a:pt x="2245" y="2805"/>
                </a:lnTo>
                <a:lnTo>
                  <a:pt x="2271" y="2792"/>
                </a:lnTo>
                <a:lnTo>
                  <a:pt x="2297" y="2778"/>
                </a:lnTo>
                <a:lnTo>
                  <a:pt x="2322" y="2764"/>
                </a:lnTo>
                <a:lnTo>
                  <a:pt x="2347" y="2750"/>
                </a:lnTo>
                <a:lnTo>
                  <a:pt x="2372" y="2735"/>
                </a:lnTo>
                <a:lnTo>
                  <a:pt x="2395" y="2718"/>
                </a:lnTo>
                <a:lnTo>
                  <a:pt x="2419" y="2702"/>
                </a:lnTo>
                <a:lnTo>
                  <a:pt x="2442" y="2685"/>
                </a:lnTo>
                <a:lnTo>
                  <a:pt x="2464" y="2668"/>
                </a:lnTo>
                <a:lnTo>
                  <a:pt x="2487" y="2649"/>
                </a:lnTo>
                <a:lnTo>
                  <a:pt x="2509" y="2631"/>
                </a:lnTo>
                <a:lnTo>
                  <a:pt x="2530" y="2613"/>
                </a:lnTo>
                <a:lnTo>
                  <a:pt x="2552" y="2592"/>
                </a:lnTo>
                <a:lnTo>
                  <a:pt x="2572" y="2573"/>
                </a:lnTo>
                <a:lnTo>
                  <a:pt x="2592" y="2552"/>
                </a:lnTo>
                <a:lnTo>
                  <a:pt x="2611" y="2532"/>
                </a:lnTo>
                <a:lnTo>
                  <a:pt x="2631" y="2510"/>
                </a:lnTo>
                <a:lnTo>
                  <a:pt x="2649" y="2487"/>
                </a:lnTo>
                <a:lnTo>
                  <a:pt x="2667" y="2466"/>
                </a:lnTo>
                <a:lnTo>
                  <a:pt x="2685" y="2443"/>
                </a:lnTo>
                <a:lnTo>
                  <a:pt x="2701" y="2419"/>
                </a:lnTo>
                <a:lnTo>
                  <a:pt x="2718" y="2395"/>
                </a:lnTo>
                <a:lnTo>
                  <a:pt x="2733" y="2372"/>
                </a:lnTo>
                <a:lnTo>
                  <a:pt x="2748" y="2347"/>
                </a:lnTo>
                <a:lnTo>
                  <a:pt x="2764" y="2322"/>
                </a:lnTo>
                <a:lnTo>
                  <a:pt x="2778" y="2297"/>
                </a:lnTo>
                <a:lnTo>
                  <a:pt x="2791" y="2271"/>
                </a:lnTo>
                <a:lnTo>
                  <a:pt x="2804" y="2245"/>
                </a:lnTo>
                <a:lnTo>
                  <a:pt x="2816" y="2219"/>
                </a:lnTo>
                <a:lnTo>
                  <a:pt x="2827" y="2193"/>
                </a:lnTo>
                <a:lnTo>
                  <a:pt x="2839" y="2166"/>
                </a:lnTo>
                <a:lnTo>
                  <a:pt x="2849" y="2138"/>
                </a:lnTo>
                <a:lnTo>
                  <a:pt x="2859" y="2111"/>
                </a:lnTo>
                <a:lnTo>
                  <a:pt x="2868" y="2083"/>
                </a:lnTo>
                <a:lnTo>
                  <a:pt x="2876" y="2055"/>
                </a:lnTo>
                <a:lnTo>
                  <a:pt x="2885" y="2026"/>
                </a:lnTo>
                <a:lnTo>
                  <a:pt x="2891" y="1998"/>
                </a:lnTo>
                <a:lnTo>
                  <a:pt x="2897" y="1969"/>
                </a:lnTo>
                <a:lnTo>
                  <a:pt x="2903" y="1940"/>
                </a:lnTo>
                <a:lnTo>
                  <a:pt x="2908" y="1911"/>
                </a:lnTo>
                <a:lnTo>
                  <a:pt x="2912" y="1880"/>
                </a:lnTo>
                <a:lnTo>
                  <a:pt x="2916" y="1850"/>
                </a:lnTo>
                <a:lnTo>
                  <a:pt x="2918" y="1820"/>
                </a:lnTo>
                <a:lnTo>
                  <a:pt x="2920" y="1790"/>
                </a:lnTo>
                <a:lnTo>
                  <a:pt x="2921" y="1759"/>
                </a:lnTo>
                <a:lnTo>
                  <a:pt x="2921" y="1728"/>
                </a:lnTo>
                <a:lnTo>
                  <a:pt x="2921" y="1698"/>
                </a:lnTo>
                <a:lnTo>
                  <a:pt x="2920" y="1666"/>
                </a:lnTo>
                <a:lnTo>
                  <a:pt x="2918" y="1636"/>
                </a:lnTo>
                <a:lnTo>
                  <a:pt x="2916" y="1606"/>
                </a:lnTo>
                <a:lnTo>
                  <a:pt x="2912" y="1576"/>
                </a:lnTo>
                <a:lnTo>
                  <a:pt x="2908" y="1547"/>
                </a:lnTo>
                <a:lnTo>
                  <a:pt x="2903" y="1516"/>
                </a:lnTo>
                <a:lnTo>
                  <a:pt x="2897" y="1487"/>
                </a:lnTo>
                <a:lnTo>
                  <a:pt x="2891" y="1458"/>
                </a:lnTo>
                <a:lnTo>
                  <a:pt x="2885" y="1430"/>
                </a:lnTo>
                <a:lnTo>
                  <a:pt x="2876" y="1402"/>
                </a:lnTo>
                <a:lnTo>
                  <a:pt x="2868" y="1373"/>
                </a:lnTo>
                <a:lnTo>
                  <a:pt x="2859" y="1346"/>
                </a:lnTo>
                <a:lnTo>
                  <a:pt x="2849" y="1318"/>
                </a:lnTo>
                <a:lnTo>
                  <a:pt x="2839" y="1291"/>
                </a:lnTo>
                <a:lnTo>
                  <a:pt x="2827" y="1264"/>
                </a:lnTo>
                <a:lnTo>
                  <a:pt x="2816" y="1237"/>
                </a:lnTo>
                <a:lnTo>
                  <a:pt x="2804" y="1211"/>
                </a:lnTo>
                <a:lnTo>
                  <a:pt x="2791" y="1185"/>
                </a:lnTo>
                <a:lnTo>
                  <a:pt x="2778" y="1159"/>
                </a:lnTo>
                <a:lnTo>
                  <a:pt x="2764" y="1134"/>
                </a:lnTo>
                <a:lnTo>
                  <a:pt x="2748" y="1109"/>
                </a:lnTo>
                <a:lnTo>
                  <a:pt x="2733" y="1084"/>
                </a:lnTo>
                <a:lnTo>
                  <a:pt x="2718" y="1061"/>
                </a:lnTo>
                <a:lnTo>
                  <a:pt x="2701" y="1037"/>
                </a:lnTo>
                <a:lnTo>
                  <a:pt x="2685" y="1014"/>
                </a:lnTo>
                <a:lnTo>
                  <a:pt x="2667" y="991"/>
                </a:lnTo>
                <a:lnTo>
                  <a:pt x="2649" y="969"/>
                </a:lnTo>
                <a:lnTo>
                  <a:pt x="2631" y="947"/>
                </a:lnTo>
                <a:lnTo>
                  <a:pt x="2611" y="926"/>
                </a:lnTo>
                <a:lnTo>
                  <a:pt x="2592" y="904"/>
                </a:lnTo>
                <a:lnTo>
                  <a:pt x="2572" y="883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9"/>
          <p:cNvSpPr>
            <a:spLocks noEditPoints="1"/>
          </p:cNvSpPr>
          <p:nvPr/>
        </p:nvSpPr>
        <p:spPr bwMode="auto">
          <a:xfrm>
            <a:off x="3607913" y="2607358"/>
            <a:ext cx="866775" cy="866775"/>
          </a:xfrm>
          <a:custGeom>
            <a:avLst/>
            <a:gdLst>
              <a:gd name="T0" fmla="*/ 952 w 1727"/>
              <a:gd name="T1" fmla="*/ 4 h 1727"/>
              <a:gd name="T2" fmla="*/ 1080 w 1727"/>
              <a:gd name="T3" fmla="*/ 27 h 1727"/>
              <a:gd name="T4" fmla="*/ 1275 w 1727"/>
              <a:gd name="T5" fmla="*/ 104 h 1727"/>
              <a:gd name="T6" fmla="*/ 1444 w 1727"/>
              <a:gd name="T7" fmla="*/ 224 h 1727"/>
              <a:gd name="T8" fmla="*/ 1580 w 1727"/>
              <a:gd name="T9" fmla="*/ 380 h 1727"/>
              <a:gd name="T10" fmla="*/ 1675 w 1727"/>
              <a:gd name="T11" fmla="*/ 566 h 1727"/>
              <a:gd name="T12" fmla="*/ 1717 w 1727"/>
              <a:gd name="T13" fmla="*/ 731 h 1727"/>
              <a:gd name="T14" fmla="*/ 1727 w 1727"/>
              <a:gd name="T15" fmla="*/ 841 h 1727"/>
              <a:gd name="T16" fmla="*/ 1722 w 1727"/>
              <a:gd name="T17" fmla="*/ 952 h 1727"/>
              <a:gd name="T18" fmla="*/ 1700 w 1727"/>
              <a:gd name="T19" fmla="*/ 1079 h 1727"/>
              <a:gd name="T20" fmla="*/ 1623 w 1727"/>
              <a:gd name="T21" fmla="*/ 1274 h 1727"/>
              <a:gd name="T22" fmla="*/ 1503 w 1727"/>
              <a:gd name="T23" fmla="*/ 1444 h 1727"/>
              <a:gd name="T24" fmla="*/ 1347 w 1727"/>
              <a:gd name="T25" fmla="*/ 1579 h 1727"/>
              <a:gd name="T26" fmla="*/ 1161 w 1727"/>
              <a:gd name="T27" fmla="*/ 1674 h 1727"/>
              <a:gd name="T28" fmla="*/ 996 w 1727"/>
              <a:gd name="T29" fmla="*/ 1716 h 1727"/>
              <a:gd name="T30" fmla="*/ 886 w 1727"/>
              <a:gd name="T31" fmla="*/ 1726 h 1727"/>
              <a:gd name="T32" fmla="*/ 775 w 1727"/>
              <a:gd name="T33" fmla="*/ 1722 h 1727"/>
              <a:gd name="T34" fmla="*/ 648 w 1727"/>
              <a:gd name="T35" fmla="*/ 1699 h 1727"/>
              <a:gd name="T36" fmla="*/ 452 w 1727"/>
              <a:gd name="T37" fmla="*/ 1622 h 1727"/>
              <a:gd name="T38" fmla="*/ 283 w 1727"/>
              <a:gd name="T39" fmla="*/ 1502 h 1727"/>
              <a:gd name="T40" fmla="*/ 148 w 1727"/>
              <a:gd name="T41" fmla="*/ 1346 h 1727"/>
              <a:gd name="T42" fmla="*/ 53 w 1727"/>
              <a:gd name="T43" fmla="*/ 1160 h 1727"/>
              <a:gd name="T44" fmla="*/ 11 w 1727"/>
              <a:gd name="T45" fmla="*/ 995 h 1727"/>
              <a:gd name="T46" fmla="*/ 1 w 1727"/>
              <a:gd name="T47" fmla="*/ 886 h 1727"/>
              <a:gd name="T48" fmla="*/ 5 w 1727"/>
              <a:gd name="T49" fmla="*/ 774 h 1727"/>
              <a:gd name="T50" fmla="*/ 28 w 1727"/>
              <a:gd name="T51" fmla="*/ 647 h 1727"/>
              <a:gd name="T52" fmla="*/ 105 w 1727"/>
              <a:gd name="T53" fmla="*/ 452 h 1727"/>
              <a:gd name="T54" fmla="*/ 225 w 1727"/>
              <a:gd name="T55" fmla="*/ 283 h 1727"/>
              <a:gd name="T56" fmla="*/ 381 w 1727"/>
              <a:gd name="T57" fmla="*/ 147 h 1727"/>
              <a:gd name="T58" fmla="*/ 567 w 1727"/>
              <a:gd name="T59" fmla="*/ 52 h 1727"/>
              <a:gd name="T60" fmla="*/ 732 w 1727"/>
              <a:gd name="T61" fmla="*/ 10 h 1727"/>
              <a:gd name="T62" fmla="*/ 841 w 1727"/>
              <a:gd name="T63" fmla="*/ 0 h 1727"/>
              <a:gd name="T64" fmla="*/ 1262 w 1727"/>
              <a:gd name="T65" fmla="*/ 329 h 1727"/>
              <a:gd name="T66" fmla="*/ 1123 w 1727"/>
              <a:gd name="T67" fmla="*/ 250 h 1727"/>
              <a:gd name="T68" fmla="*/ 965 w 1727"/>
              <a:gd name="T69" fmla="*/ 204 h 1727"/>
              <a:gd name="T70" fmla="*/ 796 w 1727"/>
              <a:gd name="T71" fmla="*/ 200 h 1727"/>
              <a:gd name="T72" fmla="*/ 635 w 1727"/>
              <a:gd name="T73" fmla="*/ 238 h 1727"/>
              <a:gd name="T74" fmla="*/ 491 w 1727"/>
              <a:gd name="T75" fmla="*/ 310 h 1727"/>
              <a:gd name="T76" fmla="*/ 370 w 1727"/>
              <a:gd name="T77" fmla="*/ 415 h 1727"/>
              <a:gd name="T78" fmla="*/ 278 w 1727"/>
              <a:gd name="T79" fmla="*/ 545 h 1727"/>
              <a:gd name="T80" fmla="*/ 218 w 1727"/>
              <a:gd name="T81" fmla="*/ 697 h 1727"/>
              <a:gd name="T82" fmla="*/ 198 w 1727"/>
              <a:gd name="T83" fmla="*/ 863 h 1727"/>
              <a:gd name="T84" fmla="*/ 218 w 1727"/>
              <a:gd name="T85" fmla="*/ 1029 h 1727"/>
              <a:gd name="T86" fmla="*/ 278 w 1727"/>
              <a:gd name="T87" fmla="*/ 1181 h 1727"/>
              <a:gd name="T88" fmla="*/ 370 w 1727"/>
              <a:gd name="T89" fmla="*/ 1311 h 1727"/>
              <a:gd name="T90" fmla="*/ 491 w 1727"/>
              <a:gd name="T91" fmla="*/ 1416 h 1727"/>
              <a:gd name="T92" fmla="*/ 635 w 1727"/>
              <a:gd name="T93" fmla="*/ 1489 h 1727"/>
              <a:gd name="T94" fmla="*/ 796 w 1727"/>
              <a:gd name="T95" fmla="*/ 1526 h 1727"/>
              <a:gd name="T96" fmla="*/ 965 w 1727"/>
              <a:gd name="T97" fmla="*/ 1522 h 1727"/>
              <a:gd name="T98" fmla="*/ 1123 w 1727"/>
              <a:gd name="T99" fmla="*/ 1478 h 1727"/>
              <a:gd name="T100" fmla="*/ 1262 w 1727"/>
              <a:gd name="T101" fmla="*/ 1398 h 1727"/>
              <a:gd name="T102" fmla="*/ 1378 w 1727"/>
              <a:gd name="T103" fmla="*/ 1287 h 1727"/>
              <a:gd name="T104" fmla="*/ 1464 w 1727"/>
              <a:gd name="T105" fmla="*/ 1152 h 1727"/>
              <a:gd name="T106" fmla="*/ 1516 w 1727"/>
              <a:gd name="T107" fmla="*/ 998 h 1727"/>
              <a:gd name="T108" fmla="*/ 1529 w 1727"/>
              <a:gd name="T109" fmla="*/ 828 h 1727"/>
              <a:gd name="T110" fmla="*/ 1500 w 1727"/>
              <a:gd name="T111" fmla="*/ 665 h 1727"/>
              <a:gd name="T112" fmla="*/ 1434 w 1727"/>
              <a:gd name="T113" fmla="*/ 517 h 1727"/>
              <a:gd name="T114" fmla="*/ 1335 w 1727"/>
              <a:gd name="T115" fmla="*/ 392 h 1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27" h="1727">
                <a:moveTo>
                  <a:pt x="864" y="0"/>
                </a:moveTo>
                <a:lnTo>
                  <a:pt x="886" y="0"/>
                </a:lnTo>
                <a:lnTo>
                  <a:pt x="908" y="1"/>
                </a:lnTo>
                <a:lnTo>
                  <a:pt x="930" y="2"/>
                </a:lnTo>
                <a:lnTo>
                  <a:pt x="952" y="4"/>
                </a:lnTo>
                <a:lnTo>
                  <a:pt x="974" y="7"/>
                </a:lnTo>
                <a:lnTo>
                  <a:pt x="996" y="10"/>
                </a:lnTo>
                <a:lnTo>
                  <a:pt x="1016" y="13"/>
                </a:lnTo>
                <a:lnTo>
                  <a:pt x="1038" y="17"/>
                </a:lnTo>
                <a:lnTo>
                  <a:pt x="1080" y="27"/>
                </a:lnTo>
                <a:lnTo>
                  <a:pt x="1121" y="39"/>
                </a:lnTo>
                <a:lnTo>
                  <a:pt x="1161" y="52"/>
                </a:lnTo>
                <a:lnTo>
                  <a:pt x="1200" y="68"/>
                </a:lnTo>
                <a:lnTo>
                  <a:pt x="1238" y="85"/>
                </a:lnTo>
                <a:lnTo>
                  <a:pt x="1275" y="104"/>
                </a:lnTo>
                <a:lnTo>
                  <a:pt x="1311" y="124"/>
                </a:lnTo>
                <a:lnTo>
                  <a:pt x="1347" y="147"/>
                </a:lnTo>
                <a:lnTo>
                  <a:pt x="1380" y="172"/>
                </a:lnTo>
                <a:lnTo>
                  <a:pt x="1413" y="197"/>
                </a:lnTo>
                <a:lnTo>
                  <a:pt x="1444" y="224"/>
                </a:lnTo>
                <a:lnTo>
                  <a:pt x="1474" y="253"/>
                </a:lnTo>
                <a:lnTo>
                  <a:pt x="1503" y="283"/>
                </a:lnTo>
                <a:lnTo>
                  <a:pt x="1530" y="314"/>
                </a:lnTo>
                <a:lnTo>
                  <a:pt x="1555" y="347"/>
                </a:lnTo>
                <a:lnTo>
                  <a:pt x="1580" y="380"/>
                </a:lnTo>
                <a:lnTo>
                  <a:pt x="1602" y="416"/>
                </a:lnTo>
                <a:lnTo>
                  <a:pt x="1623" y="452"/>
                </a:lnTo>
                <a:lnTo>
                  <a:pt x="1641" y="489"/>
                </a:lnTo>
                <a:lnTo>
                  <a:pt x="1659" y="527"/>
                </a:lnTo>
                <a:lnTo>
                  <a:pt x="1675" y="566"/>
                </a:lnTo>
                <a:lnTo>
                  <a:pt x="1688" y="606"/>
                </a:lnTo>
                <a:lnTo>
                  <a:pt x="1700" y="647"/>
                </a:lnTo>
                <a:lnTo>
                  <a:pt x="1710" y="689"/>
                </a:lnTo>
                <a:lnTo>
                  <a:pt x="1714" y="711"/>
                </a:lnTo>
                <a:lnTo>
                  <a:pt x="1717" y="731"/>
                </a:lnTo>
                <a:lnTo>
                  <a:pt x="1720" y="753"/>
                </a:lnTo>
                <a:lnTo>
                  <a:pt x="1722" y="774"/>
                </a:lnTo>
                <a:lnTo>
                  <a:pt x="1725" y="797"/>
                </a:lnTo>
                <a:lnTo>
                  <a:pt x="1726" y="819"/>
                </a:lnTo>
                <a:lnTo>
                  <a:pt x="1727" y="841"/>
                </a:lnTo>
                <a:lnTo>
                  <a:pt x="1727" y="863"/>
                </a:lnTo>
                <a:lnTo>
                  <a:pt x="1727" y="886"/>
                </a:lnTo>
                <a:lnTo>
                  <a:pt x="1726" y="907"/>
                </a:lnTo>
                <a:lnTo>
                  <a:pt x="1725" y="930"/>
                </a:lnTo>
                <a:lnTo>
                  <a:pt x="1722" y="952"/>
                </a:lnTo>
                <a:lnTo>
                  <a:pt x="1720" y="973"/>
                </a:lnTo>
                <a:lnTo>
                  <a:pt x="1717" y="995"/>
                </a:lnTo>
                <a:lnTo>
                  <a:pt x="1714" y="1016"/>
                </a:lnTo>
                <a:lnTo>
                  <a:pt x="1710" y="1037"/>
                </a:lnTo>
                <a:lnTo>
                  <a:pt x="1700" y="1079"/>
                </a:lnTo>
                <a:lnTo>
                  <a:pt x="1688" y="1120"/>
                </a:lnTo>
                <a:lnTo>
                  <a:pt x="1675" y="1160"/>
                </a:lnTo>
                <a:lnTo>
                  <a:pt x="1659" y="1199"/>
                </a:lnTo>
                <a:lnTo>
                  <a:pt x="1641" y="1238"/>
                </a:lnTo>
                <a:lnTo>
                  <a:pt x="1623" y="1274"/>
                </a:lnTo>
                <a:lnTo>
                  <a:pt x="1602" y="1311"/>
                </a:lnTo>
                <a:lnTo>
                  <a:pt x="1580" y="1346"/>
                </a:lnTo>
                <a:lnTo>
                  <a:pt x="1555" y="1379"/>
                </a:lnTo>
                <a:lnTo>
                  <a:pt x="1530" y="1413"/>
                </a:lnTo>
                <a:lnTo>
                  <a:pt x="1503" y="1444"/>
                </a:lnTo>
                <a:lnTo>
                  <a:pt x="1474" y="1473"/>
                </a:lnTo>
                <a:lnTo>
                  <a:pt x="1444" y="1502"/>
                </a:lnTo>
                <a:lnTo>
                  <a:pt x="1413" y="1529"/>
                </a:lnTo>
                <a:lnTo>
                  <a:pt x="1380" y="1555"/>
                </a:lnTo>
                <a:lnTo>
                  <a:pt x="1347" y="1579"/>
                </a:lnTo>
                <a:lnTo>
                  <a:pt x="1311" y="1602"/>
                </a:lnTo>
                <a:lnTo>
                  <a:pt x="1275" y="1622"/>
                </a:lnTo>
                <a:lnTo>
                  <a:pt x="1238" y="1642"/>
                </a:lnTo>
                <a:lnTo>
                  <a:pt x="1200" y="1659"/>
                </a:lnTo>
                <a:lnTo>
                  <a:pt x="1161" y="1674"/>
                </a:lnTo>
                <a:lnTo>
                  <a:pt x="1121" y="1688"/>
                </a:lnTo>
                <a:lnTo>
                  <a:pt x="1080" y="1699"/>
                </a:lnTo>
                <a:lnTo>
                  <a:pt x="1038" y="1709"/>
                </a:lnTo>
                <a:lnTo>
                  <a:pt x="1016" y="1713"/>
                </a:lnTo>
                <a:lnTo>
                  <a:pt x="996" y="1716"/>
                </a:lnTo>
                <a:lnTo>
                  <a:pt x="974" y="1719"/>
                </a:lnTo>
                <a:lnTo>
                  <a:pt x="952" y="1722"/>
                </a:lnTo>
                <a:lnTo>
                  <a:pt x="930" y="1724"/>
                </a:lnTo>
                <a:lnTo>
                  <a:pt x="908" y="1726"/>
                </a:lnTo>
                <a:lnTo>
                  <a:pt x="886" y="1726"/>
                </a:lnTo>
                <a:lnTo>
                  <a:pt x="864" y="1727"/>
                </a:lnTo>
                <a:lnTo>
                  <a:pt x="841" y="1726"/>
                </a:lnTo>
                <a:lnTo>
                  <a:pt x="820" y="1726"/>
                </a:lnTo>
                <a:lnTo>
                  <a:pt x="797" y="1724"/>
                </a:lnTo>
                <a:lnTo>
                  <a:pt x="775" y="1722"/>
                </a:lnTo>
                <a:lnTo>
                  <a:pt x="754" y="1719"/>
                </a:lnTo>
                <a:lnTo>
                  <a:pt x="732" y="1716"/>
                </a:lnTo>
                <a:lnTo>
                  <a:pt x="711" y="1713"/>
                </a:lnTo>
                <a:lnTo>
                  <a:pt x="690" y="1709"/>
                </a:lnTo>
                <a:lnTo>
                  <a:pt x="648" y="1699"/>
                </a:lnTo>
                <a:lnTo>
                  <a:pt x="607" y="1688"/>
                </a:lnTo>
                <a:lnTo>
                  <a:pt x="567" y="1674"/>
                </a:lnTo>
                <a:lnTo>
                  <a:pt x="528" y="1659"/>
                </a:lnTo>
                <a:lnTo>
                  <a:pt x="489" y="1642"/>
                </a:lnTo>
                <a:lnTo>
                  <a:pt x="452" y="1622"/>
                </a:lnTo>
                <a:lnTo>
                  <a:pt x="416" y="1602"/>
                </a:lnTo>
                <a:lnTo>
                  <a:pt x="381" y="1579"/>
                </a:lnTo>
                <a:lnTo>
                  <a:pt x="348" y="1555"/>
                </a:lnTo>
                <a:lnTo>
                  <a:pt x="314" y="1529"/>
                </a:lnTo>
                <a:lnTo>
                  <a:pt x="283" y="1502"/>
                </a:lnTo>
                <a:lnTo>
                  <a:pt x="254" y="1473"/>
                </a:lnTo>
                <a:lnTo>
                  <a:pt x="225" y="1444"/>
                </a:lnTo>
                <a:lnTo>
                  <a:pt x="198" y="1413"/>
                </a:lnTo>
                <a:lnTo>
                  <a:pt x="172" y="1379"/>
                </a:lnTo>
                <a:lnTo>
                  <a:pt x="148" y="1346"/>
                </a:lnTo>
                <a:lnTo>
                  <a:pt x="125" y="1311"/>
                </a:lnTo>
                <a:lnTo>
                  <a:pt x="105" y="1274"/>
                </a:lnTo>
                <a:lnTo>
                  <a:pt x="85" y="1238"/>
                </a:lnTo>
                <a:lnTo>
                  <a:pt x="68" y="1199"/>
                </a:lnTo>
                <a:lnTo>
                  <a:pt x="53" y="1160"/>
                </a:lnTo>
                <a:lnTo>
                  <a:pt x="39" y="1120"/>
                </a:lnTo>
                <a:lnTo>
                  <a:pt x="28" y="1079"/>
                </a:lnTo>
                <a:lnTo>
                  <a:pt x="18" y="1037"/>
                </a:lnTo>
                <a:lnTo>
                  <a:pt x="14" y="1016"/>
                </a:lnTo>
                <a:lnTo>
                  <a:pt x="11" y="995"/>
                </a:lnTo>
                <a:lnTo>
                  <a:pt x="8" y="973"/>
                </a:lnTo>
                <a:lnTo>
                  <a:pt x="5" y="952"/>
                </a:lnTo>
                <a:lnTo>
                  <a:pt x="3" y="930"/>
                </a:lnTo>
                <a:lnTo>
                  <a:pt x="1" y="907"/>
                </a:lnTo>
                <a:lnTo>
                  <a:pt x="1" y="886"/>
                </a:lnTo>
                <a:lnTo>
                  <a:pt x="0" y="863"/>
                </a:lnTo>
                <a:lnTo>
                  <a:pt x="1" y="841"/>
                </a:lnTo>
                <a:lnTo>
                  <a:pt x="1" y="819"/>
                </a:lnTo>
                <a:lnTo>
                  <a:pt x="3" y="797"/>
                </a:lnTo>
                <a:lnTo>
                  <a:pt x="5" y="774"/>
                </a:lnTo>
                <a:lnTo>
                  <a:pt x="8" y="753"/>
                </a:lnTo>
                <a:lnTo>
                  <a:pt x="11" y="731"/>
                </a:lnTo>
                <a:lnTo>
                  <a:pt x="14" y="711"/>
                </a:lnTo>
                <a:lnTo>
                  <a:pt x="18" y="689"/>
                </a:lnTo>
                <a:lnTo>
                  <a:pt x="28" y="647"/>
                </a:lnTo>
                <a:lnTo>
                  <a:pt x="39" y="606"/>
                </a:lnTo>
                <a:lnTo>
                  <a:pt x="53" y="566"/>
                </a:lnTo>
                <a:lnTo>
                  <a:pt x="68" y="527"/>
                </a:lnTo>
                <a:lnTo>
                  <a:pt x="85" y="489"/>
                </a:lnTo>
                <a:lnTo>
                  <a:pt x="105" y="452"/>
                </a:lnTo>
                <a:lnTo>
                  <a:pt x="125" y="416"/>
                </a:lnTo>
                <a:lnTo>
                  <a:pt x="148" y="380"/>
                </a:lnTo>
                <a:lnTo>
                  <a:pt x="172" y="347"/>
                </a:lnTo>
                <a:lnTo>
                  <a:pt x="198" y="314"/>
                </a:lnTo>
                <a:lnTo>
                  <a:pt x="225" y="283"/>
                </a:lnTo>
                <a:lnTo>
                  <a:pt x="254" y="253"/>
                </a:lnTo>
                <a:lnTo>
                  <a:pt x="283" y="224"/>
                </a:lnTo>
                <a:lnTo>
                  <a:pt x="314" y="197"/>
                </a:lnTo>
                <a:lnTo>
                  <a:pt x="348" y="172"/>
                </a:lnTo>
                <a:lnTo>
                  <a:pt x="381" y="147"/>
                </a:lnTo>
                <a:lnTo>
                  <a:pt x="416" y="124"/>
                </a:lnTo>
                <a:lnTo>
                  <a:pt x="452" y="104"/>
                </a:lnTo>
                <a:lnTo>
                  <a:pt x="489" y="85"/>
                </a:lnTo>
                <a:lnTo>
                  <a:pt x="528" y="68"/>
                </a:lnTo>
                <a:lnTo>
                  <a:pt x="567" y="52"/>
                </a:lnTo>
                <a:lnTo>
                  <a:pt x="607" y="39"/>
                </a:lnTo>
                <a:lnTo>
                  <a:pt x="648" y="27"/>
                </a:lnTo>
                <a:lnTo>
                  <a:pt x="690" y="17"/>
                </a:lnTo>
                <a:lnTo>
                  <a:pt x="711" y="13"/>
                </a:lnTo>
                <a:lnTo>
                  <a:pt x="732" y="10"/>
                </a:lnTo>
                <a:lnTo>
                  <a:pt x="754" y="7"/>
                </a:lnTo>
                <a:lnTo>
                  <a:pt x="775" y="4"/>
                </a:lnTo>
                <a:lnTo>
                  <a:pt x="797" y="2"/>
                </a:lnTo>
                <a:lnTo>
                  <a:pt x="820" y="1"/>
                </a:lnTo>
                <a:lnTo>
                  <a:pt x="841" y="0"/>
                </a:lnTo>
                <a:lnTo>
                  <a:pt x="864" y="0"/>
                </a:lnTo>
                <a:close/>
                <a:moveTo>
                  <a:pt x="1335" y="392"/>
                </a:moveTo>
                <a:lnTo>
                  <a:pt x="1312" y="369"/>
                </a:lnTo>
                <a:lnTo>
                  <a:pt x="1287" y="349"/>
                </a:lnTo>
                <a:lnTo>
                  <a:pt x="1262" y="329"/>
                </a:lnTo>
                <a:lnTo>
                  <a:pt x="1237" y="310"/>
                </a:lnTo>
                <a:lnTo>
                  <a:pt x="1210" y="293"/>
                </a:lnTo>
                <a:lnTo>
                  <a:pt x="1181" y="278"/>
                </a:lnTo>
                <a:lnTo>
                  <a:pt x="1152" y="263"/>
                </a:lnTo>
                <a:lnTo>
                  <a:pt x="1123" y="250"/>
                </a:lnTo>
                <a:lnTo>
                  <a:pt x="1093" y="238"/>
                </a:lnTo>
                <a:lnTo>
                  <a:pt x="1062" y="227"/>
                </a:lnTo>
                <a:lnTo>
                  <a:pt x="1030" y="218"/>
                </a:lnTo>
                <a:lnTo>
                  <a:pt x="998" y="211"/>
                </a:lnTo>
                <a:lnTo>
                  <a:pt x="965" y="204"/>
                </a:lnTo>
                <a:lnTo>
                  <a:pt x="932" y="200"/>
                </a:lnTo>
                <a:lnTo>
                  <a:pt x="898" y="198"/>
                </a:lnTo>
                <a:lnTo>
                  <a:pt x="864" y="197"/>
                </a:lnTo>
                <a:lnTo>
                  <a:pt x="829" y="198"/>
                </a:lnTo>
                <a:lnTo>
                  <a:pt x="796" y="200"/>
                </a:lnTo>
                <a:lnTo>
                  <a:pt x="762" y="204"/>
                </a:lnTo>
                <a:lnTo>
                  <a:pt x="729" y="211"/>
                </a:lnTo>
                <a:lnTo>
                  <a:pt x="698" y="218"/>
                </a:lnTo>
                <a:lnTo>
                  <a:pt x="665" y="227"/>
                </a:lnTo>
                <a:lnTo>
                  <a:pt x="635" y="238"/>
                </a:lnTo>
                <a:lnTo>
                  <a:pt x="605" y="250"/>
                </a:lnTo>
                <a:lnTo>
                  <a:pt x="575" y="263"/>
                </a:lnTo>
                <a:lnTo>
                  <a:pt x="546" y="278"/>
                </a:lnTo>
                <a:lnTo>
                  <a:pt x="518" y="293"/>
                </a:lnTo>
                <a:lnTo>
                  <a:pt x="491" y="310"/>
                </a:lnTo>
                <a:lnTo>
                  <a:pt x="465" y="329"/>
                </a:lnTo>
                <a:lnTo>
                  <a:pt x="440" y="349"/>
                </a:lnTo>
                <a:lnTo>
                  <a:pt x="416" y="369"/>
                </a:lnTo>
                <a:lnTo>
                  <a:pt x="392" y="392"/>
                </a:lnTo>
                <a:lnTo>
                  <a:pt x="370" y="415"/>
                </a:lnTo>
                <a:lnTo>
                  <a:pt x="350" y="440"/>
                </a:lnTo>
                <a:lnTo>
                  <a:pt x="329" y="464"/>
                </a:lnTo>
                <a:lnTo>
                  <a:pt x="311" y="490"/>
                </a:lnTo>
                <a:lnTo>
                  <a:pt x="294" y="517"/>
                </a:lnTo>
                <a:lnTo>
                  <a:pt x="278" y="545"/>
                </a:lnTo>
                <a:lnTo>
                  <a:pt x="263" y="575"/>
                </a:lnTo>
                <a:lnTo>
                  <a:pt x="249" y="604"/>
                </a:lnTo>
                <a:lnTo>
                  <a:pt x="238" y="634"/>
                </a:lnTo>
                <a:lnTo>
                  <a:pt x="227" y="665"/>
                </a:lnTo>
                <a:lnTo>
                  <a:pt x="218" y="697"/>
                </a:lnTo>
                <a:lnTo>
                  <a:pt x="211" y="729"/>
                </a:lnTo>
                <a:lnTo>
                  <a:pt x="205" y="761"/>
                </a:lnTo>
                <a:lnTo>
                  <a:pt x="201" y="795"/>
                </a:lnTo>
                <a:lnTo>
                  <a:pt x="199" y="828"/>
                </a:lnTo>
                <a:lnTo>
                  <a:pt x="198" y="863"/>
                </a:lnTo>
                <a:lnTo>
                  <a:pt x="199" y="898"/>
                </a:lnTo>
                <a:lnTo>
                  <a:pt x="201" y="931"/>
                </a:lnTo>
                <a:lnTo>
                  <a:pt x="205" y="965"/>
                </a:lnTo>
                <a:lnTo>
                  <a:pt x="211" y="998"/>
                </a:lnTo>
                <a:lnTo>
                  <a:pt x="218" y="1029"/>
                </a:lnTo>
                <a:lnTo>
                  <a:pt x="227" y="1062"/>
                </a:lnTo>
                <a:lnTo>
                  <a:pt x="238" y="1092"/>
                </a:lnTo>
                <a:lnTo>
                  <a:pt x="249" y="1122"/>
                </a:lnTo>
                <a:lnTo>
                  <a:pt x="263" y="1152"/>
                </a:lnTo>
                <a:lnTo>
                  <a:pt x="278" y="1181"/>
                </a:lnTo>
                <a:lnTo>
                  <a:pt x="294" y="1209"/>
                </a:lnTo>
                <a:lnTo>
                  <a:pt x="311" y="1236"/>
                </a:lnTo>
                <a:lnTo>
                  <a:pt x="329" y="1262"/>
                </a:lnTo>
                <a:lnTo>
                  <a:pt x="350" y="1287"/>
                </a:lnTo>
                <a:lnTo>
                  <a:pt x="370" y="1311"/>
                </a:lnTo>
                <a:lnTo>
                  <a:pt x="392" y="1335"/>
                </a:lnTo>
                <a:lnTo>
                  <a:pt x="416" y="1357"/>
                </a:lnTo>
                <a:lnTo>
                  <a:pt x="440" y="1377"/>
                </a:lnTo>
                <a:lnTo>
                  <a:pt x="465" y="1398"/>
                </a:lnTo>
                <a:lnTo>
                  <a:pt x="491" y="1416"/>
                </a:lnTo>
                <a:lnTo>
                  <a:pt x="518" y="1433"/>
                </a:lnTo>
                <a:lnTo>
                  <a:pt x="546" y="1449"/>
                </a:lnTo>
                <a:lnTo>
                  <a:pt x="575" y="1463"/>
                </a:lnTo>
                <a:lnTo>
                  <a:pt x="605" y="1478"/>
                </a:lnTo>
                <a:lnTo>
                  <a:pt x="635" y="1489"/>
                </a:lnTo>
                <a:lnTo>
                  <a:pt x="665" y="1500"/>
                </a:lnTo>
                <a:lnTo>
                  <a:pt x="698" y="1509"/>
                </a:lnTo>
                <a:lnTo>
                  <a:pt x="729" y="1516"/>
                </a:lnTo>
                <a:lnTo>
                  <a:pt x="762" y="1522"/>
                </a:lnTo>
                <a:lnTo>
                  <a:pt x="796" y="1526"/>
                </a:lnTo>
                <a:lnTo>
                  <a:pt x="829" y="1528"/>
                </a:lnTo>
                <a:lnTo>
                  <a:pt x="864" y="1529"/>
                </a:lnTo>
                <a:lnTo>
                  <a:pt x="898" y="1528"/>
                </a:lnTo>
                <a:lnTo>
                  <a:pt x="932" y="1526"/>
                </a:lnTo>
                <a:lnTo>
                  <a:pt x="965" y="1522"/>
                </a:lnTo>
                <a:lnTo>
                  <a:pt x="998" y="1516"/>
                </a:lnTo>
                <a:lnTo>
                  <a:pt x="1030" y="1509"/>
                </a:lnTo>
                <a:lnTo>
                  <a:pt x="1062" y="1500"/>
                </a:lnTo>
                <a:lnTo>
                  <a:pt x="1093" y="1489"/>
                </a:lnTo>
                <a:lnTo>
                  <a:pt x="1123" y="1478"/>
                </a:lnTo>
                <a:lnTo>
                  <a:pt x="1152" y="1463"/>
                </a:lnTo>
                <a:lnTo>
                  <a:pt x="1181" y="1449"/>
                </a:lnTo>
                <a:lnTo>
                  <a:pt x="1210" y="1433"/>
                </a:lnTo>
                <a:lnTo>
                  <a:pt x="1237" y="1416"/>
                </a:lnTo>
                <a:lnTo>
                  <a:pt x="1262" y="1398"/>
                </a:lnTo>
                <a:lnTo>
                  <a:pt x="1287" y="1377"/>
                </a:lnTo>
                <a:lnTo>
                  <a:pt x="1312" y="1357"/>
                </a:lnTo>
                <a:lnTo>
                  <a:pt x="1335" y="1335"/>
                </a:lnTo>
                <a:lnTo>
                  <a:pt x="1357" y="1311"/>
                </a:lnTo>
                <a:lnTo>
                  <a:pt x="1378" y="1287"/>
                </a:lnTo>
                <a:lnTo>
                  <a:pt x="1397" y="1262"/>
                </a:lnTo>
                <a:lnTo>
                  <a:pt x="1416" y="1236"/>
                </a:lnTo>
                <a:lnTo>
                  <a:pt x="1434" y="1209"/>
                </a:lnTo>
                <a:lnTo>
                  <a:pt x="1449" y="1181"/>
                </a:lnTo>
                <a:lnTo>
                  <a:pt x="1464" y="1152"/>
                </a:lnTo>
                <a:lnTo>
                  <a:pt x="1477" y="1122"/>
                </a:lnTo>
                <a:lnTo>
                  <a:pt x="1489" y="1092"/>
                </a:lnTo>
                <a:lnTo>
                  <a:pt x="1500" y="1062"/>
                </a:lnTo>
                <a:lnTo>
                  <a:pt x="1509" y="1029"/>
                </a:lnTo>
                <a:lnTo>
                  <a:pt x="1516" y="998"/>
                </a:lnTo>
                <a:lnTo>
                  <a:pt x="1523" y="965"/>
                </a:lnTo>
                <a:lnTo>
                  <a:pt x="1527" y="931"/>
                </a:lnTo>
                <a:lnTo>
                  <a:pt x="1529" y="898"/>
                </a:lnTo>
                <a:lnTo>
                  <a:pt x="1530" y="863"/>
                </a:lnTo>
                <a:lnTo>
                  <a:pt x="1529" y="828"/>
                </a:lnTo>
                <a:lnTo>
                  <a:pt x="1527" y="795"/>
                </a:lnTo>
                <a:lnTo>
                  <a:pt x="1523" y="761"/>
                </a:lnTo>
                <a:lnTo>
                  <a:pt x="1516" y="729"/>
                </a:lnTo>
                <a:lnTo>
                  <a:pt x="1509" y="697"/>
                </a:lnTo>
                <a:lnTo>
                  <a:pt x="1500" y="665"/>
                </a:lnTo>
                <a:lnTo>
                  <a:pt x="1489" y="634"/>
                </a:lnTo>
                <a:lnTo>
                  <a:pt x="1477" y="604"/>
                </a:lnTo>
                <a:lnTo>
                  <a:pt x="1464" y="575"/>
                </a:lnTo>
                <a:lnTo>
                  <a:pt x="1449" y="545"/>
                </a:lnTo>
                <a:lnTo>
                  <a:pt x="1434" y="517"/>
                </a:lnTo>
                <a:lnTo>
                  <a:pt x="1416" y="490"/>
                </a:lnTo>
                <a:lnTo>
                  <a:pt x="1397" y="464"/>
                </a:lnTo>
                <a:lnTo>
                  <a:pt x="1378" y="440"/>
                </a:lnTo>
                <a:lnTo>
                  <a:pt x="1357" y="415"/>
                </a:lnTo>
                <a:lnTo>
                  <a:pt x="1335" y="392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0"/>
          <p:cNvSpPr>
            <a:spLocks/>
          </p:cNvSpPr>
          <p:nvPr/>
        </p:nvSpPr>
        <p:spPr bwMode="auto">
          <a:xfrm>
            <a:off x="3910883" y="2910328"/>
            <a:ext cx="260835" cy="260835"/>
          </a:xfrm>
          <a:custGeom>
            <a:avLst/>
            <a:gdLst>
              <a:gd name="T0" fmla="*/ 285 w 517"/>
              <a:gd name="T1" fmla="*/ 1 h 517"/>
              <a:gd name="T2" fmla="*/ 324 w 517"/>
              <a:gd name="T3" fmla="*/ 7 h 517"/>
              <a:gd name="T4" fmla="*/ 359 w 517"/>
              <a:gd name="T5" fmla="*/ 20 h 517"/>
              <a:gd name="T6" fmla="*/ 393 w 517"/>
              <a:gd name="T7" fmla="*/ 37 h 517"/>
              <a:gd name="T8" fmla="*/ 423 w 517"/>
              <a:gd name="T9" fmla="*/ 58 h 517"/>
              <a:gd name="T10" fmla="*/ 450 w 517"/>
              <a:gd name="T11" fmla="*/ 84 h 517"/>
              <a:gd name="T12" fmla="*/ 473 w 517"/>
              <a:gd name="T13" fmla="*/ 113 h 517"/>
              <a:gd name="T14" fmla="*/ 492 w 517"/>
              <a:gd name="T15" fmla="*/ 146 h 517"/>
              <a:gd name="T16" fmla="*/ 505 w 517"/>
              <a:gd name="T17" fmla="*/ 181 h 517"/>
              <a:gd name="T18" fmla="*/ 514 w 517"/>
              <a:gd name="T19" fmla="*/ 219 h 517"/>
              <a:gd name="T20" fmla="*/ 517 w 517"/>
              <a:gd name="T21" fmla="*/ 258 h 517"/>
              <a:gd name="T22" fmla="*/ 514 w 517"/>
              <a:gd name="T23" fmla="*/ 298 h 517"/>
              <a:gd name="T24" fmla="*/ 505 w 517"/>
              <a:gd name="T25" fmla="*/ 335 h 517"/>
              <a:gd name="T26" fmla="*/ 492 w 517"/>
              <a:gd name="T27" fmla="*/ 370 h 517"/>
              <a:gd name="T28" fmla="*/ 473 w 517"/>
              <a:gd name="T29" fmla="*/ 403 h 517"/>
              <a:gd name="T30" fmla="*/ 450 w 517"/>
              <a:gd name="T31" fmla="*/ 432 h 517"/>
              <a:gd name="T32" fmla="*/ 423 w 517"/>
              <a:gd name="T33" fmla="*/ 458 h 517"/>
              <a:gd name="T34" fmla="*/ 393 w 517"/>
              <a:gd name="T35" fmla="*/ 479 h 517"/>
              <a:gd name="T36" fmla="*/ 359 w 517"/>
              <a:gd name="T37" fmla="*/ 497 h 517"/>
              <a:gd name="T38" fmla="*/ 324 w 517"/>
              <a:gd name="T39" fmla="*/ 509 h 517"/>
              <a:gd name="T40" fmla="*/ 285 w 517"/>
              <a:gd name="T41" fmla="*/ 515 h 517"/>
              <a:gd name="T42" fmla="*/ 245 w 517"/>
              <a:gd name="T43" fmla="*/ 516 h 517"/>
              <a:gd name="T44" fmla="*/ 207 w 517"/>
              <a:gd name="T45" fmla="*/ 512 h 517"/>
              <a:gd name="T46" fmla="*/ 170 w 517"/>
              <a:gd name="T47" fmla="*/ 501 h 517"/>
              <a:gd name="T48" fmla="*/ 136 w 517"/>
              <a:gd name="T49" fmla="*/ 486 h 517"/>
              <a:gd name="T50" fmla="*/ 105 w 517"/>
              <a:gd name="T51" fmla="*/ 465 h 517"/>
              <a:gd name="T52" fmla="*/ 76 w 517"/>
              <a:gd name="T53" fmla="*/ 441 h 517"/>
              <a:gd name="T54" fmla="*/ 52 w 517"/>
              <a:gd name="T55" fmla="*/ 412 h 517"/>
              <a:gd name="T56" fmla="*/ 31 w 517"/>
              <a:gd name="T57" fmla="*/ 381 h 517"/>
              <a:gd name="T58" fmla="*/ 16 w 517"/>
              <a:gd name="T59" fmla="*/ 347 h 517"/>
              <a:gd name="T60" fmla="*/ 5 w 517"/>
              <a:gd name="T61" fmla="*/ 310 h 517"/>
              <a:gd name="T62" fmla="*/ 1 w 517"/>
              <a:gd name="T63" fmla="*/ 271 h 517"/>
              <a:gd name="T64" fmla="*/ 2 w 517"/>
              <a:gd name="T65" fmla="*/ 232 h 517"/>
              <a:gd name="T66" fmla="*/ 8 w 517"/>
              <a:gd name="T67" fmla="*/ 193 h 517"/>
              <a:gd name="T68" fmla="*/ 20 w 517"/>
              <a:gd name="T69" fmla="*/ 158 h 517"/>
              <a:gd name="T70" fmla="*/ 38 w 517"/>
              <a:gd name="T71" fmla="*/ 124 h 517"/>
              <a:gd name="T72" fmla="*/ 59 w 517"/>
              <a:gd name="T73" fmla="*/ 94 h 517"/>
              <a:gd name="T74" fmla="*/ 85 w 517"/>
              <a:gd name="T75" fmla="*/ 67 h 517"/>
              <a:gd name="T76" fmla="*/ 114 w 517"/>
              <a:gd name="T77" fmla="*/ 44 h 517"/>
              <a:gd name="T78" fmla="*/ 147 w 517"/>
              <a:gd name="T79" fmla="*/ 25 h 517"/>
              <a:gd name="T80" fmla="*/ 182 w 517"/>
              <a:gd name="T81" fmla="*/ 12 h 517"/>
              <a:gd name="T82" fmla="*/ 219 w 517"/>
              <a:gd name="T83" fmla="*/ 3 h 517"/>
              <a:gd name="T84" fmla="*/ 259 w 517"/>
              <a:gd name="T85" fmla="*/ 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17" h="517">
                <a:moveTo>
                  <a:pt x="259" y="0"/>
                </a:moveTo>
                <a:lnTo>
                  <a:pt x="272" y="0"/>
                </a:lnTo>
                <a:lnTo>
                  <a:pt x="285" y="1"/>
                </a:lnTo>
                <a:lnTo>
                  <a:pt x="298" y="3"/>
                </a:lnTo>
                <a:lnTo>
                  <a:pt x="311" y="5"/>
                </a:lnTo>
                <a:lnTo>
                  <a:pt x="324" y="7"/>
                </a:lnTo>
                <a:lnTo>
                  <a:pt x="336" y="12"/>
                </a:lnTo>
                <a:lnTo>
                  <a:pt x="347" y="15"/>
                </a:lnTo>
                <a:lnTo>
                  <a:pt x="359" y="20"/>
                </a:lnTo>
                <a:lnTo>
                  <a:pt x="371" y="25"/>
                </a:lnTo>
                <a:lnTo>
                  <a:pt x="382" y="31"/>
                </a:lnTo>
                <a:lnTo>
                  <a:pt x="393" y="37"/>
                </a:lnTo>
                <a:lnTo>
                  <a:pt x="404" y="44"/>
                </a:lnTo>
                <a:lnTo>
                  <a:pt x="413" y="51"/>
                </a:lnTo>
                <a:lnTo>
                  <a:pt x="423" y="58"/>
                </a:lnTo>
                <a:lnTo>
                  <a:pt x="433" y="67"/>
                </a:lnTo>
                <a:lnTo>
                  <a:pt x="441" y="75"/>
                </a:lnTo>
                <a:lnTo>
                  <a:pt x="450" y="84"/>
                </a:lnTo>
                <a:lnTo>
                  <a:pt x="458" y="94"/>
                </a:lnTo>
                <a:lnTo>
                  <a:pt x="466" y="104"/>
                </a:lnTo>
                <a:lnTo>
                  <a:pt x="473" y="113"/>
                </a:lnTo>
                <a:lnTo>
                  <a:pt x="479" y="124"/>
                </a:lnTo>
                <a:lnTo>
                  <a:pt x="486" y="135"/>
                </a:lnTo>
                <a:lnTo>
                  <a:pt x="492" y="146"/>
                </a:lnTo>
                <a:lnTo>
                  <a:pt x="497" y="158"/>
                </a:lnTo>
                <a:lnTo>
                  <a:pt x="502" y="169"/>
                </a:lnTo>
                <a:lnTo>
                  <a:pt x="505" y="181"/>
                </a:lnTo>
                <a:lnTo>
                  <a:pt x="509" y="193"/>
                </a:lnTo>
                <a:lnTo>
                  <a:pt x="512" y="206"/>
                </a:lnTo>
                <a:lnTo>
                  <a:pt x="514" y="219"/>
                </a:lnTo>
                <a:lnTo>
                  <a:pt x="516" y="232"/>
                </a:lnTo>
                <a:lnTo>
                  <a:pt x="517" y="245"/>
                </a:lnTo>
                <a:lnTo>
                  <a:pt x="517" y="258"/>
                </a:lnTo>
                <a:lnTo>
                  <a:pt x="517" y="271"/>
                </a:lnTo>
                <a:lnTo>
                  <a:pt x="516" y="285"/>
                </a:lnTo>
                <a:lnTo>
                  <a:pt x="514" y="298"/>
                </a:lnTo>
                <a:lnTo>
                  <a:pt x="512" y="310"/>
                </a:lnTo>
                <a:lnTo>
                  <a:pt x="509" y="323"/>
                </a:lnTo>
                <a:lnTo>
                  <a:pt x="505" y="335"/>
                </a:lnTo>
                <a:lnTo>
                  <a:pt x="502" y="347"/>
                </a:lnTo>
                <a:lnTo>
                  <a:pt x="497" y="358"/>
                </a:lnTo>
                <a:lnTo>
                  <a:pt x="492" y="370"/>
                </a:lnTo>
                <a:lnTo>
                  <a:pt x="486" y="381"/>
                </a:lnTo>
                <a:lnTo>
                  <a:pt x="479" y="392"/>
                </a:lnTo>
                <a:lnTo>
                  <a:pt x="473" y="403"/>
                </a:lnTo>
                <a:lnTo>
                  <a:pt x="466" y="412"/>
                </a:lnTo>
                <a:lnTo>
                  <a:pt x="458" y="422"/>
                </a:lnTo>
                <a:lnTo>
                  <a:pt x="450" y="432"/>
                </a:lnTo>
                <a:lnTo>
                  <a:pt x="441" y="441"/>
                </a:lnTo>
                <a:lnTo>
                  <a:pt x="433" y="449"/>
                </a:lnTo>
                <a:lnTo>
                  <a:pt x="423" y="458"/>
                </a:lnTo>
                <a:lnTo>
                  <a:pt x="413" y="465"/>
                </a:lnTo>
                <a:lnTo>
                  <a:pt x="404" y="473"/>
                </a:lnTo>
                <a:lnTo>
                  <a:pt x="393" y="479"/>
                </a:lnTo>
                <a:lnTo>
                  <a:pt x="382" y="486"/>
                </a:lnTo>
                <a:lnTo>
                  <a:pt x="371" y="491"/>
                </a:lnTo>
                <a:lnTo>
                  <a:pt x="359" y="497"/>
                </a:lnTo>
                <a:lnTo>
                  <a:pt x="347" y="501"/>
                </a:lnTo>
                <a:lnTo>
                  <a:pt x="336" y="505"/>
                </a:lnTo>
                <a:lnTo>
                  <a:pt x="324" y="509"/>
                </a:lnTo>
                <a:lnTo>
                  <a:pt x="311" y="512"/>
                </a:lnTo>
                <a:lnTo>
                  <a:pt x="298" y="514"/>
                </a:lnTo>
                <a:lnTo>
                  <a:pt x="285" y="515"/>
                </a:lnTo>
                <a:lnTo>
                  <a:pt x="272" y="516"/>
                </a:lnTo>
                <a:lnTo>
                  <a:pt x="259" y="517"/>
                </a:lnTo>
                <a:lnTo>
                  <a:pt x="245" y="516"/>
                </a:lnTo>
                <a:lnTo>
                  <a:pt x="232" y="515"/>
                </a:lnTo>
                <a:lnTo>
                  <a:pt x="219" y="514"/>
                </a:lnTo>
                <a:lnTo>
                  <a:pt x="207" y="512"/>
                </a:lnTo>
                <a:lnTo>
                  <a:pt x="194" y="509"/>
                </a:lnTo>
                <a:lnTo>
                  <a:pt x="182" y="505"/>
                </a:lnTo>
                <a:lnTo>
                  <a:pt x="170" y="501"/>
                </a:lnTo>
                <a:lnTo>
                  <a:pt x="158" y="497"/>
                </a:lnTo>
                <a:lnTo>
                  <a:pt x="147" y="491"/>
                </a:lnTo>
                <a:lnTo>
                  <a:pt x="136" y="486"/>
                </a:lnTo>
                <a:lnTo>
                  <a:pt x="125" y="479"/>
                </a:lnTo>
                <a:lnTo>
                  <a:pt x="114" y="473"/>
                </a:lnTo>
                <a:lnTo>
                  <a:pt x="105" y="465"/>
                </a:lnTo>
                <a:lnTo>
                  <a:pt x="95" y="458"/>
                </a:lnTo>
                <a:lnTo>
                  <a:pt x="85" y="449"/>
                </a:lnTo>
                <a:lnTo>
                  <a:pt x="76" y="441"/>
                </a:lnTo>
                <a:lnTo>
                  <a:pt x="68" y="432"/>
                </a:lnTo>
                <a:lnTo>
                  <a:pt x="59" y="422"/>
                </a:lnTo>
                <a:lnTo>
                  <a:pt x="52" y="412"/>
                </a:lnTo>
                <a:lnTo>
                  <a:pt x="44" y="403"/>
                </a:lnTo>
                <a:lnTo>
                  <a:pt x="38" y="392"/>
                </a:lnTo>
                <a:lnTo>
                  <a:pt x="31" y="381"/>
                </a:lnTo>
                <a:lnTo>
                  <a:pt x="26" y="370"/>
                </a:lnTo>
                <a:lnTo>
                  <a:pt x="20" y="358"/>
                </a:lnTo>
                <a:lnTo>
                  <a:pt x="16" y="347"/>
                </a:lnTo>
                <a:lnTo>
                  <a:pt x="12" y="335"/>
                </a:lnTo>
                <a:lnTo>
                  <a:pt x="8" y="323"/>
                </a:lnTo>
                <a:lnTo>
                  <a:pt x="5" y="310"/>
                </a:lnTo>
                <a:lnTo>
                  <a:pt x="3" y="298"/>
                </a:lnTo>
                <a:lnTo>
                  <a:pt x="2" y="285"/>
                </a:lnTo>
                <a:lnTo>
                  <a:pt x="1" y="271"/>
                </a:lnTo>
                <a:lnTo>
                  <a:pt x="0" y="258"/>
                </a:lnTo>
                <a:lnTo>
                  <a:pt x="1" y="245"/>
                </a:lnTo>
                <a:lnTo>
                  <a:pt x="2" y="232"/>
                </a:lnTo>
                <a:lnTo>
                  <a:pt x="3" y="219"/>
                </a:lnTo>
                <a:lnTo>
                  <a:pt x="5" y="206"/>
                </a:lnTo>
                <a:lnTo>
                  <a:pt x="8" y="193"/>
                </a:lnTo>
                <a:lnTo>
                  <a:pt x="12" y="181"/>
                </a:lnTo>
                <a:lnTo>
                  <a:pt x="16" y="169"/>
                </a:lnTo>
                <a:lnTo>
                  <a:pt x="20" y="158"/>
                </a:lnTo>
                <a:lnTo>
                  <a:pt x="26" y="146"/>
                </a:lnTo>
                <a:lnTo>
                  <a:pt x="31" y="135"/>
                </a:lnTo>
                <a:lnTo>
                  <a:pt x="38" y="124"/>
                </a:lnTo>
                <a:lnTo>
                  <a:pt x="44" y="113"/>
                </a:lnTo>
                <a:lnTo>
                  <a:pt x="52" y="104"/>
                </a:lnTo>
                <a:lnTo>
                  <a:pt x="59" y="94"/>
                </a:lnTo>
                <a:lnTo>
                  <a:pt x="68" y="84"/>
                </a:lnTo>
                <a:lnTo>
                  <a:pt x="76" y="75"/>
                </a:lnTo>
                <a:lnTo>
                  <a:pt x="85" y="67"/>
                </a:lnTo>
                <a:lnTo>
                  <a:pt x="95" y="58"/>
                </a:lnTo>
                <a:lnTo>
                  <a:pt x="105" y="51"/>
                </a:lnTo>
                <a:lnTo>
                  <a:pt x="114" y="44"/>
                </a:lnTo>
                <a:lnTo>
                  <a:pt x="125" y="37"/>
                </a:lnTo>
                <a:lnTo>
                  <a:pt x="136" y="31"/>
                </a:lnTo>
                <a:lnTo>
                  <a:pt x="147" y="25"/>
                </a:lnTo>
                <a:lnTo>
                  <a:pt x="158" y="20"/>
                </a:lnTo>
                <a:lnTo>
                  <a:pt x="170" y="15"/>
                </a:lnTo>
                <a:lnTo>
                  <a:pt x="182" y="12"/>
                </a:lnTo>
                <a:lnTo>
                  <a:pt x="194" y="7"/>
                </a:lnTo>
                <a:lnTo>
                  <a:pt x="207" y="5"/>
                </a:lnTo>
                <a:lnTo>
                  <a:pt x="219" y="3"/>
                </a:lnTo>
                <a:lnTo>
                  <a:pt x="232" y="1"/>
                </a:lnTo>
                <a:lnTo>
                  <a:pt x="245" y="0"/>
                </a:lnTo>
                <a:lnTo>
                  <a:pt x="259" y="0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9" name="Group 78"/>
          <p:cNvGrpSpPr/>
          <p:nvPr/>
        </p:nvGrpSpPr>
        <p:grpSpPr>
          <a:xfrm>
            <a:off x="1355323" y="4321861"/>
            <a:ext cx="461246" cy="461246"/>
            <a:chOff x="2866981" y="4629046"/>
            <a:chExt cx="461246" cy="461246"/>
          </a:xfrm>
        </p:grpSpPr>
        <p:sp>
          <p:nvSpPr>
            <p:cNvPr id="80" name="Oval 79"/>
            <p:cNvSpPr/>
            <p:nvPr/>
          </p:nvSpPr>
          <p:spPr>
            <a:xfrm>
              <a:off x="2866981" y="4629046"/>
              <a:ext cx="461246" cy="461246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2936164" y="4675003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1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3368227" y="4321861"/>
            <a:ext cx="461246" cy="461246"/>
            <a:chOff x="4988138" y="4172999"/>
            <a:chExt cx="461246" cy="461246"/>
          </a:xfrm>
        </p:grpSpPr>
        <p:sp>
          <p:nvSpPr>
            <p:cNvPr id="118" name="Oval 117"/>
            <p:cNvSpPr/>
            <p:nvPr/>
          </p:nvSpPr>
          <p:spPr>
            <a:xfrm>
              <a:off x="4988138" y="4172999"/>
              <a:ext cx="461246" cy="461246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5067918" y="422716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2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5381131" y="4321861"/>
            <a:ext cx="461246" cy="461246"/>
            <a:chOff x="3656026" y="2789667"/>
            <a:chExt cx="461246" cy="461246"/>
          </a:xfrm>
        </p:grpSpPr>
        <p:sp>
          <p:nvSpPr>
            <p:cNvPr id="121" name="Oval 120"/>
            <p:cNvSpPr/>
            <p:nvPr/>
          </p:nvSpPr>
          <p:spPr>
            <a:xfrm>
              <a:off x="3656026" y="2789667"/>
              <a:ext cx="461246" cy="461246"/>
            </a:xfrm>
            <a:prstGeom prst="ellipse">
              <a:avLst/>
            </a:prstGeom>
            <a:solidFill>
              <a:srgbClr val="E99E09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3735055" y="2830517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3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7394035" y="4321861"/>
            <a:ext cx="461246" cy="461246"/>
            <a:chOff x="5814237" y="2417365"/>
            <a:chExt cx="461246" cy="461246"/>
          </a:xfrm>
        </p:grpSpPr>
        <p:sp>
          <p:nvSpPr>
            <p:cNvPr id="124" name="Oval 123"/>
            <p:cNvSpPr/>
            <p:nvPr/>
          </p:nvSpPr>
          <p:spPr>
            <a:xfrm>
              <a:off x="5814237" y="2417365"/>
              <a:ext cx="461246" cy="461246"/>
            </a:xfrm>
            <a:prstGeom prst="ellipse">
              <a:avLst/>
            </a:prstGeom>
            <a:solidFill>
              <a:srgbClr val="227C13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5874836" y="2445900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4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26" name="Rectangle 33"/>
          <p:cNvSpPr>
            <a:spLocks/>
          </p:cNvSpPr>
          <p:nvPr/>
        </p:nvSpPr>
        <p:spPr bwMode="auto">
          <a:xfrm>
            <a:off x="2829451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fr-FR" sz="1100" b="1" dirty="0" smtClean="0"/>
              <a:t>Réglage adaptatif des paramètres de sélectivité de l’écoute.</a:t>
            </a:r>
            <a:endParaRPr lang="en-US" sz="1100" dirty="0"/>
          </a:p>
        </p:txBody>
      </p:sp>
      <p:sp>
        <p:nvSpPr>
          <p:cNvPr id="127" name="Rectangle 33"/>
          <p:cNvSpPr>
            <a:spLocks/>
          </p:cNvSpPr>
          <p:nvPr/>
        </p:nvSpPr>
        <p:spPr bwMode="auto">
          <a:xfrm>
            <a:off x="4788880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smtClean="0"/>
              <a:t>Extrapolation </a:t>
            </a:r>
            <a:r>
              <a:rPr lang="en-US" sz="1100" b="1" dirty="0" err="1" smtClean="0"/>
              <a:t>d’indices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trategiques</a:t>
            </a:r>
            <a:r>
              <a:rPr lang="en-US" sz="1100" b="1" dirty="0" smtClean="0"/>
              <a:t> pour la construction de </a:t>
            </a:r>
            <a:r>
              <a:rPr lang="en-US" sz="1100" b="1" dirty="0" err="1" smtClean="0"/>
              <a:t>l’émotion</a:t>
            </a:r>
            <a:r>
              <a:rPr lang="en-US" sz="1100" b="1" dirty="0" smtClean="0"/>
              <a:t> d’un client </a:t>
            </a:r>
            <a:r>
              <a:rPr lang="en-US" sz="1100" b="1" dirty="0" err="1" smtClean="0"/>
              <a:t>cible</a:t>
            </a:r>
            <a:r>
              <a:rPr lang="en-US" sz="1100" b="1" dirty="0" smtClean="0"/>
              <a:t> Lambda.</a:t>
            </a:r>
            <a:endParaRPr lang="en-US" sz="1100" dirty="0"/>
          </a:p>
        </p:txBody>
      </p:sp>
      <p:sp>
        <p:nvSpPr>
          <p:cNvPr id="128" name="Rectangle 33"/>
          <p:cNvSpPr>
            <a:spLocks/>
          </p:cNvSpPr>
          <p:nvPr/>
        </p:nvSpPr>
        <p:spPr bwMode="auto">
          <a:xfrm>
            <a:off x="6922480" y="4829064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fr-FR" sz="1100" b="1" dirty="0" err="1" smtClean="0"/>
              <a:t>Profiling</a:t>
            </a:r>
            <a:r>
              <a:rPr lang="fr-FR" sz="1100" b="1" dirty="0" smtClean="0"/>
              <a:t> : Construction du profil social de l’entreprise cliente.</a:t>
            </a:r>
            <a:endParaRPr lang="en-US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886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dirty="0"/>
              <a:t>Chiffre d'affaire prévisionnel </a:t>
            </a:r>
            <a:endParaRPr lang="en-US" dirty="0"/>
          </a:p>
        </p:txBody>
      </p:sp>
      <p:pic>
        <p:nvPicPr>
          <p:cNvPr id="4" name="Image2"/>
          <p:cNvPicPr/>
          <p:nvPr/>
        </p:nvPicPr>
        <p:blipFill>
          <a:blip r:embed="rId3">
            <a:lum bright="-50000"/>
            <a:alphaModFix/>
          </a:blip>
          <a:srcRect/>
          <a:stretch>
            <a:fillRect/>
          </a:stretch>
        </p:blipFill>
        <p:spPr>
          <a:xfrm>
            <a:off x="1371600" y="1828800"/>
            <a:ext cx="6433820" cy="3748088"/>
          </a:xfrm>
          <a:prstGeom prst="rect">
            <a:avLst/>
          </a:prstGeom>
        </p:spPr>
      </p:pic>
      <p:sp>
        <p:nvSpPr>
          <p:cNvPr id="5" name="Slide Number Placeholder 9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426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0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b="1" dirty="0"/>
              <a:t>D</a:t>
            </a:r>
            <a:r>
              <a:rPr lang="fr-FR" b="1" dirty="0" smtClean="0"/>
              <a:t>épenses</a:t>
            </a:r>
            <a:r>
              <a:rPr lang="fr-FR" dirty="0" smtClean="0"/>
              <a:t> </a:t>
            </a:r>
            <a:r>
              <a:rPr lang="fr-FR" b="1" dirty="0"/>
              <a:t>publicitaires</a:t>
            </a:r>
            <a:endParaRPr lang="en-US" dirty="0"/>
          </a:p>
        </p:txBody>
      </p:sp>
      <p:pic>
        <p:nvPicPr>
          <p:cNvPr id="4" name="Image4"/>
          <p:cNvPicPr/>
          <p:nvPr/>
        </p:nvPicPr>
        <p:blipFill>
          <a:blip r:embed="rId3">
            <a:lum bright="-50000"/>
            <a:alphaModFix/>
          </a:blip>
          <a:srcRect/>
          <a:stretch>
            <a:fillRect/>
          </a:stretch>
        </p:blipFill>
        <p:spPr>
          <a:xfrm>
            <a:off x="1143000" y="914400"/>
            <a:ext cx="6172200" cy="2895600"/>
          </a:xfrm>
          <a:prstGeom prst="rect">
            <a:avLst/>
          </a:prstGeom>
        </p:spPr>
      </p:pic>
      <p:pic>
        <p:nvPicPr>
          <p:cNvPr id="6" name="Image5"/>
          <p:cNvPicPr/>
          <p:nvPr/>
        </p:nvPicPr>
        <p:blipFill>
          <a:blip r:embed="rId4">
            <a:lum bright="-50000"/>
            <a:alphaModFix/>
          </a:blip>
          <a:srcRect/>
          <a:stretch>
            <a:fillRect/>
          </a:stretch>
        </p:blipFill>
        <p:spPr>
          <a:xfrm>
            <a:off x="1143000" y="3810000"/>
            <a:ext cx="6172200" cy="2275840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4191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625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Financement</a:t>
            </a:r>
            <a:endParaRPr lang="en-US" dirty="0"/>
          </a:p>
        </p:txBody>
      </p:sp>
      <p:pic>
        <p:nvPicPr>
          <p:cNvPr id="4" name="Image8"/>
          <p:cNvPicPr/>
          <p:nvPr/>
        </p:nvPicPr>
        <p:blipFill rotWithShape="1">
          <a:blip r:embed="rId3">
            <a:lum bright="-50000"/>
            <a:alphaModFix/>
          </a:blip>
          <a:srcRect t="10665"/>
          <a:stretch/>
        </p:blipFill>
        <p:spPr>
          <a:xfrm>
            <a:off x="457200" y="1371600"/>
            <a:ext cx="8423910" cy="3439510"/>
          </a:xfrm>
          <a:prstGeom prst="rect">
            <a:avLst/>
          </a:prstGeom>
        </p:spPr>
      </p:pic>
      <p:sp>
        <p:nvSpPr>
          <p:cNvPr id="5" name="Slide Number Placeholder 9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4191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805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RESULTAT PREVISIONNEL</a:t>
            </a:r>
            <a:endParaRPr lang="en-US" dirty="0"/>
          </a:p>
        </p:txBody>
      </p:sp>
      <p:pic>
        <p:nvPicPr>
          <p:cNvPr id="4" name="Image10"/>
          <p:cNvPicPr/>
          <p:nvPr/>
        </p:nvPicPr>
        <p:blipFill>
          <a:blip r:embed="rId3">
            <a:lum bright="-50000"/>
            <a:alphaModFix/>
          </a:blip>
          <a:srcRect/>
          <a:stretch>
            <a:fillRect/>
          </a:stretch>
        </p:blipFill>
        <p:spPr>
          <a:xfrm>
            <a:off x="1405890" y="838200"/>
            <a:ext cx="6332220" cy="5665470"/>
          </a:xfrm>
          <a:prstGeom prst="rect">
            <a:avLst/>
          </a:prstGeom>
        </p:spPr>
      </p:pic>
      <p:sp>
        <p:nvSpPr>
          <p:cNvPr id="5" name="Slide Number Placeholder 9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41148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38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Point-mort</a:t>
            </a:r>
            <a:endParaRPr lang="en-US" dirty="0"/>
          </a:p>
        </p:txBody>
      </p:sp>
      <p:pic>
        <p:nvPicPr>
          <p:cNvPr id="4" name="Image11"/>
          <p:cNvPicPr/>
          <p:nvPr/>
        </p:nvPicPr>
        <p:blipFill>
          <a:blip r:embed="rId3">
            <a:lum bright="-50000"/>
            <a:alphaModFix/>
          </a:blip>
          <a:srcRect/>
          <a:stretch>
            <a:fillRect/>
          </a:stretch>
        </p:blipFill>
        <p:spPr>
          <a:xfrm>
            <a:off x="1405890" y="1057910"/>
            <a:ext cx="6332220" cy="4742180"/>
          </a:xfrm>
          <a:prstGeom prst="rect">
            <a:avLst/>
          </a:prstGeom>
        </p:spPr>
      </p:pic>
      <p:sp>
        <p:nvSpPr>
          <p:cNvPr id="5" name="Slide Number Placeholder 9"/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4191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05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7" name="Group 19"/>
          <p:cNvGrpSpPr>
            <a:grpSpLocks/>
          </p:cNvGrpSpPr>
          <p:nvPr/>
        </p:nvGrpSpPr>
        <p:grpSpPr bwMode="auto">
          <a:xfrm>
            <a:off x="1778000" y="1323975"/>
            <a:ext cx="5588000" cy="3822700"/>
            <a:chOff x="1767389" y="1831927"/>
            <a:chExt cx="5587120" cy="3822705"/>
          </a:xfrm>
        </p:grpSpPr>
        <p:sp>
          <p:nvSpPr>
            <p:cNvPr id="29698" name="TextBox 3"/>
            <p:cNvSpPr txBox="1">
              <a:spLocks noChangeArrowheads="1"/>
            </p:cNvSpPr>
            <p:nvPr/>
          </p:nvSpPr>
          <p:spPr bwMode="auto">
            <a:xfrm>
              <a:off x="1767389" y="4731302"/>
              <a:ext cx="5587120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algn="ctr" eaLnBrk="1" hangingPunct="1"/>
              <a:r>
                <a:rPr lang="en-US" sz="3600" b="1" dirty="0">
                  <a:solidFill>
                    <a:srgbClr val="404040"/>
                  </a:solidFill>
                </a:rPr>
                <a:t>THANK YOU!</a:t>
              </a:r>
            </a:p>
            <a:p>
              <a:pPr algn="ctr" eaLnBrk="1" hangingPunct="1"/>
              <a:r>
                <a:rPr lang="en-US" sz="1800" i="1" dirty="0">
                  <a:solidFill>
                    <a:srgbClr val="404040"/>
                  </a:solidFill>
                </a:rPr>
                <a:t>- </a:t>
              </a:r>
              <a:r>
                <a:rPr lang="en-US" sz="1800" i="1" dirty="0" smtClean="0">
                  <a:solidFill>
                    <a:srgbClr val="404040"/>
                  </a:solidFill>
                </a:rPr>
                <a:t>-</a:t>
              </a:r>
              <a:endParaRPr lang="en-US" sz="1800" i="1" dirty="0">
                <a:solidFill>
                  <a:srgbClr val="404040"/>
                </a:solidFill>
              </a:endParaRPr>
            </a:p>
          </p:txBody>
        </p:sp>
        <p:grpSp>
          <p:nvGrpSpPr>
            <p:cNvPr id="29699" name="Group 25"/>
            <p:cNvGrpSpPr>
              <a:grpSpLocks/>
            </p:cNvGrpSpPr>
            <p:nvPr/>
          </p:nvGrpSpPr>
          <p:grpSpPr bwMode="auto">
            <a:xfrm>
              <a:off x="2046495" y="1831927"/>
              <a:ext cx="5028908" cy="2899375"/>
              <a:chOff x="890588" y="1185863"/>
              <a:chExt cx="7362825" cy="4244975"/>
            </a:xfrm>
          </p:grpSpPr>
          <p:cxnSp>
            <p:nvCxnSpPr>
              <p:cNvPr id="27" name="Straight Connector 26"/>
              <p:cNvCxnSpPr>
                <a:endCxn id="46" idx="3"/>
              </p:cNvCxnSpPr>
              <p:nvPr/>
            </p:nvCxnSpPr>
            <p:spPr>
              <a:xfrm flipV="1">
                <a:off x="4978683" y="2224809"/>
                <a:ext cx="697168" cy="66009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>
                <a:endCxn id="47" idx="1"/>
              </p:cNvCxnSpPr>
              <p:nvPr/>
            </p:nvCxnSpPr>
            <p:spPr>
              <a:xfrm>
                <a:off x="5048399" y="3770442"/>
                <a:ext cx="627451" cy="618254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>
                <a:stCxn id="58" idx="1"/>
                <a:endCxn id="44" idx="5"/>
              </p:cNvCxnSpPr>
              <p:nvPr/>
            </p:nvCxnSpPr>
            <p:spPr>
              <a:xfrm flipH="1" flipV="1">
                <a:off x="3449561" y="2224809"/>
                <a:ext cx="664633" cy="66009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>
                <a:stCxn id="58" idx="3"/>
                <a:endCxn id="45" idx="7"/>
              </p:cNvCxnSpPr>
              <p:nvPr/>
            </p:nvCxnSpPr>
            <p:spPr>
              <a:xfrm flipH="1">
                <a:off x="3449561" y="3744876"/>
                <a:ext cx="664633" cy="64382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>
                <a:stCxn id="43" idx="1"/>
                <a:endCxn id="46" idx="5"/>
              </p:cNvCxnSpPr>
              <p:nvPr/>
            </p:nvCxnSpPr>
            <p:spPr>
              <a:xfrm flipH="1" flipV="1">
                <a:off x="6535691" y="2224809"/>
                <a:ext cx="678577" cy="66009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>
                <a:stCxn id="43" idx="3"/>
                <a:endCxn id="47" idx="7"/>
              </p:cNvCxnSpPr>
              <p:nvPr/>
            </p:nvCxnSpPr>
            <p:spPr>
              <a:xfrm flipH="1">
                <a:off x="6535691" y="3744876"/>
                <a:ext cx="678577" cy="64382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>
                <a:stCxn id="46" idx="4"/>
                <a:endCxn id="47" idx="0"/>
              </p:cNvCxnSpPr>
              <p:nvPr/>
            </p:nvCxnSpPr>
            <p:spPr>
              <a:xfrm>
                <a:off x="6105770" y="2401453"/>
                <a:ext cx="0" cy="1810599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>
                <a:stCxn id="42" idx="6"/>
                <a:endCxn id="43" idx="2"/>
              </p:cNvCxnSpPr>
              <p:nvPr/>
            </p:nvCxnSpPr>
            <p:spPr>
              <a:xfrm>
                <a:off x="2108674" y="3312563"/>
                <a:ext cx="4926653" cy="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>
                <a:stCxn id="42" idx="7"/>
                <a:endCxn id="44" idx="3"/>
              </p:cNvCxnSpPr>
              <p:nvPr/>
            </p:nvCxnSpPr>
            <p:spPr>
              <a:xfrm flipV="1">
                <a:off x="1929735" y="2224809"/>
                <a:ext cx="659986" cy="66009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>
                <a:stCxn id="42" idx="5"/>
                <a:endCxn id="45" idx="1"/>
              </p:cNvCxnSpPr>
              <p:nvPr/>
            </p:nvCxnSpPr>
            <p:spPr>
              <a:xfrm>
                <a:off x="1929735" y="3744876"/>
                <a:ext cx="659986" cy="64382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>
                <a:stCxn id="44" idx="4"/>
                <a:endCxn id="45" idx="0"/>
              </p:cNvCxnSpPr>
              <p:nvPr/>
            </p:nvCxnSpPr>
            <p:spPr>
              <a:xfrm>
                <a:off x="3019640" y="2401453"/>
                <a:ext cx="0" cy="1810599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890954" y="2705930"/>
                <a:ext cx="1217720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3" name="Oval 42"/>
              <p:cNvSpPr/>
              <p:nvPr/>
            </p:nvSpPr>
            <p:spPr>
              <a:xfrm>
                <a:off x="7035327" y="2705930"/>
                <a:ext cx="1217720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2410780" y="1185863"/>
                <a:ext cx="1217720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5" name="Oval 44"/>
              <p:cNvSpPr/>
              <p:nvPr/>
            </p:nvSpPr>
            <p:spPr>
              <a:xfrm>
                <a:off x="2410780" y="4212052"/>
                <a:ext cx="1217720" cy="12179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6" name="Oval 45"/>
              <p:cNvSpPr/>
              <p:nvPr/>
            </p:nvSpPr>
            <p:spPr>
              <a:xfrm>
                <a:off x="5496910" y="1185863"/>
                <a:ext cx="1215397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7" name="Oval 46"/>
              <p:cNvSpPr/>
              <p:nvPr/>
            </p:nvSpPr>
            <p:spPr>
              <a:xfrm>
                <a:off x="5496910" y="4212052"/>
                <a:ext cx="1215397" cy="12179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5496910" y="2705930"/>
                <a:ext cx="1215397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49" name="Oval 48"/>
              <p:cNvSpPr/>
              <p:nvPr/>
            </p:nvSpPr>
            <p:spPr>
              <a:xfrm>
                <a:off x="2410780" y="2705930"/>
                <a:ext cx="1217720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grpSp>
            <p:nvGrpSpPr>
              <p:cNvPr id="50" name="Group 165"/>
              <p:cNvGrpSpPr>
                <a:grpSpLocks/>
              </p:cNvGrpSpPr>
              <p:nvPr/>
            </p:nvGrpSpPr>
            <p:grpSpPr bwMode="auto">
              <a:xfrm>
                <a:off x="1312863" y="2852738"/>
                <a:ext cx="354012" cy="968375"/>
                <a:chOff x="-39797" y="1590244"/>
                <a:chExt cx="825079" cy="2412051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95" name="Freeform 1578"/>
                <p:cNvSpPr>
                  <a:spLocks/>
                </p:cNvSpPr>
                <p:nvPr/>
              </p:nvSpPr>
              <p:spPr bwMode="auto">
                <a:xfrm>
                  <a:off x="348692" y="3725502"/>
                  <a:ext cx="403291" cy="193754"/>
                </a:xfrm>
                <a:custGeom>
                  <a:avLst/>
                  <a:gdLst>
                    <a:gd name="T0" fmla="*/ 2147483647 w 470"/>
                    <a:gd name="T1" fmla="*/ 0 h 225"/>
                    <a:gd name="T2" fmla="*/ 2147483647 w 470"/>
                    <a:gd name="T3" fmla="*/ 0 h 225"/>
                    <a:gd name="T4" fmla="*/ 0 w 470"/>
                    <a:gd name="T5" fmla="*/ 2147483647 h 225"/>
                    <a:gd name="T6" fmla="*/ 0 w 470"/>
                    <a:gd name="T7" fmla="*/ 2147483647 h 225"/>
                    <a:gd name="T8" fmla="*/ 0 w 470"/>
                    <a:gd name="T9" fmla="*/ 2147483647 h 225"/>
                    <a:gd name="T10" fmla="*/ 0 w 470"/>
                    <a:gd name="T11" fmla="*/ 2147483647 h 225"/>
                    <a:gd name="T12" fmla="*/ 2147483647 w 470"/>
                    <a:gd name="T13" fmla="*/ 2147483647 h 225"/>
                    <a:gd name="T14" fmla="*/ 2147483647 w 470"/>
                    <a:gd name="T15" fmla="*/ 2147483647 h 225"/>
                    <a:gd name="T16" fmla="*/ 2147483647 w 470"/>
                    <a:gd name="T17" fmla="*/ 2147483647 h 225"/>
                    <a:gd name="T18" fmla="*/ 2147483647 w 470"/>
                    <a:gd name="T19" fmla="*/ 2147483647 h 225"/>
                    <a:gd name="T20" fmla="*/ 2147483647 w 470"/>
                    <a:gd name="T21" fmla="*/ 2147483647 h 225"/>
                    <a:gd name="T22" fmla="*/ 2147483647 w 470"/>
                    <a:gd name="T23" fmla="*/ 2147483647 h 225"/>
                    <a:gd name="T24" fmla="*/ 2147483647 w 470"/>
                    <a:gd name="T25" fmla="*/ 2147483647 h 225"/>
                    <a:gd name="T26" fmla="*/ 2147483647 w 470"/>
                    <a:gd name="T27" fmla="*/ 2147483647 h 225"/>
                    <a:gd name="T28" fmla="*/ 2147483647 w 470"/>
                    <a:gd name="T29" fmla="*/ 2147483647 h 225"/>
                    <a:gd name="T30" fmla="*/ 2147483647 w 470"/>
                    <a:gd name="T31" fmla="*/ 2147483647 h 225"/>
                    <a:gd name="T32" fmla="*/ 2147483647 w 470"/>
                    <a:gd name="T33" fmla="*/ 2147483647 h 225"/>
                    <a:gd name="T34" fmla="*/ 2147483647 w 470"/>
                    <a:gd name="T35" fmla="*/ 2147483647 h 225"/>
                    <a:gd name="T36" fmla="*/ 2147483647 w 470"/>
                    <a:gd name="T37" fmla="*/ 2147483647 h 225"/>
                    <a:gd name="T38" fmla="*/ 2147483647 w 470"/>
                    <a:gd name="T39" fmla="*/ 2147483647 h 225"/>
                    <a:gd name="T40" fmla="*/ 2147483647 w 470"/>
                    <a:gd name="T41" fmla="*/ 2147483647 h 225"/>
                    <a:gd name="T42" fmla="*/ 2147483647 w 470"/>
                    <a:gd name="T43" fmla="*/ 2147483647 h 225"/>
                    <a:gd name="T44" fmla="*/ 2147483647 w 470"/>
                    <a:gd name="T45" fmla="*/ 2147483647 h 225"/>
                    <a:gd name="T46" fmla="*/ 2147483647 w 470"/>
                    <a:gd name="T47" fmla="*/ 2147483647 h 225"/>
                    <a:gd name="T48" fmla="*/ 2147483647 w 470"/>
                    <a:gd name="T49" fmla="*/ 2147483647 h 225"/>
                    <a:gd name="T50" fmla="*/ 2147483647 w 470"/>
                    <a:gd name="T51" fmla="*/ 2147483647 h 225"/>
                    <a:gd name="T52" fmla="*/ 2147483647 w 470"/>
                    <a:gd name="T53" fmla="*/ 2147483647 h 225"/>
                    <a:gd name="T54" fmla="*/ 2147483647 w 470"/>
                    <a:gd name="T55" fmla="*/ 2147483647 h 225"/>
                    <a:gd name="T56" fmla="*/ 2147483647 w 470"/>
                    <a:gd name="T57" fmla="*/ 2147483647 h 225"/>
                    <a:gd name="T58" fmla="*/ 2147483647 w 470"/>
                    <a:gd name="T59" fmla="*/ 2147483647 h 225"/>
                    <a:gd name="T60" fmla="*/ 2147483647 w 470"/>
                    <a:gd name="T61" fmla="*/ 2147483647 h 225"/>
                    <a:gd name="T62" fmla="*/ 2147483647 w 470"/>
                    <a:gd name="T63" fmla="*/ 2147483647 h 225"/>
                    <a:gd name="T64" fmla="*/ 2147483647 w 470"/>
                    <a:gd name="T65" fmla="*/ 2147483647 h 225"/>
                    <a:gd name="T66" fmla="*/ 2147483647 w 470"/>
                    <a:gd name="T67" fmla="*/ 2147483647 h 225"/>
                    <a:gd name="T68" fmla="*/ 2147483647 w 470"/>
                    <a:gd name="T69" fmla="*/ 2147483647 h 225"/>
                    <a:gd name="T70" fmla="*/ 2147483647 w 470"/>
                    <a:gd name="T71" fmla="*/ 2147483647 h 225"/>
                    <a:gd name="T72" fmla="*/ 2147483647 w 470"/>
                    <a:gd name="T73" fmla="*/ 2147483647 h 225"/>
                    <a:gd name="T74" fmla="*/ 2147483647 w 470"/>
                    <a:gd name="T75" fmla="*/ 2147483647 h 225"/>
                    <a:gd name="T76" fmla="*/ 2147483647 w 470"/>
                    <a:gd name="T77" fmla="*/ 2147483647 h 225"/>
                    <a:gd name="T78" fmla="*/ 2147483647 w 470"/>
                    <a:gd name="T79" fmla="*/ 2147483647 h 225"/>
                    <a:gd name="T80" fmla="*/ 2147483647 w 470"/>
                    <a:gd name="T81" fmla="*/ 2147483647 h 225"/>
                    <a:gd name="T82" fmla="*/ 2147483647 w 470"/>
                    <a:gd name="T83" fmla="*/ 2147483647 h 225"/>
                    <a:gd name="T84" fmla="*/ 2147483647 w 470"/>
                    <a:gd name="T85" fmla="*/ 2147483647 h 225"/>
                    <a:gd name="T86" fmla="*/ 2147483647 w 470"/>
                    <a:gd name="T87" fmla="*/ 2147483647 h 225"/>
                    <a:gd name="T88" fmla="*/ 2147483647 w 470"/>
                    <a:gd name="T89" fmla="*/ 2147483647 h 225"/>
                    <a:gd name="T90" fmla="*/ 2147483647 w 470"/>
                    <a:gd name="T91" fmla="*/ 0 h 225"/>
                    <a:gd name="T92" fmla="*/ 2147483647 w 470"/>
                    <a:gd name="T93" fmla="*/ 0 h 225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470"/>
                    <a:gd name="T142" fmla="*/ 0 h 225"/>
                    <a:gd name="T143" fmla="*/ 470 w 470"/>
                    <a:gd name="T144" fmla="*/ 225 h 225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470" h="225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0" y="77"/>
                      </a:lnTo>
                      <a:lnTo>
                        <a:pt x="0" y="115"/>
                      </a:lnTo>
                      <a:lnTo>
                        <a:pt x="0" y="126"/>
                      </a:lnTo>
                      <a:lnTo>
                        <a:pt x="0" y="137"/>
                      </a:lnTo>
                      <a:lnTo>
                        <a:pt x="5" y="186"/>
                      </a:lnTo>
                      <a:lnTo>
                        <a:pt x="5" y="197"/>
                      </a:lnTo>
                      <a:lnTo>
                        <a:pt x="11" y="203"/>
                      </a:lnTo>
                      <a:lnTo>
                        <a:pt x="16" y="208"/>
                      </a:lnTo>
                      <a:lnTo>
                        <a:pt x="22" y="208"/>
                      </a:lnTo>
                      <a:lnTo>
                        <a:pt x="93" y="214"/>
                      </a:lnTo>
                      <a:lnTo>
                        <a:pt x="126" y="208"/>
                      </a:lnTo>
                      <a:lnTo>
                        <a:pt x="142" y="203"/>
                      </a:lnTo>
                      <a:lnTo>
                        <a:pt x="147" y="197"/>
                      </a:lnTo>
                      <a:lnTo>
                        <a:pt x="147" y="186"/>
                      </a:lnTo>
                      <a:lnTo>
                        <a:pt x="202" y="203"/>
                      </a:lnTo>
                      <a:lnTo>
                        <a:pt x="246" y="219"/>
                      </a:lnTo>
                      <a:lnTo>
                        <a:pt x="284" y="225"/>
                      </a:lnTo>
                      <a:lnTo>
                        <a:pt x="361" y="225"/>
                      </a:lnTo>
                      <a:lnTo>
                        <a:pt x="421" y="225"/>
                      </a:lnTo>
                      <a:lnTo>
                        <a:pt x="470" y="214"/>
                      </a:lnTo>
                      <a:lnTo>
                        <a:pt x="470" y="208"/>
                      </a:lnTo>
                      <a:lnTo>
                        <a:pt x="465" y="192"/>
                      </a:lnTo>
                      <a:lnTo>
                        <a:pt x="454" y="181"/>
                      </a:lnTo>
                      <a:lnTo>
                        <a:pt x="437" y="170"/>
                      </a:lnTo>
                      <a:lnTo>
                        <a:pt x="415" y="159"/>
                      </a:lnTo>
                      <a:lnTo>
                        <a:pt x="388" y="153"/>
                      </a:lnTo>
                      <a:lnTo>
                        <a:pt x="312" y="137"/>
                      </a:lnTo>
                      <a:lnTo>
                        <a:pt x="301" y="132"/>
                      </a:lnTo>
                      <a:lnTo>
                        <a:pt x="284" y="121"/>
                      </a:lnTo>
                      <a:lnTo>
                        <a:pt x="246" y="82"/>
                      </a:lnTo>
                      <a:lnTo>
                        <a:pt x="229" y="39"/>
                      </a:lnTo>
                      <a:lnTo>
                        <a:pt x="175" y="39"/>
                      </a:lnTo>
                      <a:lnTo>
                        <a:pt x="120" y="33"/>
                      </a:lnTo>
                      <a:lnTo>
                        <a:pt x="71" y="22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196" name="Freeform 1579"/>
                <p:cNvSpPr>
                  <a:spLocks/>
                </p:cNvSpPr>
                <p:nvPr/>
              </p:nvSpPr>
              <p:spPr bwMode="auto">
                <a:xfrm>
                  <a:off x="180624" y="1829561"/>
                  <a:ext cx="154381" cy="155257"/>
                </a:xfrm>
                <a:custGeom>
                  <a:avLst/>
                  <a:gdLst>
                    <a:gd name="T0" fmla="*/ 2147483647 w 180"/>
                    <a:gd name="T1" fmla="*/ 0 h 181"/>
                    <a:gd name="T2" fmla="*/ 2147483647 w 180"/>
                    <a:gd name="T3" fmla="*/ 0 h 181"/>
                    <a:gd name="T4" fmla="*/ 0 w 180"/>
                    <a:gd name="T5" fmla="*/ 2147483647 h 181"/>
                    <a:gd name="T6" fmla="*/ 0 w 180"/>
                    <a:gd name="T7" fmla="*/ 2147483647 h 181"/>
                    <a:gd name="T8" fmla="*/ 2147483647 w 180"/>
                    <a:gd name="T9" fmla="*/ 2147483647 h 181"/>
                    <a:gd name="T10" fmla="*/ 2147483647 w 180"/>
                    <a:gd name="T11" fmla="*/ 2147483647 h 181"/>
                    <a:gd name="T12" fmla="*/ 2147483647 w 180"/>
                    <a:gd name="T13" fmla="*/ 2147483647 h 181"/>
                    <a:gd name="T14" fmla="*/ 2147483647 w 180"/>
                    <a:gd name="T15" fmla="*/ 2147483647 h 181"/>
                    <a:gd name="T16" fmla="*/ 2147483647 w 180"/>
                    <a:gd name="T17" fmla="*/ 2147483647 h 181"/>
                    <a:gd name="T18" fmla="*/ 2147483647 w 180"/>
                    <a:gd name="T19" fmla="*/ 2147483647 h 181"/>
                    <a:gd name="T20" fmla="*/ 2147483647 w 180"/>
                    <a:gd name="T21" fmla="*/ 2147483647 h 181"/>
                    <a:gd name="T22" fmla="*/ 2147483647 w 180"/>
                    <a:gd name="T23" fmla="*/ 2147483647 h 181"/>
                    <a:gd name="T24" fmla="*/ 2147483647 w 180"/>
                    <a:gd name="T25" fmla="*/ 2147483647 h 181"/>
                    <a:gd name="T26" fmla="*/ 2147483647 w 180"/>
                    <a:gd name="T27" fmla="*/ 2147483647 h 181"/>
                    <a:gd name="T28" fmla="*/ 2147483647 w 180"/>
                    <a:gd name="T29" fmla="*/ 2147483647 h 181"/>
                    <a:gd name="T30" fmla="*/ 2147483647 w 180"/>
                    <a:gd name="T31" fmla="*/ 0 h 181"/>
                    <a:gd name="T32" fmla="*/ 2147483647 w 180"/>
                    <a:gd name="T33" fmla="*/ 0 h 181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0"/>
                    <a:gd name="T52" fmla="*/ 0 h 181"/>
                    <a:gd name="T53" fmla="*/ 180 w 180"/>
                    <a:gd name="T54" fmla="*/ 181 h 181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0" h="181"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0" y="49"/>
                      </a:lnTo>
                      <a:lnTo>
                        <a:pt x="44" y="109"/>
                      </a:lnTo>
                      <a:lnTo>
                        <a:pt x="82" y="153"/>
                      </a:lnTo>
                      <a:lnTo>
                        <a:pt x="109" y="181"/>
                      </a:lnTo>
                      <a:lnTo>
                        <a:pt x="120" y="181"/>
                      </a:lnTo>
                      <a:lnTo>
                        <a:pt x="137" y="175"/>
                      </a:lnTo>
                      <a:lnTo>
                        <a:pt x="158" y="153"/>
                      </a:lnTo>
                      <a:lnTo>
                        <a:pt x="180" y="115"/>
                      </a:lnTo>
                      <a:lnTo>
                        <a:pt x="76" y="27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97" name="Freeform 1580"/>
                <p:cNvSpPr>
                  <a:spLocks noEditPoints="1"/>
                </p:cNvSpPr>
                <p:nvPr/>
              </p:nvSpPr>
              <p:spPr bwMode="auto">
                <a:xfrm>
                  <a:off x="-39797" y="1590244"/>
                  <a:ext cx="825079" cy="2412051"/>
                </a:xfrm>
                <a:custGeom>
                  <a:avLst/>
                  <a:gdLst>
                    <a:gd name="T0" fmla="*/ 2147483647 w 962"/>
                    <a:gd name="T1" fmla="*/ 2147483647 h 2812"/>
                    <a:gd name="T2" fmla="*/ 2147483647 w 962"/>
                    <a:gd name="T3" fmla="*/ 2147483647 h 2812"/>
                    <a:gd name="T4" fmla="*/ 2147483647 w 962"/>
                    <a:gd name="T5" fmla="*/ 2147483647 h 2812"/>
                    <a:gd name="T6" fmla="*/ 2147483647 w 962"/>
                    <a:gd name="T7" fmla="*/ 2147483647 h 2812"/>
                    <a:gd name="T8" fmla="*/ 2147483647 w 962"/>
                    <a:gd name="T9" fmla="*/ 2147483647 h 2812"/>
                    <a:gd name="T10" fmla="*/ 2147483647 w 962"/>
                    <a:gd name="T11" fmla="*/ 2147483647 h 2812"/>
                    <a:gd name="T12" fmla="*/ 2147483647 w 962"/>
                    <a:gd name="T13" fmla="*/ 2147483647 h 2812"/>
                    <a:gd name="T14" fmla="*/ 2147483647 w 962"/>
                    <a:gd name="T15" fmla="*/ 2147483647 h 2812"/>
                    <a:gd name="T16" fmla="*/ 2147483647 w 962"/>
                    <a:gd name="T17" fmla="*/ 2147483647 h 2812"/>
                    <a:gd name="T18" fmla="*/ 2147483647 w 962"/>
                    <a:gd name="T19" fmla="*/ 2147483647 h 2812"/>
                    <a:gd name="T20" fmla="*/ 2147483647 w 962"/>
                    <a:gd name="T21" fmla="*/ 2147483647 h 2812"/>
                    <a:gd name="T22" fmla="*/ 2147483647 w 962"/>
                    <a:gd name="T23" fmla="*/ 2147483647 h 2812"/>
                    <a:gd name="T24" fmla="*/ 2147483647 w 962"/>
                    <a:gd name="T25" fmla="*/ 2147483647 h 2812"/>
                    <a:gd name="T26" fmla="*/ 2147483647 w 962"/>
                    <a:gd name="T27" fmla="*/ 2147483647 h 2812"/>
                    <a:gd name="T28" fmla="*/ 2147483647 w 962"/>
                    <a:gd name="T29" fmla="*/ 2147483647 h 2812"/>
                    <a:gd name="T30" fmla="*/ 2147483647 w 962"/>
                    <a:gd name="T31" fmla="*/ 2147483647 h 2812"/>
                    <a:gd name="T32" fmla="*/ 2147483647 w 962"/>
                    <a:gd name="T33" fmla="*/ 2147483647 h 2812"/>
                    <a:gd name="T34" fmla="*/ 2147483647 w 962"/>
                    <a:gd name="T35" fmla="*/ 2147483647 h 2812"/>
                    <a:gd name="T36" fmla="*/ 2147483647 w 962"/>
                    <a:gd name="T37" fmla="*/ 2147483647 h 2812"/>
                    <a:gd name="T38" fmla="*/ 2147483647 w 962"/>
                    <a:gd name="T39" fmla="*/ 2147483647 h 2812"/>
                    <a:gd name="T40" fmla="*/ 2147483647 w 962"/>
                    <a:gd name="T41" fmla="*/ 2147483647 h 2812"/>
                    <a:gd name="T42" fmla="*/ 2147483647 w 962"/>
                    <a:gd name="T43" fmla="*/ 2147483647 h 2812"/>
                    <a:gd name="T44" fmla="*/ 2147483647 w 962"/>
                    <a:gd name="T45" fmla="*/ 2147483647 h 2812"/>
                    <a:gd name="T46" fmla="*/ 2147483647 w 962"/>
                    <a:gd name="T47" fmla="*/ 2147483647 h 2812"/>
                    <a:gd name="T48" fmla="*/ 2147483647 w 962"/>
                    <a:gd name="T49" fmla="*/ 2147483647 h 2812"/>
                    <a:gd name="T50" fmla="*/ 2147483647 w 962"/>
                    <a:gd name="T51" fmla="*/ 2147483647 h 2812"/>
                    <a:gd name="T52" fmla="*/ 2147483647 w 962"/>
                    <a:gd name="T53" fmla="*/ 2147483647 h 2812"/>
                    <a:gd name="T54" fmla="*/ 2147483647 w 962"/>
                    <a:gd name="T55" fmla="*/ 2147483647 h 2812"/>
                    <a:gd name="T56" fmla="*/ 2147483647 w 962"/>
                    <a:gd name="T57" fmla="*/ 2147483647 h 2812"/>
                    <a:gd name="T58" fmla="*/ 2147483647 w 962"/>
                    <a:gd name="T59" fmla="*/ 2147483647 h 2812"/>
                    <a:gd name="T60" fmla="*/ 2147483647 w 962"/>
                    <a:gd name="T61" fmla="*/ 2147483647 h 2812"/>
                    <a:gd name="T62" fmla="*/ 2147483647 w 962"/>
                    <a:gd name="T63" fmla="*/ 2147483647 h 2812"/>
                    <a:gd name="T64" fmla="*/ 2147483647 w 962"/>
                    <a:gd name="T65" fmla="*/ 2147483647 h 2812"/>
                    <a:gd name="T66" fmla="*/ 2147483647 w 962"/>
                    <a:gd name="T67" fmla="*/ 2147483647 h 2812"/>
                    <a:gd name="T68" fmla="*/ 2147483647 w 962"/>
                    <a:gd name="T69" fmla="*/ 2147483647 h 2812"/>
                    <a:gd name="T70" fmla="*/ 2147483647 w 962"/>
                    <a:gd name="T71" fmla="*/ 2147483647 h 2812"/>
                    <a:gd name="T72" fmla="*/ 2147483647 w 962"/>
                    <a:gd name="T73" fmla="*/ 2147483647 h 2812"/>
                    <a:gd name="T74" fmla="*/ 2147483647 w 962"/>
                    <a:gd name="T75" fmla="*/ 2147483647 h 2812"/>
                    <a:gd name="T76" fmla="*/ 2147483647 w 962"/>
                    <a:gd name="T77" fmla="*/ 2147483647 h 2812"/>
                    <a:gd name="T78" fmla="*/ 2147483647 w 962"/>
                    <a:gd name="T79" fmla="*/ 2147483647 h 2812"/>
                    <a:gd name="T80" fmla="*/ 2147483647 w 962"/>
                    <a:gd name="T81" fmla="*/ 2147483647 h 2812"/>
                    <a:gd name="T82" fmla="*/ 2147483647 w 962"/>
                    <a:gd name="T83" fmla="*/ 2147483647 h 2812"/>
                    <a:gd name="T84" fmla="*/ 2147483647 w 962"/>
                    <a:gd name="T85" fmla="*/ 2147483647 h 2812"/>
                    <a:gd name="T86" fmla="*/ 2147483647 w 962"/>
                    <a:gd name="T87" fmla="*/ 2147483647 h 2812"/>
                    <a:gd name="T88" fmla="*/ 2147483647 w 962"/>
                    <a:gd name="T89" fmla="*/ 2147483647 h 2812"/>
                    <a:gd name="T90" fmla="*/ 2147483647 w 962"/>
                    <a:gd name="T91" fmla="*/ 2147483647 h 2812"/>
                    <a:gd name="T92" fmla="*/ 2147483647 w 962"/>
                    <a:gd name="T93" fmla="*/ 2147483647 h 2812"/>
                    <a:gd name="T94" fmla="*/ 2147483647 w 962"/>
                    <a:gd name="T95" fmla="*/ 2147483647 h 2812"/>
                    <a:gd name="T96" fmla="*/ 2147483647 w 962"/>
                    <a:gd name="T97" fmla="*/ 2147483647 h 2812"/>
                    <a:gd name="T98" fmla="*/ 2147483647 w 962"/>
                    <a:gd name="T99" fmla="*/ 2147483647 h 2812"/>
                    <a:gd name="T100" fmla="*/ 2147483647 w 962"/>
                    <a:gd name="T101" fmla="*/ 2147483647 h 2812"/>
                    <a:gd name="T102" fmla="*/ 2147483647 w 962"/>
                    <a:gd name="T103" fmla="*/ 2147483647 h 2812"/>
                    <a:gd name="T104" fmla="*/ 2147483647 w 962"/>
                    <a:gd name="T105" fmla="*/ 2147483647 h 2812"/>
                    <a:gd name="T106" fmla="*/ 2147483647 w 962"/>
                    <a:gd name="T107" fmla="*/ 2147483647 h 2812"/>
                    <a:gd name="T108" fmla="*/ 2147483647 w 962"/>
                    <a:gd name="T109" fmla="*/ 2147483647 h 2812"/>
                    <a:gd name="T110" fmla="*/ 2147483647 w 962"/>
                    <a:gd name="T111" fmla="*/ 2147483647 h 2812"/>
                    <a:gd name="T112" fmla="*/ 2147483647 w 962"/>
                    <a:gd name="T113" fmla="*/ 2147483647 h 2812"/>
                    <a:gd name="T114" fmla="*/ 2147483647 w 962"/>
                    <a:gd name="T115" fmla="*/ 2147483647 h 2812"/>
                    <a:gd name="T116" fmla="*/ 2147483647 w 962"/>
                    <a:gd name="T117" fmla="*/ 2147483647 h 2812"/>
                    <a:gd name="T118" fmla="*/ 2147483647 w 962"/>
                    <a:gd name="T119" fmla="*/ 2147483647 h 2812"/>
                    <a:gd name="T120" fmla="*/ 2147483647 w 962"/>
                    <a:gd name="T121" fmla="*/ 2147483647 h 2812"/>
                    <a:gd name="T122" fmla="*/ 2147483647 w 962"/>
                    <a:gd name="T123" fmla="*/ 2147483647 h 2812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962"/>
                    <a:gd name="T187" fmla="*/ 0 h 2812"/>
                    <a:gd name="T188" fmla="*/ 962 w 962"/>
                    <a:gd name="T189" fmla="*/ 2812 h 2812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962" h="2812">
                      <a:moveTo>
                        <a:pt x="880" y="377"/>
                      </a:moveTo>
                      <a:lnTo>
                        <a:pt x="880" y="377"/>
                      </a:lnTo>
                      <a:lnTo>
                        <a:pt x="864" y="372"/>
                      </a:lnTo>
                      <a:lnTo>
                        <a:pt x="842" y="356"/>
                      </a:lnTo>
                      <a:lnTo>
                        <a:pt x="809" y="323"/>
                      </a:lnTo>
                      <a:lnTo>
                        <a:pt x="804" y="312"/>
                      </a:lnTo>
                      <a:lnTo>
                        <a:pt x="798" y="301"/>
                      </a:lnTo>
                      <a:lnTo>
                        <a:pt x="776" y="290"/>
                      </a:lnTo>
                      <a:lnTo>
                        <a:pt x="776" y="279"/>
                      </a:lnTo>
                      <a:lnTo>
                        <a:pt x="766" y="241"/>
                      </a:lnTo>
                      <a:lnTo>
                        <a:pt x="755" y="208"/>
                      </a:lnTo>
                      <a:lnTo>
                        <a:pt x="744" y="191"/>
                      </a:lnTo>
                      <a:lnTo>
                        <a:pt x="727" y="186"/>
                      </a:lnTo>
                      <a:lnTo>
                        <a:pt x="716" y="186"/>
                      </a:lnTo>
                      <a:lnTo>
                        <a:pt x="711" y="186"/>
                      </a:lnTo>
                      <a:lnTo>
                        <a:pt x="700" y="186"/>
                      </a:lnTo>
                      <a:lnTo>
                        <a:pt x="683" y="181"/>
                      </a:lnTo>
                      <a:lnTo>
                        <a:pt x="673" y="181"/>
                      </a:lnTo>
                      <a:lnTo>
                        <a:pt x="667" y="186"/>
                      </a:lnTo>
                      <a:lnTo>
                        <a:pt x="667" y="191"/>
                      </a:lnTo>
                      <a:lnTo>
                        <a:pt x="645" y="186"/>
                      </a:lnTo>
                      <a:lnTo>
                        <a:pt x="634" y="186"/>
                      </a:lnTo>
                      <a:lnTo>
                        <a:pt x="629" y="191"/>
                      </a:lnTo>
                      <a:lnTo>
                        <a:pt x="623" y="197"/>
                      </a:lnTo>
                      <a:lnTo>
                        <a:pt x="612" y="191"/>
                      </a:lnTo>
                      <a:lnTo>
                        <a:pt x="596" y="191"/>
                      </a:lnTo>
                      <a:lnTo>
                        <a:pt x="585" y="197"/>
                      </a:lnTo>
                      <a:lnTo>
                        <a:pt x="574" y="213"/>
                      </a:lnTo>
                      <a:lnTo>
                        <a:pt x="563" y="252"/>
                      </a:lnTo>
                      <a:lnTo>
                        <a:pt x="563" y="257"/>
                      </a:lnTo>
                      <a:lnTo>
                        <a:pt x="574" y="268"/>
                      </a:lnTo>
                      <a:lnTo>
                        <a:pt x="590" y="290"/>
                      </a:lnTo>
                      <a:lnTo>
                        <a:pt x="618" y="312"/>
                      </a:lnTo>
                      <a:lnTo>
                        <a:pt x="623" y="323"/>
                      </a:lnTo>
                      <a:lnTo>
                        <a:pt x="640" y="334"/>
                      </a:lnTo>
                      <a:lnTo>
                        <a:pt x="667" y="345"/>
                      </a:lnTo>
                      <a:lnTo>
                        <a:pt x="705" y="356"/>
                      </a:lnTo>
                      <a:lnTo>
                        <a:pt x="711" y="372"/>
                      </a:lnTo>
                      <a:lnTo>
                        <a:pt x="716" y="377"/>
                      </a:lnTo>
                      <a:lnTo>
                        <a:pt x="716" y="388"/>
                      </a:lnTo>
                      <a:lnTo>
                        <a:pt x="722" y="421"/>
                      </a:lnTo>
                      <a:lnTo>
                        <a:pt x="744" y="465"/>
                      </a:lnTo>
                      <a:lnTo>
                        <a:pt x="771" y="520"/>
                      </a:lnTo>
                      <a:lnTo>
                        <a:pt x="771" y="547"/>
                      </a:lnTo>
                      <a:lnTo>
                        <a:pt x="755" y="536"/>
                      </a:lnTo>
                      <a:lnTo>
                        <a:pt x="722" y="520"/>
                      </a:lnTo>
                      <a:lnTo>
                        <a:pt x="667" y="503"/>
                      </a:lnTo>
                      <a:lnTo>
                        <a:pt x="645" y="481"/>
                      </a:lnTo>
                      <a:lnTo>
                        <a:pt x="607" y="449"/>
                      </a:lnTo>
                      <a:lnTo>
                        <a:pt x="596" y="438"/>
                      </a:lnTo>
                      <a:lnTo>
                        <a:pt x="585" y="432"/>
                      </a:lnTo>
                      <a:lnTo>
                        <a:pt x="574" y="427"/>
                      </a:lnTo>
                      <a:lnTo>
                        <a:pt x="558" y="421"/>
                      </a:lnTo>
                      <a:lnTo>
                        <a:pt x="519" y="421"/>
                      </a:lnTo>
                      <a:lnTo>
                        <a:pt x="497" y="416"/>
                      </a:lnTo>
                      <a:lnTo>
                        <a:pt x="481" y="410"/>
                      </a:lnTo>
                      <a:lnTo>
                        <a:pt x="465" y="405"/>
                      </a:lnTo>
                      <a:lnTo>
                        <a:pt x="459" y="399"/>
                      </a:lnTo>
                      <a:lnTo>
                        <a:pt x="454" y="394"/>
                      </a:lnTo>
                      <a:lnTo>
                        <a:pt x="465" y="399"/>
                      </a:lnTo>
                      <a:lnTo>
                        <a:pt x="487" y="399"/>
                      </a:lnTo>
                      <a:lnTo>
                        <a:pt x="497" y="394"/>
                      </a:lnTo>
                      <a:lnTo>
                        <a:pt x="503" y="383"/>
                      </a:lnTo>
                      <a:lnTo>
                        <a:pt x="508" y="372"/>
                      </a:lnTo>
                      <a:lnTo>
                        <a:pt x="508" y="361"/>
                      </a:lnTo>
                      <a:lnTo>
                        <a:pt x="514" y="356"/>
                      </a:lnTo>
                      <a:lnTo>
                        <a:pt x="519" y="356"/>
                      </a:lnTo>
                      <a:lnTo>
                        <a:pt x="519" y="350"/>
                      </a:lnTo>
                      <a:lnTo>
                        <a:pt x="525" y="345"/>
                      </a:lnTo>
                      <a:lnTo>
                        <a:pt x="519" y="345"/>
                      </a:lnTo>
                      <a:lnTo>
                        <a:pt x="519" y="339"/>
                      </a:lnTo>
                      <a:lnTo>
                        <a:pt x="525" y="339"/>
                      </a:lnTo>
                      <a:lnTo>
                        <a:pt x="530" y="334"/>
                      </a:lnTo>
                      <a:lnTo>
                        <a:pt x="530" y="328"/>
                      </a:lnTo>
                      <a:lnTo>
                        <a:pt x="530" y="317"/>
                      </a:lnTo>
                      <a:lnTo>
                        <a:pt x="530" y="312"/>
                      </a:lnTo>
                      <a:lnTo>
                        <a:pt x="552" y="312"/>
                      </a:lnTo>
                      <a:lnTo>
                        <a:pt x="563" y="312"/>
                      </a:lnTo>
                      <a:lnTo>
                        <a:pt x="563" y="284"/>
                      </a:lnTo>
                      <a:lnTo>
                        <a:pt x="563" y="257"/>
                      </a:lnTo>
                      <a:lnTo>
                        <a:pt x="563" y="252"/>
                      </a:lnTo>
                      <a:lnTo>
                        <a:pt x="563" y="235"/>
                      </a:lnTo>
                      <a:lnTo>
                        <a:pt x="563" y="224"/>
                      </a:lnTo>
                      <a:lnTo>
                        <a:pt x="574" y="213"/>
                      </a:lnTo>
                      <a:lnTo>
                        <a:pt x="574" y="208"/>
                      </a:lnTo>
                      <a:lnTo>
                        <a:pt x="580" y="186"/>
                      </a:lnTo>
                      <a:lnTo>
                        <a:pt x="585" y="164"/>
                      </a:lnTo>
                      <a:lnTo>
                        <a:pt x="580" y="137"/>
                      </a:lnTo>
                      <a:lnTo>
                        <a:pt x="585" y="131"/>
                      </a:lnTo>
                      <a:lnTo>
                        <a:pt x="590" y="126"/>
                      </a:lnTo>
                      <a:lnTo>
                        <a:pt x="601" y="115"/>
                      </a:lnTo>
                      <a:lnTo>
                        <a:pt x="601" y="104"/>
                      </a:lnTo>
                      <a:lnTo>
                        <a:pt x="580" y="77"/>
                      </a:lnTo>
                      <a:lnTo>
                        <a:pt x="580" y="66"/>
                      </a:lnTo>
                      <a:lnTo>
                        <a:pt x="569" y="55"/>
                      </a:lnTo>
                      <a:lnTo>
                        <a:pt x="552" y="44"/>
                      </a:lnTo>
                      <a:lnTo>
                        <a:pt x="530" y="27"/>
                      </a:lnTo>
                      <a:lnTo>
                        <a:pt x="497" y="16"/>
                      </a:lnTo>
                      <a:lnTo>
                        <a:pt x="454" y="5"/>
                      </a:lnTo>
                      <a:lnTo>
                        <a:pt x="394" y="0"/>
                      </a:lnTo>
                      <a:lnTo>
                        <a:pt x="377" y="5"/>
                      </a:lnTo>
                      <a:lnTo>
                        <a:pt x="355" y="11"/>
                      </a:lnTo>
                      <a:lnTo>
                        <a:pt x="333" y="27"/>
                      </a:lnTo>
                      <a:lnTo>
                        <a:pt x="311" y="49"/>
                      </a:lnTo>
                      <a:lnTo>
                        <a:pt x="295" y="82"/>
                      </a:lnTo>
                      <a:lnTo>
                        <a:pt x="290" y="126"/>
                      </a:lnTo>
                      <a:lnTo>
                        <a:pt x="290" y="186"/>
                      </a:lnTo>
                      <a:lnTo>
                        <a:pt x="295" y="191"/>
                      </a:lnTo>
                      <a:lnTo>
                        <a:pt x="301" y="219"/>
                      </a:lnTo>
                      <a:lnTo>
                        <a:pt x="295" y="252"/>
                      </a:lnTo>
                      <a:lnTo>
                        <a:pt x="290" y="268"/>
                      </a:lnTo>
                      <a:lnTo>
                        <a:pt x="284" y="284"/>
                      </a:lnTo>
                      <a:lnTo>
                        <a:pt x="426" y="394"/>
                      </a:lnTo>
                      <a:lnTo>
                        <a:pt x="394" y="427"/>
                      </a:lnTo>
                      <a:lnTo>
                        <a:pt x="366" y="454"/>
                      </a:lnTo>
                      <a:lnTo>
                        <a:pt x="311" y="394"/>
                      </a:lnTo>
                      <a:lnTo>
                        <a:pt x="262" y="339"/>
                      </a:lnTo>
                      <a:lnTo>
                        <a:pt x="257" y="328"/>
                      </a:lnTo>
                      <a:lnTo>
                        <a:pt x="218" y="388"/>
                      </a:lnTo>
                      <a:lnTo>
                        <a:pt x="175" y="421"/>
                      </a:lnTo>
                      <a:lnTo>
                        <a:pt x="136" y="443"/>
                      </a:lnTo>
                      <a:lnTo>
                        <a:pt x="114" y="454"/>
                      </a:lnTo>
                      <a:lnTo>
                        <a:pt x="93" y="454"/>
                      </a:lnTo>
                      <a:lnTo>
                        <a:pt x="82" y="460"/>
                      </a:lnTo>
                      <a:lnTo>
                        <a:pt x="60" y="476"/>
                      </a:lnTo>
                      <a:lnTo>
                        <a:pt x="49" y="492"/>
                      </a:lnTo>
                      <a:lnTo>
                        <a:pt x="43" y="514"/>
                      </a:lnTo>
                      <a:lnTo>
                        <a:pt x="38" y="542"/>
                      </a:lnTo>
                      <a:lnTo>
                        <a:pt x="38" y="580"/>
                      </a:lnTo>
                      <a:lnTo>
                        <a:pt x="38" y="624"/>
                      </a:lnTo>
                      <a:lnTo>
                        <a:pt x="27" y="673"/>
                      </a:lnTo>
                      <a:lnTo>
                        <a:pt x="11" y="733"/>
                      </a:lnTo>
                      <a:lnTo>
                        <a:pt x="11" y="739"/>
                      </a:lnTo>
                      <a:lnTo>
                        <a:pt x="5" y="782"/>
                      </a:lnTo>
                      <a:lnTo>
                        <a:pt x="0" y="903"/>
                      </a:lnTo>
                      <a:lnTo>
                        <a:pt x="0" y="963"/>
                      </a:lnTo>
                      <a:lnTo>
                        <a:pt x="5" y="1018"/>
                      </a:lnTo>
                      <a:lnTo>
                        <a:pt x="16" y="1050"/>
                      </a:lnTo>
                      <a:lnTo>
                        <a:pt x="27" y="1083"/>
                      </a:lnTo>
                      <a:lnTo>
                        <a:pt x="60" y="1143"/>
                      </a:lnTo>
                      <a:lnTo>
                        <a:pt x="93" y="1204"/>
                      </a:lnTo>
                      <a:lnTo>
                        <a:pt x="120" y="1264"/>
                      </a:lnTo>
                      <a:lnTo>
                        <a:pt x="125" y="1264"/>
                      </a:lnTo>
                      <a:lnTo>
                        <a:pt x="136" y="1297"/>
                      </a:lnTo>
                      <a:lnTo>
                        <a:pt x="142" y="1318"/>
                      </a:lnTo>
                      <a:lnTo>
                        <a:pt x="153" y="1346"/>
                      </a:lnTo>
                      <a:lnTo>
                        <a:pt x="175" y="1384"/>
                      </a:lnTo>
                      <a:lnTo>
                        <a:pt x="180" y="1444"/>
                      </a:lnTo>
                      <a:lnTo>
                        <a:pt x="180" y="1483"/>
                      </a:lnTo>
                      <a:lnTo>
                        <a:pt x="180" y="1504"/>
                      </a:lnTo>
                      <a:lnTo>
                        <a:pt x="207" y="1504"/>
                      </a:lnTo>
                      <a:lnTo>
                        <a:pt x="229" y="1504"/>
                      </a:lnTo>
                      <a:lnTo>
                        <a:pt x="240" y="1504"/>
                      </a:lnTo>
                      <a:lnTo>
                        <a:pt x="235" y="1515"/>
                      </a:lnTo>
                      <a:lnTo>
                        <a:pt x="224" y="1548"/>
                      </a:lnTo>
                      <a:lnTo>
                        <a:pt x="213" y="1592"/>
                      </a:lnTo>
                      <a:lnTo>
                        <a:pt x="213" y="1614"/>
                      </a:lnTo>
                      <a:lnTo>
                        <a:pt x="218" y="1641"/>
                      </a:lnTo>
                      <a:lnTo>
                        <a:pt x="224" y="1696"/>
                      </a:lnTo>
                      <a:lnTo>
                        <a:pt x="229" y="1773"/>
                      </a:lnTo>
                      <a:lnTo>
                        <a:pt x="229" y="1882"/>
                      </a:lnTo>
                      <a:lnTo>
                        <a:pt x="224" y="1937"/>
                      </a:lnTo>
                      <a:lnTo>
                        <a:pt x="213" y="1986"/>
                      </a:lnTo>
                      <a:lnTo>
                        <a:pt x="197" y="2062"/>
                      </a:lnTo>
                      <a:lnTo>
                        <a:pt x="191" y="2101"/>
                      </a:lnTo>
                      <a:lnTo>
                        <a:pt x="186" y="2145"/>
                      </a:lnTo>
                      <a:lnTo>
                        <a:pt x="186" y="2205"/>
                      </a:lnTo>
                      <a:lnTo>
                        <a:pt x="186" y="2276"/>
                      </a:lnTo>
                      <a:lnTo>
                        <a:pt x="197" y="2407"/>
                      </a:lnTo>
                      <a:lnTo>
                        <a:pt x="207" y="2495"/>
                      </a:lnTo>
                      <a:lnTo>
                        <a:pt x="213" y="2555"/>
                      </a:lnTo>
                      <a:lnTo>
                        <a:pt x="213" y="2599"/>
                      </a:lnTo>
                      <a:lnTo>
                        <a:pt x="207" y="2631"/>
                      </a:lnTo>
                      <a:lnTo>
                        <a:pt x="207" y="2653"/>
                      </a:lnTo>
                      <a:lnTo>
                        <a:pt x="207" y="2670"/>
                      </a:lnTo>
                      <a:lnTo>
                        <a:pt x="207" y="2730"/>
                      </a:lnTo>
                      <a:lnTo>
                        <a:pt x="268" y="2752"/>
                      </a:lnTo>
                      <a:lnTo>
                        <a:pt x="301" y="2752"/>
                      </a:lnTo>
                      <a:lnTo>
                        <a:pt x="306" y="2763"/>
                      </a:lnTo>
                      <a:lnTo>
                        <a:pt x="328" y="2779"/>
                      </a:lnTo>
                      <a:lnTo>
                        <a:pt x="350" y="2790"/>
                      </a:lnTo>
                      <a:lnTo>
                        <a:pt x="372" y="2801"/>
                      </a:lnTo>
                      <a:lnTo>
                        <a:pt x="399" y="2807"/>
                      </a:lnTo>
                      <a:lnTo>
                        <a:pt x="437" y="2812"/>
                      </a:lnTo>
                      <a:lnTo>
                        <a:pt x="508" y="2807"/>
                      </a:lnTo>
                      <a:lnTo>
                        <a:pt x="541" y="2801"/>
                      </a:lnTo>
                      <a:lnTo>
                        <a:pt x="552" y="2801"/>
                      </a:lnTo>
                      <a:lnTo>
                        <a:pt x="552" y="2796"/>
                      </a:lnTo>
                      <a:lnTo>
                        <a:pt x="552" y="2785"/>
                      </a:lnTo>
                      <a:lnTo>
                        <a:pt x="547" y="2768"/>
                      </a:lnTo>
                      <a:lnTo>
                        <a:pt x="536" y="2752"/>
                      </a:lnTo>
                      <a:lnTo>
                        <a:pt x="470" y="2692"/>
                      </a:lnTo>
                      <a:lnTo>
                        <a:pt x="432" y="2648"/>
                      </a:lnTo>
                      <a:lnTo>
                        <a:pt x="415" y="2631"/>
                      </a:lnTo>
                      <a:lnTo>
                        <a:pt x="404" y="2615"/>
                      </a:lnTo>
                      <a:lnTo>
                        <a:pt x="404" y="2599"/>
                      </a:lnTo>
                      <a:lnTo>
                        <a:pt x="399" y="2588"/>
                      </a:lnTo>
                      <a:lnTo>
                        <a:pt x="394" y="2566"/>
                      </a:lnTo>
                      <a:lnTo>
                        <a:pt x="388" y="2555"/>
                      </a:lnTo>
                      <a:lnTo>
                        <a:pt x="388" y="2528"/>
                      </a:lnTo>
                      <a:lnTo>
                        <a:pt x="394" y="2467"/>
                      </a:lnTo>
                      <a:lnTo>
                        <a:pt x="399" y="2424"/>
                      </a:lnTo>
                      <a:lnTo>
                        <a:pt x="394" y="2402"/>
                      </a:lnTo>
                      <a:lnTo>
                        <a:pt x="383" y="2374"/>
                      </a:lnTo>
                      <a:lnTo>
                        <a:pt x="394" y="2238"/>
                      </a:lnTo>
                      <a:lnTo>
                        <a:pt x="399" y="2145"/>
                      </a:lnTo>
                      <a:lnTo>
                        <a:pt x="404" y="2095"/>
                      </a:lnTo>
                      <a:lnTo>
                        <a:pt x="415" y="2062"/>
                      </a:lnTo>
                      <a:lnTo>
                        <a:pt x="421" y="2013"/>
                      </a:lnTo>
                      <a:lnTo>
                        <a:pt x="432" y="1948"/>
                      </a:lnTo>
                      <a:lnTo>
                        <a:pt x="437" y="1931"/>
                      </a:lnTo>
                      <a:lnTo>
                        <a:pt x="454" y="1893"/>
                      </a:lnTo>
                      <a:lnTo>
                        <a:pt x="476" y="1827"/>
                      </a:lnTo>
                      <a:lnTo>
                        <a:pt x="492" y="1729"/>
                      </a:lnTo>
                      <a:lnTo>
                        <a:pt x="497" y="1723"/>
                      </a:lnTo>
                      <a:lnTo>
                        <a:pt x="503" y="1718"/>
                      </a:lnTo>
                      <a:lnTo>
                        <a:pt x="503" y="1729"/>
                      </a:lnTo>
                      <a:lnTo>
                        <a:pt x="558" y="1893"/>
                      </a:lnTo>
                      <a:lnTo>
                        <a:pt x="569" y="1920"/>
                      </a:lnTo>
                      <a:lnTo>
                        <a:pt x="569" y="1948"/>
                      </a:lnTo>
                      <a:lnTo>
                        <a:pt x="563" y="1980"/>
                      </a:lnTo>
                      <a:lnTo>
                        <a:pt x="547" y="2035"/>
                      </a:lnTo>
                      <a:lnTo>
                        <a:pt x="541" y="2084"/>
                      </a:lnTo>
                      <a:lnTo>
                        <a:pt x="536" y="2145"/>
                      </a:lnTo>
                      <a:lnTo>
                        <a:pt x="519" y="2287"/>
                      </a:lnTo>
                      <a:lnTo>
                        <a:pt x="503" y="2380"/>
                      </a:lnTo>
                      <a:lnTo>
                        <a:pt x="497" y="2429"/>
                      </a:lnTo>
                      <a:lnTo>
                        <a:pt x="481" y="2445"/>
                      </a:lnTo>
                      <a:lnTo>
                        <a:pt x="476" y="2462"/>
                      </a:lnTo>
                      <a:lnTo>
                        <a:pt x="470" y="2506"/>
                      </a:lnTo>
                      <a:lnTo>
                        <a:pt x="519" y="2528"/>
                      </a:lnTo>
                      <a:lnTo>
                        <a:pt x="580" y="2544"/>
                      </a:lnTo>
                      <a:lnTo>
                        <a:pt x="640" y="2555"/>
                      </a:lnTo>
                      <a:lnTo>
                        <a:pt x="694" y="2555"/>
                      </a:lnTo>
                      <a:lnTo>
                        <a:pt x="689" y="2517"/>
                      </a:lnTo>
                      <a:lnTo>
                        <a:pt x="705" y="2484"/>
                      </a:lnTo>
                      <a:lnTo>
                        <a:pt x="716" y="2445"/>
                      </a:lnTo>
                      <a:lnTo>
                        <a:pt x="738" y="2396"/>
                      </a:lnTo>
                      <a:lnTo>
                        <a:pt x="755" y="2331"/>
                      </a:lnTo>
                      <a:lnTo>
                        <a:pt x="771" y="2249"/>
                      </a:lnTo>
                      <a:lnTo>
                        <a:pt x="782" y="2156"/>
                      </a:lnTo>
                      <a:lnTo>
                        <a:pt x="787" y="2041"/>
                      </a:lnTo>
                      <a:lnTo>
                        <a:pt x="787" y="2013"/>
                      </a:lnTo>
                      <a:lnTo>
                        <a:pt x="787" y="1991"/>
                      </a:lnTo>
                      <a:lnTo>
                        <a:pt x="787" y="1980"/>
                      </a:lnTo>
                      <a:lnTo>
                        <a:pt x="793" y="1969"/>
                      </a:lnTo>
                      <a:lnTo>
                        <a:pt x="798" y="1937"/>
                      </a:lnTo>
                      <a:lnTo>
                        <a:pt x="798" y="1882"/>
                      </a:lnTo>
                      <a:lnTo>
                        <a:pt x="798" y="1805"/>
                      </a:lnTo>
                      <a:lnTo>
                        <a:pt x="782" y="1690"/>
                      </a:lnTo>
                      <a:lnTo>
                        <a:pt x="755" y="1559"/>
                      </a:lnTo>
                      <a:lnTo>
                        <a:pt x="722" y="1411"/>
                      </a:lnTo>
                      <a:lnTo>
                        <a:pt x="733" y="1401"/>
                      </a:lnTo>
                      <a:lnTo>
                        <a:pt x="738" y="1390"/>
                      </a:lnTo>
                      <a:lnTo>
                        <a:pt x="744" y="1368"/>
                      </a:lnTo>
                      <a:lnTo>
                        <a:pt x="733" y="1313"/>
                      </a:lnTo>
                      <a:lnTo>
                        <a:pt x="711" y="1220"/>
                      </a:lnTo>
                      <a:lnTo>
                        <a:pt x="683" y="1083"/>
                      </a:lnTo>
                      <a:lnTo>
                        <a:pt x="673" y="1018"/>
                      </a:lnTo>
                      <a:lnTo>
                        <a:pt x="656" y="957"/>
                      </a:lnTo>
                      <a:lnTo>
                        <a:pt x="645" y="914"/>
                      </a:lnTo>
                      <a:lnTo>
                        <a:pt x="634" y="870"/>
                      </a:lnTo>
                      <a:lnTo>
                        <a:pt x="634" y="821"/>
                      </a:lnTo>
                      <a:lnTo>
                        <a:pt x="640" y="777"/>
                      </a:lnTo>
                      <a:lnTo>
                        <a:pt x="634" y="739"/>
                      </a:lnTo>
                      <a:lnTo>
                        <a:pt x="634" y="706"/>
                      </a:lnTo>
                      <a:lnTo>
                        <a:pt x="678" y="717"/>
                      </a:lnTo>
                      <a:lnTo>
                        <a:pt x="776" y="728"/>
                      </a:lnTo>
                      <a:lnTo>
                        <a:pt x="837" y="733"/>
                      </a:lnTo>
                      <a:lnTo>
                        <a:pt x="891" y="728"/>
                      </a:lnTo>
                      <a:lnTo>
                        <a:pt x="913" y="722"/>
                      </a:lnTo>
                      <a:lnTo>
                        <a:pt x="935" y="717"/>
                      </a:lnTo>
                      <a:lnTo>
                        <a:pt x="952" y="706"/>
                      </a:lnTo>
                      <a:lnTo>
                        <a:pt x="962" y="689"/>
                      </a:lnTo>
                      <a:lnTo>
                        <a:pt x="946" y="618"/>
                      </a:lnTo>
                      <a:lnTo>
                        <a:pt x="924" y="520"/>
                      </a:lnTo>
                      <a:lnTo>
                        <a:pt x="880" y="377"/>
                      </a:lnTo>
                      <a:close/>
                      <a:moveTo>
                        <a:pt x="640" y="279"/>
                      </a:moveTo>
                      <a:lnTo>
                        <a:pt x="640" y="279"/>
                      </a:lnTo>
                      <a:lnTo>
                        <a:pt x="634" y="279"/>
                      </a:lnTo>
                      <a:lnTo>
                        <a:pt x="618" y="274"/>
                      </a:lnTo>
                      <a:lnTo>
                        <a:pt x="607" y="263"/>
                      </a:lnTo>
                      <a:lnTo>
                        <a:pt x="596" y="246"/>
                      </a:lnTo>
                      <a:lnTo>
                        <a:pt x="580" y="241"/>
                      </a:lnTo>
                      <a:lnTo>
                        <a:pt x="590" y="230"/>
                      </a:lnTo>
                      <a:lnTo>
                        <a:pt x="596" y="224"/>
                      </a:lnTo>
                      <a:lnTo>
                        <a:pt x="618" y="224"/>
                      </a:lnTo>
                      <a:lnTo>
                        <a:pt x="623" y="230"/>
                      </a:lnTo>
                      <a:lnTo>
                        <a:pt x="623" y="235"/>
                      </a:lnTo>
                      <a:lnTo>
                        <a:pt x="623" y="246"/>
                      </a:lnTo>
                      <a:lnTo>
                        <a:pt x="623" y="252"/>
                      </a:lnTo>
                      <a:lnTo>
                        <a:pt x="629" y="257"/>
                      </a:lnTo>
                      <a:lnTo>
                        <a:pt x="634" y="263"/>
                      </a:lnTo>
                      <a:lnTo>
                        <a:pt x="640" y="263"/>
                      </a:lnTo>
                      <a:lnTo>
                        <a:pt x="645" y="263"/>
                      </a:lnTo>
                      <a:lnTo>
                        <a:pt x="645" y="268"/>
                      </a:lnTo>
                      <a:lnTo>
                        <a:pt x="640" y="279"/>
                      </a:lnTo>
                      <a:close/>
                      <a:moveTo>
                        <a:pt x="235" y="990"/>
                      </a:moveTo>
                      <a:lnTo>
                        <a:pt x="235" y="990"/>
                      </a:lnTo>
                      <a:lnTo>
                        <a:pt x="235" y="1023"/>
                      </a:lnTo>
                      <a:lnTo>
                        <a:pt x="229" y="1067"/>
                      </a:lnTo>
                      <a:lnTo>
                        <a:pt x="224" y="1089"/>
                      </a:lnTo>
                      <a:lnTo>
                        <a:pt x="218" y="1089"/>
                      </a:lnTo>
                      <a:lnTo>
                        <a:pt x="213" y="1083"/>
                      </a:lnTo>
                      <a:lnTo>
                        <a:pt x="213" y="1072"/>
                      </a:lnTo>
                      <a:lnTo>
                        <a:pt x="207" y="1056"/>
                      </a:lnTo>
                      <a:lnTo>
                        <a:pt x="202" y="1045"/>
                      </a:lnTo>
                      <a:lnTo>
                        <a:pt x="191" y="1029"/>
                      </a:lnTo>
                      <a:lnTo>
                        <a:pt x="191" y="1012"/>
                      </a:lnTo>
                      <a:lnTo>
                        <a:pt x="197" y="1001"/>
                      </a:lnTo>
                      <a:lnTo>
                        <a:pt x="202" y="985"/>
                      </a:lnTo>
                      <a:lnTo>
                        <a:pt x="207" y="979"/>
                      </a:lnTo>
                      <a:lnTo>
                        <a:pt x="207" y="963"/>
                      </a:lnTo>
                      <a:lnTo>
                        <a:pt x="207" y="946"/>
                      </a:lnTo>
                      <a:lnTo>
                        <a:pt x="207" y="936"/>
                      </a:lnTo>
                      <a:lnTo>
                        <a:pt x="213" y="930"/>
                      </a:lnTo>
                      <a:lnTo>
                        <a:pt x="224" y="952"/>
                      </a:lnTo>
                      <a:lnTo>
                        <a:pt x="235" y="968"/>
                      </a:lnTo>
                      <a:lnTo>
                        <a:pt x="235" y="9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198" name="Freeform 1581"/>
                <p:cNvSpPr>
                  <a:spLocks/>
                </p:cNvSpPr>
                <p:nvPr/>
              </p:nvSpPr>
              <p:spPr bwMode="auto">
                <a:xfrm>
                  <a:off x="443070" y="1772949"/>
                  <a:ext cx="9435" cy="37741"/>
                </a:xfrm>
                <a:custGeom>
                  <a:avLst/>
                  <a:gdLst>
                    <a:gd name="T0" fmla="*/ 0 w 11"/>
                    <a:gd name="T1" fmla="*/ 2147483647 h 44"/>
                    <a:gd name="T2" fmla="*/ 0 w 11"/>
                    <a:gd name="T3" fmla="*/ 2147483647 h 44"/>
                    <a:gd name="T4" fmla="*/ 0 w 11"/>
                    <a:gd name="T5" fmla="*/ 2147483647 h 44"/>
                    <a:gd name="T6" fmla="*/ 0 w 11"/>
                    <a:gd name="T7" fmla="*/ 2147483647 h 44"/>
                    <a:gd name="T8" fmla="*/ 0 w 11"/>
                    <a:gd name="T9" fmla="*/ 2147483647 h 44"/>
                    <a:gd name="T10" fmla="*/ 0 w 11"/>
                    <a:gd name="T11" fmla="*/ 2147483647 h 44"/>
                    <a:gd name="T12" fmla="*/ 2147483647 w 11"/>
                    <a:gd name="T13" fmla="*/ 0 h 44"/>
                    <a:gd name="T14" fmla="*/ 2147483647 w 11"/>
                    <a:gd name="T15" fmla="*/ 0 h 44"/>
                    <a:gd name="T16" fmla="*/ 0 w 11"/>
                    <a:gd name="T17" fmla="*/ 2147483647 h 44"/>
                    <a:gd name="T18" fmla="*/ 0 w 11"/>
                    <a:gd name="T19" fmla="*/ 2147483647 h 44"/>
                    <a:gd name="T20" fmla="*/ 0 w 11"/>
                    <a:gd name="T21" fmla="*/ 2147483647 h 44"/>
                    <a:gd name="T22" fmla="*/ 0 w 11"/>
                    <a:gd name="T23" fmla="*/ 2147483647 h 44"/>
                    <a:gd name="T24" fmla="*/ 0 w 11"/>
                    <a:gd name="T25" fmla="*/ 2147483647 h 4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"/>
                    <a:gd name="T40" fmla="*/ 0 h 44"/>
                    <a:gd name="T41" fmla="*/ 11 w 11"/>
                    <a:gd name="T42" fmla="*/ 44 h 4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" h="44">
                      <a:moveTo>
                        <a:pt x="0" y="39"/>
                      </a:moveTo>
                      <a:lnTo>
                        <a:pt x="0" y="39"/>
                      </a:lnTo>
                      <a:lnTo>
                        <a:pt x="0" y="44"/>
                      </a:lnTo>
                      <a:lnTo>
                        <a:pt x="0" y="39"/>
                      </a:lnTo>
                      <a:lnTo>
                        <a:pt x="11" y="0"/>
                      </a:lnTo>
                      <a:lnTo>
                        <a:pt x="0" y="11"/>
                      </a:lnTo>
                      <a:lnTo>
                        <a:pt x="0" y="22"/>
                      </a:lnTo>
                      <a:lnTo>
                        <a:pt x="0" y="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99" name="Freeform 1582"/>
                <p:cNvSpPr>
                  <a:spLocks noEditPoints="1"/>
                </p:cNvSpPr>
                <p:nvPr/>
              </p:nvSpPr>
              <p:spPr bwMode="auto">
                <a:xfrm>
                  <a:off x="302413" y="1726628"/>
                  <a:ext cx="173251" cy="93497"/>
                </a:xfrm>
                <a:custGeom>
                  <a:avLst/>
                  <a:gdLst>
                    <a:gd name="T0" fmla="*/ 2147483647 w 202"/>
                    <a:gd name="T1" fmla="*/ 2147483647 h 109"/>
                    <a:gd name="T2" fmla="*/ 2147483647 w 202"/>
                    <a:gd name="T3" fmla="*/ 2147483647 h 109"/>
                    <a:gd name="T4" fmla="*/ 2147483647 w 202"/>
                    <a:gd name="T5" fmla="*/ 2147483647 h 109"/>
                    <a:gd name="T6" fmla="*/ 2147483647 w 202"/>
                    <a:gd name="T7" fmla="*/ 2147483647 h 109"/>
                    <a:gd name="T8" fmla="*/ 2147483647 w 202"/>
                    <a:gd name="T9" fmla="*/ 2147483647 h 109"/>
                    <a:gd name="T10" fmla="*/ 2147483647 w 202"/>
                    <a:gd name="T11" fmla="*/ 2147483647 h 109"/>
                    <a:gd name="T12" fmla="*/ 2147483647 w 202"/>
                    <a:gd name="T13" fmla="*/ 2147483647 h 109"/>
                    <a:gd name="T14" fmla="*/ 2147483647 w 202"/>
                    <a:gd name="T15" fmla="*/ 2147483647 h 109"/>
                    <a:gd name="T16" fmla="*/ 2147483647 w 202"/>
                    <a:gd name="T17" fmla="*/ 2147483647 h 109"/>
                    <a:gd name="T18" fmla="*/ 2147483647 w 202"/>
                    <a:gd name="T19" fmla="*/ 2147483647 h 109"/>
                    <a:gd name="T20" fmla="*/ 2147483647 w 202"/>
                    <a:gd name="T21" fmla="*/ 2147483647 h 109"/>
                    <a:gd name="T22" fmla="*/ 2147483647 w 202"/>
                    <a:gd name="T23" fmla="*/ 2147483647 h 109"/>
                    <a:gd name="T24" fmla="*/ 2147483647 w 202"/>
                    <a:gd name="T25" fmla="*/ 2147483647 h 109"/>
                    <a:gd name="T26" fmla="*/ 2147483647 w 202"/>
                    <a:gd name="T27" fmla="*/ 2147483647 h 109"/>
                    <a:gd name="T28" fmla="*/ 2147483647 w 202"/>
                    <a:gd name="T29" fmla="*/ 2147483647 h 109"/>
                    <a:gd name="T30" fmla="*/ 2147483647 w 202"/>
                    <a:gd name="T31" fmla="*/ 0 h 109"/>
                    <a:gd name="T32" fmla="*/ 0 w 202"/>
                    <a:gd name="T33" fmla="*/ 0 h 109"/>
                    <a:gd name="T34" fmla="*/ 0 w 202"/>
                    <a:gd name="T35" fmla="*/ 2147483647 h 109"/>
                    <a:gd name="T36" fmla="*/ 0 w 202"/>
                    <a:gd name="T37" fmla="*/ 2147483647 h 109"/>
                    <a:gd name="T38" fmla="*/ 0 w 202"/>
                    <a:gd name="T39" fmla="*/ 2147483647 h 109"/>
                    <a:gd name="T40" fmla="*/ 2147483647 w 202"/>
                    <a:gd name="T41" fmla="*/ 2147483647 h 109"/>
                    <a:gd name="T42" fmla="*/ 2147483647 w 202"/>
                    <a:gd name="T43" fmla="*/ 2147483647 h 109"/>
                    <a:gd name="T44" fmla="*/ 2147483647 w 202"/>
                    <a:gd name="T45" fmla="*/ 2147483647 h 109"/>
                    <a:gd name="T46" fmla="*/ 2147483647 w 202"/>
                    <a:gd name="T47" fmla="*/ 2147483647 h 109"/>
                    <a:gd name="T48" fmla="*/ 2147483647 w 202"/>
                    <a:gd name="T49" fmla="*/ 2147483647 h 109"/>
                    <a:gd name="T50" fmla="*/ 2147483647 w 202"/>
                    <a:gd name="T51" fmla="*/ 2147483647 h 109"/>
                    <a:gd name="T52" fmla="*/ 2147483647 w 202"/>
                    <a:gd name="T53" fmla="*/ 2147483647 h 109"/>
                    <a:gd name="T54" fmla="*/ 2147483647 w 202"/>
                    <a:gd name="T55" fmla="*/ 2147483647 h 109"/>
                    <a:gd name="T56" fmla="*/ 2147483647 w 202"/>
                    <a:gd name="T57" fmla="*/ 2147483647 h 109"/>
                    <a:gd name="T58" fmla="*/ 2147483647 w 202"/>
                    <a:gd name="T59" fmla="*/ 2147483647 h 109"/>
                    <a:gd name="T60" fmla="*/ 2147483647 w 202"/>
                    <a:gd name="T61" fmla="*/ 2147483647 h 109"/>
                    <a:gd name="T62" fmla="*/ 2147483647 w 202"/>
                    <a:gd name="T63" fmla="*/ 2147483647 h 109"/>
                    <a:gd name="T64" fmla="*/ 2147483647 w 202"/>
                    <a:gd name="T65" fmla="*/ 2147483647 h 109"/>
                    <a:gd name="T66" fmla="*/ 2147483647 w 202"/>
                    <a:gd name="T67" fmla="*/ 2147483647 h 109"/>
                    <a:gd name="T68" fmla="*/ 2147483647 w 202"/>
                    <a:gd name="T69" fmla="*/ 2147483647 h 109"/>
                    <a:gd name="T70" fmla="*/ 2147483647 w 202"/>
                    <a:gd name="T71" fmla="*/ 2147483647 h 109"/>
                    <a:gd name="T72" fmla="*/ 2147483647 w 202"/>
                    <a:gd name="T73" fmla="*/ 2147483647 h 109"/>
                    <a:gd name="T74" fmla="*/ 2147483647 w 202"/>
                    <a:gd name="T75" fmla="*/ 2147483647 h 109"/>
                    <a:gd name="T76" fmla="*/ 2147483647 w 202"/>
                    <a:gd name="T77" fmla="*/ 2147483647 h 109"/>
                    <a:gd name="T78" fmla="*/ 2147483647 w 202"/>
                    <a:gd name="T79" fmla="*/ 2147483647 h 109"/>
                    <a:gd name="T80" fmla="*/ 2147483647 w 202"/>
                    <a:gd name="T81" fmla="*/ 2147483647 h 109"/>
                    <a:gd name="T82" fmla="*/ 2147483647 w 202"/>
                    <a:gd name="T83" fmla="*/ 2147483647 h 109"/>
                    <a:gd name="T84" fmla="*/ 2147483647 w 202"/>
                    <a:gd name="T85" fmla="*/ 2147483647 h 109"/>
                    <a:gd name="T86" fmla="*/ 2147483647 w 202"/>
                    <a:gd name="T87" fmla="*/ 2147483647 h 109"/>
                    <a:gd name="T88" fmla="*/ 2147483647 w 202"/>
                    <a:gd name="T89" fmla="*/ 2147483647 h 109"/>
                    <a:gd name="T90" fmla="*/ 2147483647 w 202"/>
                    <a:gd name="T91" fmla="*/ 2147483647 h 109"/>
                    <a:gd name="T92" fmla="*/ 2147483647 w 202"/>
                    <a:gd name="T93" fmla="*/ 2147483647 h 109"/>
                    <a:gd name="T94" fmla="*/ 2147483647 w 202"/>
                    <a:gd name="T95" fmla="*/ 2147483647 h 109"/>
                    <a:gd name="T96" fmla="*/ 2147483647 w 202"/>
                    <a:gd name="T97" fmla="*/ 2147483647 h 109"/>
                    <a:gd name="T98" fmla="*/ 2147483647 w 202"/>
                    <a:gd name="T99" fmla="*/ 2147483647 h 109"/>
                    <a:gd name="T100" fmla="*/ 2147483647 w 202"/>
                    <a:gd name="T101" fmla="*/ 2147483647 h 109"/>
                    <a:gd name="T102" fmla="*/ 2147483647 w 202"/>
                    <a:gd name="T103" fmla="*/ 2147483647 h 109"/>
                    <a:gd name="T104" fmla="*/ 2147483647 w 202"/>
                    <a:gd name="T105" fmla="*/ 2147483647 h 109"/>
                    <a:gd name="T106" fmla="*/ 2147483647 w 202"/>
                    <a:gd name="T107" fmla="*/ 2147483647 h 109"/>
                    <a:gd name="T108" fmla="*/ 2147483647 w 202"/>
                    <a:gd name="T109" fmla="*/ 2147483647 h 109"/>
                    <a:gd name="T110" fmla="*/ 2147483647 w 202"/>
                    <a:gd name="T111" fmla="*/ 2147483647 h 109"/>
                    <a:gd name="T112" fmla="*/ 2147483647 w 202"/>
                    <a:gd name="T113" fmla="*/ 2147483647 h 109"/>
                    <a:gd name="T114" fmla="*/ 2147483647 w 202"/>
                    <a:gd name="T115" fmla="*/ 2147483647 h 109"/>
                    <a:gd name="T116" fmla="*/ 2147483647 w 202"/>
                    <a:gd name="T117" fmla="*/ 2147483647 h 10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2"/>
                    <a:gd name="T178" fmla="*/ 0 h 109"/>
                    <a:gd name="T179" fmla="*/ 202 w 202"/>
                    <a:gd name="T180" fmla="*/ 109 h 10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2" h="109">
                      <a:moveTo>
                        <a:pt x="202" y="71"/>
                      </a:moveTo>
                      <a:lnTo>
                        <a:pt x="202" y="71"/>
                      </a:lnTo>
                      <a:lnTo>
                        <a:pt x="202" y="60"/>
                      </a:lnTo>
                      <a:lnTo>
                        <a:pt x="197" y="54"/>
                      </a:lnTo>
                      <a:lnTo>
                        <a:pt x="175" y="38"/>
                      </a:lnTo>
                      <a:lnTo>
                        <a:pt x="148" y="32"/>
                      </a:lnTo>
                      <a:lnTo>
                        <a:pt x="137" y="38"/>
                      </a:lnTo>
                      <a:lnTo>
                        <a:pt x="131" y="43"/>
                      </a:lnTo>
                      <a:lnTo>
                        <a:pt x="126" y="43"/>
                      </a:lnTo>
                      <a:lnTo>
                        <a:pt x="115" y="38"/>
                      </a:lnTo>
                      <a:lnTo>
                        <a:pt x="55" y="11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11" y="5"/>
                      </a:lnTo>
                      <a:lnTo>
                        <a:pt x="49" y="22"/>
                      </a:lnTo>
                      <a:lnTo>
                        <a:pt x="82" y="43"/>
                      </a:lnTo>
                      <a:lnTo>
                        <a:pt x="120" y="65"/>
                      </a:lnTo>
                      <a:lnTo>
                        <a:pt x="115" y="76"/>
                      </a:lnTo>
                      <a:lnTo>
                        <a:pt x="120" y="87"/>
                      </a:lnTo>
                      <a:lnTo>
                        <a:pt x="126" y="98"/>
                      </a:lnTo>
                      <a:lnTo>
                        <a:pt x="142" y="109"/>
                      </a:lnTo>
                      <a:lnTo>
                        <a:pt x="159" y="109"/>
                      </a:lnTo>
                      <a:lnTo>
                        <a:pt x="175" y="109"/>
                      </a:lnTo>
                      <a:lnTo>
                        <a:pt x="181" y="104"/>
                      </a:lnTo>
                      <a:lnTo>
                        <a:pt x="191" y="98"/>
                      </a:lnTo>
                      <a:lnTo>
                        <a:pt x="202" y="82"/>
                      </a:lnTo>
                      <a:lnTo>
                        <a:pt x="202" y="71"/>
                      </a:lnTo>
                      <a:close/>
                      <a:moveTo>
                        <a:pt x="77" y="82"/>
                      </a:moveTo>
                      <a:lnTo>
                        <a:pt x="77" y="82"/>
                      </a:lnTo>
                      <a:lnTo>
                        <a:pt x="60" y="71"/>
                      </a:lnTo>
                      <a:lnTo>
                        <a:pt x="55" y="65"/>
                      </a:lnTo>
                      <a:lnTo>
                        <a:pt x="55" y="49"/>
                      </a:lnTo>
                      <a:lnTo>
                        <a:pt x="60" y="38"/>
                      </a:lnTo>
                      <a:lnTo>
                        <a:pt x="66" y="27"/>
                      </a:lnTo>
                      <a:lnTo>
                        <a:pt x="77" y="22"/>
                      </a:lnTo>
                      <a:lnTo>
                        <a:pt x="82" y="22"/>
                      </a:lnTo>
                      <a:lnTo>
                        <a:pt x="93" y="27"/>
                      </a:lnTo>
                      <a:lnTo>
                        <a:pt x="115" y="38"/>
                      </a:lnTo>
                      <a:lnTo>
                        <a:pt x="120" y="49"/>
                      </a:lnTo>
                      <a:lnTo>
                        <a:pt x="115" y="60"/>
                      </a:lnTo>
                      <a:lnTo>
                        <a:pt x="109" y="76"/>
                      </a:lnTo>
                      <a:lnTo>
                        <a:pt x="98" y="82"/>
                      </a:lnTo>
                      <a:lnTo>
                        <a:pt x="77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200" name="Freeform 1583"/>
                <p:cNvSpPr>
                  <a:spLocks/>
                </p:cNvSpPr>
                <p:nvPr/>
              </p:nvSpPr>
              <p:spPr bwMode="auto">
                <a:xfrm>
                  <a:off x="288691" y="1918766"/>
                  <a:ext cx="112354" cy="385137"/>
                </a:xfrm>
                <a:custGeom>
                  <a:avLst/>
                  <a:gdLst>
                    <a:gd name="T0" fmla="*/ 0 w 131"/>
                    <a:gd name="T1" fmla="*/ 2147483647 h 449"/>
                    <a:gd name="T2" fmla="*/ 0 w 131"/>
                    <a:gd name="T3" fmla="*/ 2147483647 h 449"/>
                    <a:gd name="T4" fmla="*/ 2147483647 w 131"/>
                    <a:gd name="T5" fmla="*/ 2147483647 h 449"/>
                    <a:gd name="T6" fmla="*/ 2147483647 w 131"/>
                    <a:gd name="T7" fmla="*/ 2147483647 h 449"/>
                    <a:gd name="T8" fmla="*/ 2147483647 w 131"/>
                    <a:gd name="T9" fmla="*/ 2147483647 h 449"/>
                    <a:gd name="T10" fmla="*/ 2147483647 w 131"/>
                    <a:gd name="T11" fmla="*/ 2147483647 h 449"/>
                    <a:gd name="T12" fmla="*/ 2147483647 w 131"/>
                    <a:gd name="T13" fmla="*/ 2147483647 h 449"/>
                    <a:gd name="T14" fmla="*/ 2147483647 w 131"/>
                    <a:gd name="T15" fmla="*/ 2147483647 h 449"/>
                    <a:gd name="T16" fmla="*/ 2147483647 w 131"/>
                    <a:gd name="T17" fmla="*/ 2147483647 h 449"/>
                    <a:gd name="T18" fmla="*/ 2147483647 w 131"/>
                    <a:gd name="T19" fmla="*/ 2147483647 h 449"/>
                    <a:gd name="T20" fmla="*/ 2147483647 w 131"/>
                    <a:gd name="T21" fmla="*/ 2147483647 h 449"/>
                    <a:gd name="T22" fmla="*/ 2147483647 w 131"/>
                    <a:gd name="T23" fmla="*/ 2147483647 h 449"/>
                    <a:gd name="T24" fmla="*/ 2147483647 w 131"/>
                    <a:gd name="T25" fmla="*/ 2147483647 h 449"/>
                    <a:gd name="T26" fmla="*/ 2147483647 w 131"/>
                    <a:gd name="T27" fmla="*/ 2147483647 h 449"/>
                    <a:gd name="T28" fmla="*/ 2147483647 w 131"/>
                    <a:gd name="T29" fmla="*/ 2147483647 h 449"/>
                    <a:gd name="T30" fmla="*/ 2147483647 w 131"/>
                    <a:gd name="T31" fmla="*/ 2147483647 h 449"/>
                    <a:gd name="T32" fmla="*/ 2147483647 w 131"/>
                    <a:gd name="T33" fmla="*/ 2147483647 h 449"/>
                    <a:gd name="T34" fmla="*/ 2147483647 w 131"/>
                    <a:gd name="T35" fmla="*/ 2147483647 h 449"/>
                    <a:gd name="T36" fmla="*/ 2147483647 w 131"/>
                    <a:gd name="T37" fmla="*/ 2147483647 h 449"/>
                    <a:gd name="T38" fmla="*/ 2147483647 w 131"/>
                    <a:gd name="T39" fmla="*/ 2147483647 h 449"/>
                    <a:gd name="T40" fmla="*/ 2147483647 w 131"/>
                    <a:gd name="T41" fmla="*/ 2147483647 h 449"/>
                    <a:gd name="T42" fmla="*/ 2147483647 w 131"/>
                    <a:gd name="T43" fmla="*/ 2147483647 h 449"/>
                    <a:gd name="T44" fmla="*/ 2147483647 w 131"/>
                    <a:gd name="T45" fmla="*/ 2147483647 h 449"/>
                    <a:gd name="T46" fmla="*/ 2147483647 w 131"/>
                    <a:gd name="T47" fmla="*/ 2147483647 h 449"/>
                    <a:gd name="T48" fmla="*/ 2147483647 w 131"/>
                    <a:gd name="T49" fmla="*/ 2147483647 h 449"/>
                    <a:gd name="T50" fmla="*/ 2147483647 w 131"/>
                    <a:gd name="T51" fmla="*/ 2147483647 h 449"/>
                    <a:gd name="T52" fmla="*/ 2147483647 w 131"/>
                    <a:gd name="T53" fmla="*/ 2147483647 h 449"/>
                    <a:gd name="T54" fmla="*/ 2147483647 w 131"/>
                    <a:gd name="T55" fmla="*/ 2147483647 h 449"/>
                    <a:gd name="T56" fmla="*/ 2147483647 w 131"/>
                    <a:gd name="T57" fmla="*/ 0 h 449"/>
                    <a:gd name="T58" fmla="*/ 2147483647 w 131"/>
                    <a:gd name="T59" fmla="*/ 0 h 449"/>
                    <a:gd name="T60" fmla="*/ 2147483647 w 131"/>
                    <a:gd name="T61" fmla="*/ 2147483647 h 449"/>
                    <a:gd name="T62" fmla="*/ 2147483647 w 131"/>
                    <a:gd name="T63" fmla="*/ 2147483647 h 449"/>
                    <a:gd name="T64" fmla="*/ 0 w 131"/>
                    <a:gd name="T65" fmla="*/ 2147483647 h 44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31"/>
                    <a:gd name="T100" fmla="*/ 0 h 449"/>
                    <a:gd name="T101" fmla="*/ 131 w 131"/>
                    <a:gd name="T102" fmla="*/ 449 h 44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31" h="449">
                      <a:moveTo>
                        <a:pt x="0" y="55"/>
                      </a:moveTo>
                      <a:lnTo>
                        <a:pt x="0" y="55"/>
                      </a:lnTo>
                      <a:lnTo>
                        <a:pt x="11" y="60"/>
                      </a:lnTo>
                      <a:lnTo>
                        <a:pt x="21" y="77"/>
                      </a:lnTo>
                      <a:lnTo>
                        <a:pt x="32" y="104"/>
                      </a:lnTo>
                      <a:lnTo>
                        <a:pt x="54" y="186"/>
                      </a:lnTo>
                      <a:lnTo>
                        <a:pt x="76" y="273"/>
                      </a:lnTo>
                      <a:lnTo>
                        <a:pt x="98" y="323"/>
                      </a:lnTo>
                      <a:lnTo>
                        <a:pt x="120" y="372"/>
                      </a:lnTo>
                      <a:lnTo>
                        <a:pt x="125" y="410"/>
                      </a:lnTo>
                      <a:lnTo>
                        <a:pt x="125" y="449"/>
                      </a:lnTo>
                      <a:lnTo>
                        <a:pt x="131" y="399"/>
                      </a:lnTo>
                      <a:lnTo>
                        <a:pt x="131" y="350"/>
                      </a:lnTo>
                      <a:lnTo>
                        <a:pt x="120" y="235"/>
                      </a:lnTo>
                      <a:lnTo>
                        <a:pt x="109" y="126"/>
                      </a:lnTo>
                      <a:lnTo>
                        <a:pt x="93" y="27"/>
                      </a:lnTo>
                      <a:lnTo>
                        <a:pt x="87" y="22"/>
                      </a:lnTo>
                      <a:lnTo>
                        <a:pt x="76" y="22"/>
                      </a:lnTo>
                      <a:lnTo>
                        <a:pt x="60" y="22"/>
                      </a:lnTo>
                      <a:lnTo>
                        <a:pt x="49" y="16"/>
                      </a:lnTo>
                      <a:lnTo>
                        <a:pt x="38" y="5"/>
                      </a:lnTo>
                      <a:lnTo>
                        <a:pt x="32" y="5"/>
                      </a:lnTo>
                      <a:lnTo>
                        <a:pt x="21" y="0"/>
                      </a:lnTo>
                      <a:lnTo>
                        <a:pt x="11" y="16"/>
                      </a:lnTo>
                      <a:lnTo>
                        <a:pt x="5" y="44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201" name="Freeform 1584"/>
                <p:cNvSpPr>
                  <a:spLocks/>
                </p:cNvSpPr>
                <p:nvPr/>
              </p:nvSpPr>
              <p:spPr bwMode="auto">
                <a:xfrm>
                  <a:off x="316135" y="1923054"/>
                  <a:ext cx="108067" cy="408298"/>
                </a:xfrm>
                <a:custGeom>
                  <a:avLst/>
                  <a:gdLst>
                    <a:gd name="T0" fmla="*/ 2147483647 w 126"/>
                    <a:gd name="T1" fmla="*/ 2147483647 h 476"/>
                    <a:gd name="T2" fmla="*/ 0 w 126"/>
                    <a:gd name="T3" fmla="*/ 2147483647 h 476"/>
                    <a:gd name="T4" fmla="*/ 2147483647 w 126"/>
                    <a:gd name="T5" fmla="*/ 2147483647 h 476"/>
                    <a:gd name="T6" fmla="*/ 2147483647 w 126"/>
                    <a:gd name="T7" fmla="*/ 2147483647 h 476"/>
                    <a:gd name="T8" fmla="*/ 2147483647 w 126"/>
                    <a:gd name="T9" fmla="*/ 2147483647 h 476"/>
                    <a:gd name="T10" fmla="*/ 2147483647 w 126"/>
                    <a:gd name="T11" fmla="*/ 2147483647 h 476"/>
                    <a:gd name="T12" fmla="*/ 2147483647 w 126"/>
                    <a:gd name="T13" fmla="*/ 2147483647 h 476"/>
                    <a:gd name="T14" fmla="*/ 2147483647 w 126"/>
                    <a:gd name="T15" fmla="*/ 2147483647 h 476"/>
                    <a:gd name="T16" fmla="*/ 2147483647 w 126"/>
                    <a:gd name="T17" fmla="*/ 2147483647 h 476"/>
                    <a:gd name="T18" fmla="*/ 2147483647 w 126"/>
                    <a:gd name="T19" fmla="*/ 2147483647 h 476"/>
                    <a:gd name="T20" fmla="*/ 2147483647 w 126"/>
                    <a:gd name="T21" fmla="*/ 2147483647 h 476"/>
                    <a:gd name="T22" fmla="*/ 2147483647 w 126"/>
                    <a:gd name="T23" fmla="*/ 2147483647 h 476"/>
                    <a:gd name="T24" fmla="*/ 2147483647 w 126"/>
                    <a:gd name="T25" fmla="*/ 2147483647 h 476"/>
                    <a:gd name="T26" fmla="*/ 2147483647 w 126"/>
                    <a:gd name="T27" fmla="*/ 2147483647 h 476"/>
                    <a:gd name="T28" fmla="*/ 2147483647 w 126"/>
                    <a:gd name="T29" fmla="*/ 2147483647 h 476"/>
                    <a:gd name="T30" fmla="*/ 2147483647 w 126"/>
                    <a:gd name="T31" fmla="*/ 2147483647 h 476"/>
                    <a:gd name="T32" fmla="*/ 2147483647 w 126"/>
                    <a:gd name="T33" fmla="*/ 2147483647 h 476"/>
                    <a:gd name="T34" fmla="*/ 2147483647 w 126"/>
                    <a:gd name="T35" fmla="*/ 2147483647 h 476"/>
                    <a:gd name="T36" fmla="*/ 2147483647 w 126"/>
                    <a:gd name="T37" fmla="*/ 0 h 476"/>
                    <a:gd name="T38" fmla="*/ 2147483647 w 126"/>
                    <a:gd name="T39" fmla="*/ 0 h 476"/>
                    <a:gd name="T40" fmla="*/ 2147483647 w 126"/>
                    <a:gd name="T41" fmla="*/ 2147483647 h 476"/>
                    <a:gd name="T42" fmla="*/ 2147483647 w 126"/>
                    <a:gd name="T43" fmla="*/ 2147483647 h 47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26"/>
                    <a:gd name="T67" fmla="*/ 0 h 476"/>
                    <a:gd name="T68" fmla="*/ 126 w 126"/>
                    <a:gd name="T69" fmla="*/ 476 h 47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26" h="476">
                      <a:moveTo>
                        <a:pt x="11" y="6"/>
                      </a:moveTo>
                      <a:lnTo>
                        <a:pt x="0" y="17"/>
                      </a:lnTo>
                      <a:lnTo>
                        <a:pt x="22" y="55"/>
                      </a:lnTo>
                      <a:lnTo>
                        <a:pt x="28" y="88"/>
                      </a:lnTo>
                      <a:lnTo>
                        <a:pt x="39" y="121"/>
                      </a:lnTo>
                      <a:lnTo>
                        <a:pt x="44" y="214"/>
                      </a:lnTo>
                      <a:lnTo>
                        <a:pt x="44" y="323"/>
                      </a:lnTo>
                      <a:lnTo>
                        <a:pt x="77" y="444"/>
                      </a:lnTo>
                      <a:lnTo>
                        <a:pt x="99" y="476"/>
                      </a:lnTo>
                      <a:lnTo>
                        <a:pt x="126" y="372"/>
                      </a:lnTo>
                      <a:lnTo>
                        <a:pt x="82" y="148"/>
                      </a:lnTo>
                      <a:lnTo>
                        <a:pt x="44" y="50"/>
                      </a:lnTo>
                      <a:lnTo>
                        <a:pt x="50" y="17"/>
                      </a:lnTo>
                      <a:lnTo>
                        <a:pt x="39" y="6"/>
                      </a:lnTo>
                      <a:lnTo>
                        <a:pt x="22" y="0"/>
                      </a:lnTo>
                      <a:lnTo>
                        <a:pt x="17" y="0"/>
                      </a:lnTo>
                      <a:lnTo>
                        <a:pt x="11" y="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  <p:grpSp>
            <p:nvGrpSpPr>
              <p:cNvPr id="51" name="Gruppe 291"/>
              <p:cNvGrpSpPr>
                <a:grpSpLocks/>
              </p:cNvGrpSpPr>
              <p:nvPr/>
            </p:nvGrpSpPr>
            <p:grpSpPr bwMode="auto">
              <a:xfrm>
                <a:off x="2727325" y="1208088"/>
                <a:ext cx="600075" cy="1108075"/>
                <a:chOff x="-1" y="-1241699"/>
                <a:chExt cx="5000630" cy="9231491"/>
              </a:xfrm>
              <a:solidFill>
                <a:schemeClr val="bg1">
                  <a:lumMod val="85000"/>
                </a:schemeClr>
              </a:solidFill>
            </p:grpSpPr>
            <p:grpSp>
              <p:nvGrpSpPr>
                <p:cNvPr id="84" name="Gruppe 111"/>
                <p:cNvGrpSpPr/>
                <p:nvPr/>
              </p:nvGrpSpPr>
              <p:grpSpPr>
                <a:xfrm>
                  <a:off x="-1" y="-1241699"/>
                  <a:ext cx="5000630" cy="9231491"/>
                  <a:chOff x="3295650" y="3451225"/>
                  <a:chExt cx="1392238" cy="2570163"/>
                </a:xfrm>
                <a:grpFill/>
              </p:grpSpPr>
              <p:sp>
                <p:nvSpPr>
                  <p:cNvPr id="88" name="Freeform 207"/>
                  <p:cNvSpPr>
                    <a:spLocks/>
                  </p:cNvSpPr>
                  <p:nvPr/>
                </p:nvSpPr>
                <p:spPr bwMode="auto">
                  <a:xfrm>
                    <a:off x="4586288" y="4176713"/>
                    <a:ext cx="30162" cy="30162"/>
                  </a:xfrm>
                  <a:custGeom>
                    <a:avLst/>
                    <a:gdLst>
                      <a:gd name="T0" fmla="*/ 20637 w 19"/>
                      <a:gd name="T1" fmla="*/ 0 h 19"/>
                      <a:gd name="T2" fmla="*/ 20637 w 19"/>
                      <a:gd name="T3" fmla="*/ 0 h 19"/>
                      <a:gd name="T4" fmla="*/ 20637 w 19"/>
                      <a:gd name="T5" fmla="*/ 9525 h 19"/>
                      <a:gd name="T6" fmla="*/ 9525 w 19"/>
                      <a:gd name="T7" fmla="*/ 9525 h 19"/>
                      <a:gd name="T8" fmla="*/ 0 w 19"/>
                      <a:gd name="T9" fmla="*/ 0 h 19"/>
                      <a:gd name="T10" fmla="*/ 0 w 19"/>
                      <a:gd name="T11" fmla="*/ 0 h 19"/>
                      <a:gd name="T12" fmla="*/ 0 w 19"/>
                      <a:gd name="T13" fmla="*/ 30162 h 19"/>
                      <a:gd name="T14" fmla="*/ 0 w 19"/>
                      <a:gd name="T15" fmla="*/ 30162 h 19"/>
                      <a:gd name="T16" fmla="*/ 9525 w 19"/>
                      <a:gd name="T17" fmla="*/ 30162 h 19"/>
                      <a:gd name="T18" fmla="*/ 30162 w 19"/>
                      <a:gd name="T19" fmla="*/ 20637 h 19"/>
                      <a:gd name="T20" fmla="*/ 30162 w 19"/>
                      <a:gd name="T21" fmla="*/ 9525 h 19"/>
                      <a:gd name="T22" fmla="*/ 20637 w 19"/>
                      <a:gd name="T23" fmla="*/ 0 h 19"/>
                      <a:gd name="T24" fmla="*/ 20637 w 19"/>
                      <a:gd name="T25" fmla="*/ 0 h 1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9"/>
                      <a:gd name="T40" fmla="*/ 0 h 19"/>
                      <a:gd name="T41" fmla="*/ 19 w 19"/>
                      <a:gd name="T42" fmla="*/ 19 h 1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9" h="19">
                        <a:moveTo>
                          <a:pt x="13" y="0"/>
                        </a:moveTo>
                        <a:lnTo>
                          <a:pt x="13" y="0"/>
                        </a:lnTo>
                        <a:lnTo>
                          <a:pt x="13" y="6"/>
                        </a:lnTo>
                        <a:lnTo>
                          <a:pt x="6" y="6"/>
                        </a:lnTo>
                        <a:lnTo>
                          <a:pt x="0" y="0"/>
                        </a:lnTo>
                        <a:lnTo>
                          <a:pt x="0" y="19"/>
                        </a:lnTo>
                        <a:lnTo>
                          <a:pt x="6" y="19"/>
                        </a:lnTo>
                        <a:lnTo>
                          <a:pt x="19" y="13"/>
                        </a:lnTo>
                        <a:lnTo>
                          <a:pt x="19" y="6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9" name="Freeform 212"/>
                  <p:cNvSpPr>
                    <a:spLocks/>
                  </p:cNvSpPr>
                  <p:nvPr/>
                </p:nvSpPr>
                <p:spPr bwMode="auto">
                  <a:xfrm>
                    <a:off x="4465638" y="4348163"/>
                    <a:ext cx="80962" cy="20637"/>
                  </a:xfrm>
                  <a:custGeom>
                    <a:avLst/>
                    <a:gdLst>
                      <a:gd name="T0" fmla="*/ 0 w 51"/>
                      <a:gd name="T1" fmla="*/ 0 h 13"/>
                      <a:gd name="T2" fmla="*/ 0 w 51"/>
                      <a:gd name="T3" fmla="*/ 0 h 13"/>
                      <a:gd name="T4" fmla="*/ 0 w 51"/>
                      <a:gd name="T5" fmla="*/ 9525 h 13"/>
                      <a:gd name="T6" fmla="*/ 9525 w 51"/>
                      <a:gd name="T7" fmla="*/ 20637 h 13"/>
                      <a:gd name="T8" fmla="*/ 30162 w 51"/>
                      <a:gd name="T9" fmla="*/ 20637 h 13"/>
                      <a:gd name="T10" fmla="*/ 50800 w 51"/>
                      <a:gd name="T11" fmla="*/ 20637 h 13"/>
                      <a:gd name="T12" fmla="*/ 80962 w 51"/>
                      <a:gd name="T13" fmla="*/ 20637 h 13"/>
                      <a:gd name="T14" fmla="*/ 80962 w 51"/>
                      <a:gd name="T15" fmla="*/ 20637 h 13"/>
                      <a:gd name="T16" fmla="*/ 80962 w 51"/>
                      <a:gd name="T17" fmla="*/ 9525 h 13"/>
                      <a:gd name="T18" fmla="*/ 69850 w 51"/>
                      <a:gd name="T19" fmla="*/ 0 h 13"/>
                      <a:gd name="T20" fmla="*/ 39687 w 51"/>
                      <a:gd name="T21" fmla="*/ 0 h 13"/>
                      <a:gd name="T22" fmla="*/ 9525 w 51"/>
                      <a:gd name="T23" fmla="*/ 0 h 13"/>
                      <a:gd name="T24" fmla="*/ 0 w 51"/>
                      <a:gd name="T25" fmla="*/ 0 h 13"/>
                      <a:gd name="T26" fmla="*/ 0 w 51"/>
                      <a:gd name="T27" fmla="*/ 0 h 13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51"/>
                      <a:gd name="T43" fmla="*/ 0 h 13"/>
                      <a:gd name="T44" fmla="*/ 51 w 51"/>
                      <a:gd name="T45" fmla="*/ 13 h 13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51" h="13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6" y="13"/>
                        </a:lnTo>
                        <a:lnTo>
                          <a:pt x="19" y="13"/>
                        </a:lnTo>
                        <a:lnTo>
                          <a:pt x="32" y="13"/>
                        </a:lnTo>
                        <a:lnTo>
                          <a:pt x="51" y="13"/>
                        </a:lnTo>
                        <a:lnTo>
                          <a:pt x="51" y="6"/>
                        </a:lnTo>
                        <a:lnTo>
                          <a:pt x="44" y="0"/>
                        </a:lnTo>
                        <a:lnTo>
                          <a:pt x="25" y="0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0" name="Freeform 214"/>
                  <p:cNvSpPr>
                    <a:spLocks/>
                  </p:cNvSpPr>
                  <p:nvPr/>
                </p:nvSpPr>
                <p:spPr bwMode="auto">
                  <a:xfrm>
                    <a:off x="4475163" y="4378325"/>
                    <a:ext cx="71437" cy="30163"/>
                  </a:xfrm>
                  <a:custGeom>
                    <a:avLst/>
                    <a:gdLst>
                      <a:gd name="T0" fmla="*/ 0 w 45"/>
                      <a:gd name="T1" fmla="*/ 0 h 19"/>
                      <a:gd name="T2" fmla="*/ 0 w 45"/>
                      <a:gd name="T3" fmla="*/ 0 h 19"/>
                      <a:gd name="T4" fmla="*/ 0 w 45"/>
                      <a:gd name="T5" fmla="*/ 30163 h 19"/>
                      <a:gd name="T6" fmla="*/ 0 w 45"/>
                      <a:gd name="T7" fmla="*/ 30163 h 19"/>
                      <a:gd name="T8" fmla="*/ 41275 w 45"/>
                      <a:gd name="T9" fmla="*/ 20638 h 19"/>
                      <a:gd name="T10" fmla="*/ 71437 w 45"/>
                      <a:gd name="T11" fmla="*/ 20638 h 19"/>
                      <a:gd name="T12" fmla="*/ 71437 w 45"/>
                      <a:gd name="T13" fmla="*/ 20638 h 19"/>
                      <a:gd name="T14" fmla="*/ 60325 w 45"/>
                      <a:gd name="T15" fmla="*/ 0 h 19"/>
                      <a:gd name="T16" fmla="*/ 41275 w 45"/>
                      <a:gd name="T17" fmla="*/ 0 h 19"/>
                      <a:gd name="T18" fmla="*/ 0 w 45"/>
                      <a:gd name="T19" fmla="*/ 0 h 19"/>
                      <a:gd name="T20" fmla="*/ 0 w 45"/>
                      <a:gd name="T21" fmla="*/ 0 h 19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5"/>
                      <a:gd name="T34" fmla="*/ 0 h 19"/>
                      <a:gd name="T35" fmla="*/ 45 w 45"/>
                      <a:gd name="T36" fmla="*/ 19 h 19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5" h="19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19"/>
                        </a:lnTo>
                        <a:lnTo>
                          <a:pt x="26" y="13"/>
                        </a:lnTo>
                        <a:lnTo>
                          <a:pt x="45" y="13"/>
                        </a:lnTo>
                        <a:lnTo>
                          <a:pt x="38" y="0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1" name="Freeform 216"/>
                  <p:cNvSpPr>
                    <a:spLocks/>
                  </p:cNvSpPr>
                  <p:nvPr/>
                </p:nvSpPr>
                <p:spPr bwMode="auto">
                  <a:xfrm>
                    <a:off x="4465638" y="4408488"/>
                    <a:ext cx="60325" cy="20637"/>
                  </a:xfrm>
                  <a:custGeom>
                    <a:avLst/>
                    <a:gdLst>
                      <a:gd name="T0" fmla="*/ 60325 w 38"/>
                      <a:gd name="T1" fmla="*/ 20637 h 13"/>
                      <a:gd name="T2" fmla="*/ 60325 w 38"/>
                      <a:gd name="T3" fmla="*/ 20637 h 13"/>
                      <a:gd name="T4" fmla="*/ 60325 w 38"/>
                      <a:gd name="T5" fmla="*/ 11112 h 13"/>
                      <a:gd name="T6" fmla="*/ 50800 w 38"/>
                      <a:gd name="T7" fmla="*/ 0 h 13"/>
                      <a:gd name="T8" fmla="*/ 30163 w 38"/>
                      <a:gd name="T9" fmla="*/ 0 h 13"/>
                      <a:gd name="T10" fmla="*/ 0 w 38"/>
                      <a:gd name="T11" fmla="*/ 0 h 13"/>
                      <a:gd name="T12" fmla="*/ 0 w 38"/>
                      <a:gd name="T13" fmla="*/ 11112 h 13"/>
                      <a:gd name="T14" fmla="*/ 0 w 38"/>
                      <a:gd name="T15" fmla="*/ 20637 h 13"/>
                      <a:gd name="T16" fmla="*/ 0 w 38"/>
                      <a:gd name="T17" fmla="*/ 20637 h 13"/>
                      <a:gd name="T18" fmla="*/ 9525 w 38"/>
                      <a:gd name="T19" fmla="*/ 20637 h 13"/>
                      <a:gd name="T20" fmla="*/ 30163 w 38"/>
                      <a:gd name="T21" fmla="*/ 20637 h 13"/>
                      <a:gd name="T22" fmla="*/ 50800 w 38"/>
                      <a:gd name="T23" fmla="*/ 11112 h 13"/>
                      <a:gd name="T24" fmla="*/ 60325 w 38"/>
                      <a:gd name="T25" fmla="*/ 20637 h 13"/>
                      <a:gd name="T26" fmla="*/ 60325 w 38"/>
                      <a:gd name="T27" fmla="*/ 20637 h 13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38"/>
                      <a:gd name="T43" fmla="*/ 0 h 13"/>
                      <a:gd name="T44" fmla="*/ 38 w 38"/>
                      <a:gd name="T45" fmla="*/ 13 h 13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38" h="13">
                        <a:moveTo>
                          <a:pt x="38" y="13"/>
                        </a:moveTo>
                        <a:lnTo>
                          <a:pt x="38" y="13"/>
                        </a:lnTo>
                        <a:lnTo>
                          <a:pt x="38" y="7"/>
                        </a:lnTo>
                        <a:lnTo>
                          <a:pt x="32" y="0"/>
                        </a:lnTo>
                        <a:lnTo>
                          <a:pt x="19" y="0"/>
                        </a:ln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0" y="13"/>
                        </a:lnTo>
                        <a:lnTo>
                          <a:pt x="6" y="13"/>
                        </a:lnTo>
                        <a:lnTo>
                          <a:pt x="19" y="13"/>
                        </a:lnTo>
                        <a:lnTo>
                          <a:pt x="32" y="7"/>
                        </a:lnTo>
                        <a:lnTo>
                          <a:pt x="38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2" name="Freeform 219"/>
                  <p:cNvSpPr>
                    <a:spLocks/>
                  </p:cNvSpPr>
                  <p:nvPr/>
                </p:nvSpPr>
                <p:spPr bwMode="auto">
                  <a:xfrm>
                    <a:off x="4475163" y="4176713"/>
                    <a:ext cx="50800" cy="30162"/>
                  </a:xfrm>
                  <a:custGeom>
                    <a:avLst/>
                    <a:gdLst>
                      <a:gd name="T0" fmla="*/ 50800 w 32"/>
                      <a:gd name="T1" fmla="*/ 30162 h 19"/>
                      <a:gd name="T2" fmla="*/ 50800 w 32"/>
                      <a:gd name="T3" fmla="*/ 30162 h 19"/>
                      <a:gd name="T4" fmla="*/ 50800 w 32"/>
                      <a:gd name="T5" fmla="*/ 9525 h 19"/>
                      <a:gd name="T6" fmla="*/ 41275 w 32"/>
                      <a:gd name="T7" fmla="*/ 0 h 19"/>
                      <a:gd name="T8" fmla="*/ 41275 w 32"/>
                      <a:gd name="T9" fmla="*/ 0 h 19"/>
                      <a:gd name="T10" fmla="*/ 30162 w 32"/>
                      <a:gd name="T11" fmla="*/ 9525 h 19"/>
                      <a:gd name="T12" fmla="*/ 11112 w 32"/>
                      <a:gd name="T13" fmla="*/ 20637 h 19"/>
                      <a:gd name="T14" fmla="*/ 0 w 32"/>
                      <a:gd name="T15" fmla="*/ 20637 h 19"/>
                      <a:gd name="T16" fmla="*/ 0 w 32"/>
                      <a:gd name="T17" fmla="*/ 30162 h 19"/>
                      <a:gd name="T18" fmla="*/ 0 w 32"/>
                      <a:gd name="T19" fmla="*/ 30162 h 19"/>
                      <a:gd name="T20" fmla="*/ 11112 w 32"/>
                      <a:gd name="T21" fmla="*/ 30162 h 19"/>
                      <a:gd name="T22" fmla="*/ 20637 w 32"/>
                      <a:gd name="T23" fmla="*/ 30162 h 19"/>
                      <a:gd name="T24" fmla="*/ 50800 w 32"/>
                      <a:gd name="T25" fmla="*/ 30162 h 19"/>
                      <a:gd name="T26" fmla="*/ 50800 w 32"/>
                      <a:gd name="T27" fmla="*/ 30162 h 19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32"/>
                      <a:gd name="T43" fmla="*/ 0 h 19"/>
                      <a:gd name="T44" fmla="*/ 32 w 32"/>
                      <a:gd name="T45" fmla="*/ 19 h 19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32" h="19">
                        <a:moveTo>
                          <a:pt x="32" y="19"/>
                        </a:moveTo>
                        <a:lnTo>
                          <a:pt x="32" y="19"/>
                        </a:lnTo>
                        <a:lnTo>
                          <a:pt x="32" y="6"/>
                        </a:lnTo>
                        <a:lnTo>
                          <a:pt x="26" y="0"/>
                        </a:lnTo>
                        <a:lnTo>
                          <a:pt x="19" y="6"/>
                        </a:lnTo>
                        <a:lnTo>
                          <a:pt x="7" y="13"/>
                        </a:lnTo>
                        <a:lnTo>
                          <a:pt x="0" y="13"/>
                        </a:lnTo>
                        <a:lnTo>
                          <a:pt x="0" y="19"/>
                        </a:lnTo>
                        <a:lnTo>
                          <a:pt x="7" y="19"/>
                        </a:lnTo>
                        <a:lnTo>
                          <a:pt x="13" y="19"/>
                        </a:lnTo>
                        <a:lnTo>
                          <a:pt x="32" y="1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3" name="Freeform 220"/>
                  <p:cNvSpPr>
                    <a:spLocks/>
                  </p:cNvSpPr>
                  <p:nvPr/>
                </p:nvSpPr>
                <p:spPr bwMode="auto">
                  <a:xfrm>
                    <a:off x="4586288" y="4176713"/>
                    <a:ext cx="30162" cy="30162"/>
                  </a:xfrm>
                  <a:custGeom>
                    <a:avLst/>
                    <a:gdLst>
                      <a:gd name="T0" fmla="*/ 20637 w 19"/>
                      <a:gd name="T1" fmla="*/ 0 h 19"/>
                      <a:gd name="T2" fmla="*/ 20637 w 19"/>
                      <a:gd name="T3" fmla="*/ 0 h 19"/>
                      <a:gd name="T4" fmla="*/ 20637 w 19"/>
                      <a:gd name="T5" fmla="*/ 9525 h 19"/>
                      <a:gd name="T6" fmla="*/ 9525 w 19"/>
                      <a:gd name="T7" fmla="*/ 9525 h 19"/>
                      <a:gd name="T8" fmla="*/ 0 w 19"/>
                      <a:gd name="T9" fmla="*/ 0 h 19"/>
                      <a:gd name="T10" fmla="*/ 0 w 19"/>
                      <a:gd name="T11" fmla="*/ 0 h 19"/>
                      <a:gd name="T12" fmla="*/ 0 w 19"/>
                      <a:gd name="T13" fmla="*/ 30162 h 19"/>
                      <a:gd name="T14" fmla="*/ 0 w 19"/>
                      <a:gd name="T15" fmla="*/ 30162 h 19"/>
                      <a:gd name="T16" fmla="*/ 9525 w 19"/>
                      <a:gd name="T17" fmla="*/ 30162 h 19"/>
                      <a:gd name="T18" fmla="*/ 30162 w 19"/>
                      <a:gd name="T19" fmla="*/ 20637 h 19"/>
                      <a:gd name="T20" fmla="*/ 30162 w 19"/>
                      <a:gd name="T21" fmla="*/ 9525 h 19"/>
                      <a:gd name="T22" fmla="*/ 20637 w 19"/>
                      <a:gd name="T23" fmla="*/ 0 h 19"/>
                      <a:gd name="T24" fmla="*/ 20637 w 19"/>
                      <a:gd name="T25" fmla="*/ 0 h 1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9"/>
                      <a:gd name="T40" fmla="*/ 0 h 19"/>
                      <a:gd name="T41" fmla="*/ 19 w 19"/>
                      <a:gd name="T42" fmla="*/ 19 h 1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9" h="19">
                        <a:moveTo>
                          <a:pt x="13" y="0"/>
                        </a:moveTo>
                        <a:lnTo>
                          <a:pt x="13" y="0"/>
                        </a:lnTo>
                        <a:lnTo>
                          <a:pt x="13" y="6"/>
                        </a:lnTo>
                        <a:lnTo>
                          <a:pt x="6" y="6"/>
                        </a:lnTo>
                        <a:lnTo>
                          <a:pt x="0" y="0"/>
                        </a:lnTo>
                        <a:lnTo>
                          <a:pt x="0" y="19"/>
                        </a:lnTo>
                        <a:lnTo>
                          <a:pt x="6" y="19"/>
                        </a:lnTo>
                        <a:lnTo>
                          <a:pt x="19" y="13"/>
                        </a:lnTo>
                        <a:lnTo>
                          <a:pt x="19" y="6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4" name="Freeform 226"/>
                  <p:cNvSpPr>
                    <a:spLocks/>
                  </p:cNvSpPr>
                  <p:nvPr/>
                </p:nvSpPr>
                <p:spPr bwMode="auto">
                  <a:xfrm>
                    <a:off x="4465638" y="4348163"/>
                    <a:ext cx="80962" cy="20637"/>
                  </a:xfrm>
                  <a:custGeom>
                    <a:avLst/>
                    <a:gdLst>
                      <a:gd name="T0" fmla="*/ 0 w 51"/>
                      <a:gd name="T1" fmla="*/ 0 h 13"/>
                      <a:gd name="T2" fmla="*/ 0 w 51"/>
                      <a:gd name="T3" fmla="*/ 0 h 13"/>
                      <a:gd name="T4" fmla="*/ 0 w 51"/>
                      <a:gd name="T5" fmla="*/ 9525 h 13"/>
                      <a:gd name="T6" fmla="*/ 9525 w 51"/>
                      <a:gd name="T7" fmla="*/ 20637 h 13"/>
                      <a:gd name="T8" fmla="*/ 30162 w 51"/>
                      <a:gd name="T9" fmla="*/ 20637 h 13"/>
                      <a:gd name="T10" fmla="*/ 50800 w 51"/>
                      <a:gd name="T11" fmla="*/ 20637 h 13"/>
                      <a:gd name="T12" fmla="*/ 80962 w 51"/>
                      <a:gd name="T13" fmla="*/ 20637 h 13"/>
                      <a:gd name="T14" fmla="*/ 80962 w 51"/>
                      <a:gd name="T15" fmla="*/ 20637 h 13"/>
                      <a:gd name="T16" fmla="*/ 80962 w 51"/>
                      <a:gd name="T17" fmla="*/ 9525 h 13"/>
                      <a:gd name="T18" fmla="*/ 69850 w 51"/>
                      <a:gd name="T19" fmla="*/ 0 h 13"/>
                      <a:gd name="T20" fmla="*/ 39687 w 51"/>
                      <a:gd name="T21" fmla="*/ 0 h 13"/>
                      <a:gd name="T22" fmla="*/ 9525 w 51"/>
                      <a:gd name="T23" fmla="*/ 0 h 13"/>
                      <a:gd name="T24" fmla="*/ 0 w 51"/>
                      <a:gd name="T25" fmla="*/ 0 h 13"/>
                      <a:gd name="T26" fmla="*/ 0 w 51"/>
                      <a:gd name="T27" fmla="*/ 0 h 13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51"/>
                      <a:gd name="T43" fmla="*/ 0 h 13"/>
                      <a:gd name="T44" fmla="*/ 51 w 51"/>
                      <a:gd name="T45" fmla="*/ 13 h 13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51" h="13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6" y="13"/>
                        </a:lnTo>
                        <a:lnTo>
                          <a:pt x="19" y="13"/>
                        </a:lnTo>
                        <a:lnTo>
                          <a:pt x="32" y="13"/>
                        </a:lnTo>
                        <a:lnTo>
                          <a:pt x="51" y="13"/>
                        </a:lnTo>
                        <a:lnTo>
                          <a:pt x="51" y="6"/>
                        </a:lnTo>
                        <a:lnTo>
                          <a:pt x="44" y="0"/>
                        </a:lnTo>
                        <a:lnTo>
                          <a:pt x="25" y="0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5" name="Freeform 228"/>
                  <p:cNvSpPr>
                    <a:spLocks/>
                  </p:cNvSpPr>
                  <p:nvPr/>
                </p:nvSpPr>
                <p:spPr bwMode="auto">
                  <a:xfrm>
                    <a:off x="4475163" y="4378325"/>
                    <a:ext cx="71437" cy="30163"/>
                  </a:xfrm>
                  <a:custGeom>
                    <a:avLst/>
                    <a:gdLst>
                      <a:gd name="T0" fmla="*/ 0 w 45"/>
                      <a:gd name="T1" fmla="*/ 0 h 19"/>
                      <a:gd name="T2" fmla="*/ 0 w 45"/>
                      <a:gd name="T3" fmla="*/ 0 h 19"/>
                      <a:gd name="T4" fmla="*/ 0 w 45"/>
                      <a:gd name="T5" fmla="*/ 30163 h 19"/>
                      <a:gd name="T6" fmla="*/ 0 w 45"/>
                      <a:gd name="T7" fmla="*/ 30163 h 19"/>
                      <a:gd name="T8" fmla="*/ 41275 w 45"/>
                      <a:gd name="T9" fmla="*/ 20638 h 19"/>
                      <a:gd name="T10" fmla="*/ 71437 w 45"/>
                      <a:gd name="T11" fmla="*/ 20638 h 19"/>
                      <a:gd name="T12" fmla="*/ 71437 w 45"/>
                      <a:gd name="T13" fmla="*/ 20638 h 19"/>
                      <a:gd name="T14" fmla="*/ 60325 w 45"/>
                      <a:gd name="T15" fmla="*/ 0 h 19"/>
                      <a:gd name="T16" fmla="*/ 41275 w 45"/>
                      <a:gd name="T17" fmla="*/ 0 h 19"/>
                      <a:gd name="T18" fmla="*/ 0 w 45"/>
                      <a:gd name="T19" fmla="*/ 0 h 19"/>
                      <a:gd name="T20" fmla="*/ 0 w 45"/>
                      <a:gd name="T21" fmla="*/ 0 h 19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5"/>
                      <a:gd name="T34" fmla="*/ 0 h 19"/>
                      <a:gd name="T35" fmla="*/ 45 w 45"/>
                      <a:gd name="T36" fmla="*/ 19 h 19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5" h="19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19"/>
                        </a:lnTo>
                        <a:lnTo>
                          <a:pt x="26" y="13"/>
                        </a:lnTo>
                        <a:lnTo>
                          <a:pt x="45" y="13"/>
                        </a:lnTo>
                        <a:lnTo>
                          <a:pt x="38" y="0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6" name="Freeform 231"/>
                  <p:cNvSpPr>
                    <a:spLocks/>
                  </p:cNvSpPr>
                  <p:nvPr/>
                </p:nvSpPr>
                <p:spPr bwMode="auto">
                  <a:xfrm>
                    <a:off x="4475163" y="4498975"/>
                    <a:ext cx="50800" cy="30163"/>
                  </a:xfrm>
                  <a:custGeom>
                    <a:avLst/>
                    <a:gdLst>
                      <a:gd name="T0" fmla="*/ 50800 w 32"/>
                      <a:gd name="T1" fmla="*/ 30163 h 19"/>
                      <a:gd name="T2" fmla="*/ 50800 w 32"/>
                      <a:gd name="T3" fmla="*/ 30163 h 19"/>
                      <a:gd name="T4" fmla="*/ 50800 w 32"/>
                      <a:gd name="T5" fmla="*/ 11113 h 19"/>
                      <a:gd name="T6" fmla="*/ 41275 w 32"/>
                      <a:gd name="T7" fmla="*/ 0 h 19"/>
                      <a:gd name="T8" fmla="*/ 41275 w 32"/>
                      <a:gd name="T9" fmla="*/ 0 h 19"/>
                      <a:gd name="T10" fmla="*/ 30162 w 32"/>
                      <a:gd name="T11" fmla="*/ 11113 h 19"/>
                      <a:gd name="T12" fmla="*/ 11112 w 32"/>
                      <a:gd name="T13" fmla="*/ 20638 h 19"/>
                      <a:gd name="T14" fmla="*/ 0 w 32"/>
                      <a:gd name="T15" fmla="*/ 20638 h 19"/>
                      <a:gd name="T16" fmla="*/ 0 w 32"/>
                      <a:gd name="T17" fmla="*/ 30163 h 19"/>
                      <a:gd name="T18" fmla="*/ 0 w 32"/>
                      <a:gd name="T19" fmla="*/ 30163 h 19"/>
                      <a:gd name="T20" fmla="*/ 11112 w 32"/>
                      <a:gd name="T21" fmla="*/ 30163 h 19"/>
                      <a:gd name="T22" fmla="*/ 20637 w 32"/>
                      <a:gd name="T23" fmla="*/ 30163 h 19"/>
                      <a:gd name="T24" fmla="*/ 50800 w 32"/>
                      <a:gd name="T25" fmla="*/ 30163 h 19"/>
                      <a:gd name="T26" fmla="*/ 50800 w 32"/>
                      <a:gd name="T27" fmla="*/ 30163 h 19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32"/>
                      <a:gd name="T43" fmla="*/ 0 h 19"/>
                      <a:gd name="T44" fmla="*/ 32 w 32"/>
                      <a:gd name="T45" fmla="*/ 19 h 19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32" h="19">
                        <a:moveTo>
                          <a:pt x="32" y="19"/>
                        </a:moveTo>
                        <a:lnTo>
                          <a:pt x="32" y="19"/>
                        </a:lnTo>
                        <a:lnTo>
                          <a:pt x="32" y="7"/>
                        </a:lnTo>
                        <a:lnTo>
                          <a:pt x="26" y="0"/>
                        </a:lnTo>
                        <a:lnTo>
                          <a:pt x="19" y="7"/>
                        </a:lnTo>
                        <a:lnTo>
                          <a:pt x="7" y="13"/>
                        </a:lnTo>
                        <a:lnTo>
                          <a:pt x="0" y="13"/>
                        </a:lnTo>
                        <a:lnTo>
                          <a:pt x="0" y="19"/>
                        </a:lnTo>
                        <a:lnTo>
                          <a:pt x="7" y="19"/>
                        </a:lnTo>
                        <a:lnTo>
                          <a:pt x="13" y="19"/>
                        </a:lnTo>
                        <a:lnTo>
                          <a:pt x="32" y="1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7" name="Freeform 234"/>
                  <p:cNvSpPr>
                    <a:spLocks/>
                  </p:cNvSpPr>
                  <p:nvPr/>
                </p:nvSpPr>
                <p:spPr bwMode="auto">
                  <a:xfrm>
                    <a:off x="4465638" y="4579938"/>
                    <a:ext cx="80962" cy="20637"/>
                  </a:xfrm>
                  <a:custGeom>
                    <a:avLst/>
                    <a:gdLst>
                      <a:gd name="T0" fmla="*/ 80962 w 51"/>
                      <a:gd name="T1" fmla="*/ 0 h 13"/>
                      <a:gd name="T2" fmla="*/ 80962 w 51"/>
                      <a:gd name="T3" fmla="*/ 0 h 13"/>
                      <a:gd name="T4" fmla="*/ 39687 w 51"/>
                      <a:gd name="T5" fmla="*/ 0 h 13"/>
                      <a:gd name="T6" fmla="*/ 20637 w 51"/>
                      <a:gd name="T7" fmla="*/ 0 h 13"/>
                      <a:gd name="T8" fmla="*/ 0 w 51"/>
                      <a:gd name="T9" fmla="*/ 20637 h 13"/>
                      <a:gd name="T10" fmla="*/ 0 w 51"/>
                      <a:gd name="T11" fmla="*/ 20637 h 13"/>
                      <a:gd name="T12" fmla="*/ 50800 w 51"/>
                      <a:gd name="T13" fmla="*/ 20637 h 13"/>
                      <a:gd name="T14" fmla="*/ 69850 w 51"/>
                      <a:gd name="T15" fmla="*/ 9525 h 13"/>
                      <a:gd name="T16" fmla="*/ 80962 w 51"/>
                      <a:gd name="T17" fmla="*/ 0 h 13"/>
                      <a:gd name="T18" fmla="*/ 80962 w 51"/>
                      <a:gd name="T19" fmla="*/ 0 h 13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51"/>
                      <a:gd name="T31" fmla="*/ 0 h 13"/>
                      <a:gd name="T32" fmla="*/ 51 w 51"/>
                      <a:gd name="T33" fmla="*/ 13 h 13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51" h="13">
                        <a:moveTo>
                          <a:pt x="51" y="0"/>
                        </a:moveTo>
                        <a:lnTo>
                          <a:pt x="51" y="0"/>
                        </a:lnTo>
                        <a:lnTo>
                          <a:pt x="25" y="0"/>
                        </a:lnTo>
                        <a:lnTo>
                          <a:pt x="13" y="0"/>
                        </a:lnTo>
                        <a:lnTo>
                          <a:pt x="0" y="13"/>
                        </a:lnTo>
                        <a:lnTo>
                          <a:pt x="32" y="13"/>
                        </a:lnTo>
                        <a:lnTo>
                          <a:pt x="44" y="6"/>
                        </a:lnTo>
                        <a:lnTo>
                          <a:pt x="51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8" name="Freeform 236"/>
                  <p:cNvSpPr>
                    <a:spLocks/>
                  </p:cNvSpPr>
                  <p:nvPr/>
                </p:nvSpPr>
                <p:spPr bwMode="auto">
                  <a:xfrm>
                    <a:off x="4465638" y="4610100"/>
                    <a:ext cx="60325" cy="20638"/>
                  </a:xfrm>
                  <a:custGeom>
                    <a:avLst/>
                    <a:gdLst>
                      <a:gd name="T0" fmla="*/ 9525 w 38"/>
                      <a:gd name="T1" fmla="*/ 20638 h 13"/>
                      <a:gd name="T2" fmla="*/ 9525 w 38"/>
                      <a:gd name="T3" fmla="*/ 20638 h 13"/>
                      <a:gd name="T4" fmla="*/ 30163 w 38"/>
                      <a:gd name="T5" fmla="*/ 20638 h 13"/>
                      <a:gd name="T6" fmla="*/ 60325 w 38"/>
                      <a:gd name="T7" fmla="*/ 20638 h 13"/>
                      <a:gd name="T8" fmla="*/ 60325 w 38"/>
                      <a:gd name="T9" fmla="*/ 20638 h 13"/>
                      <a:gd name="T10" fmla="*/ 60325 w 38"/>
                      <a:gd name="T11" fmla="*/ 0 h 13"/>
                      <a:gd name="T12" fmla="*/ 60325 w 38"/>
                      <a:gd name="T13" fmla="*/ 0 h 13"/>
                      <a:gd name="T14" fmla="*/ 60325 w 38"/>
                      <a:gd name="T15" fmla="*/ 0 h 13"/>
                      <a:gd name="T16" fmla="*/ 50800 w 38"/>
                      <a:gd name="T17" fmla="*/ 0 h 13"/>
                      <a:gd name="T18" fmla="*/ 50800 w 38"/>
                      <a:gd name="T19" fmla="*/ 0 h 13"/>
                      <a:gd name="T20" fmla="*/ 39687 w 38"/>
                      <a:gd name="T21" fmla="*/ 0 h 13"/>
                      <a:gd name="T22" fmla="*/ 20637 w 38"/>
                      <a:gd name="T23" fmla="*/ 11113 h 13"/>
                      <a:gd name="T24" fmla="*/ 0 w 38"/>
                      <a:gd name="T25" fmla="*/ 11113 h 13"/>
                      <a:gd name="T26" fmla="*/ 0 w 38"/>
                      <a:gd name="T27" fmla="*/ 11113 h 13"/>
                      <a:gd name="T28" fmla="*/ 9525 w 38"/>
                      <a:gd name="T29" fmla="*/ 20638 h 13"/>
                      <a:gd name="T30" fmla="*/ 9525 w 38"/>
                      <a:gd name="T31" fmla="*/ 20638 h 13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38"/>
                      <a:gd name="T49" fmla="*/ 0 h 13"/>
                      <a:gd name="T50" fmla="*/ 38 w 38"/>
                      <a:gd name="T51" fmla="*/ 13 h 13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38" h="13">
                        <a:moveTo>
                          <a:pt x="6" y="13"/>
                        </a:moveTo>
                        <a:lnTo>
                          <a:pt x="6" y="13"/>
                        </a:lnTo>
                        <a:lnTo>
                          <a:pt x="19" y="13"/>
                        </a:lnTo>
                        <a:lnTo>
                          <a:pt x="38" y="13"/>
                        </a:lnTo>
                        <a:lnTo>
                          <a:pt x="38" y="0"/>
                        </a:lnTo>
                        <a:lnTo>
                          <a:pt x="32" y="0"/>
                        </a:lnTo>
                        <a:lnTo>
                          <a:pt x="25" y="0"/>
                        </a:lnTo>
                        <a:lnTo>
                          <a:pt x="13" y="7"/>
                        </a:lnTo>
                        <a:lnTo>
                          <a:pt x="0" y="7"/>
                        </a:lnTo>
                        <a:lnTo>
                          <a:pt x="6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99" name="Freeform 238"/>
                  <p:cNvSpPr>
                    <a:spLocks/>
                  </p:cNvSpPr>
                  <p:nvPr/>
                </p:nvSpPr>
                <p:spPr bwMode="auto">
                  <a:xfrm>
                    <a:off x="4465638" y="4540250"/>
                    <a:ext cx="60325" cy="30163"/>
                  </a:xfrm>
                  <a:custGeom>
                    <a:avLst/>
                    <a:gdLst>
                      <a:gd name="T0" fmla="*/ 50800 w 38"/>
                      <a:gd name="T1" fmla="*/ 0 h 19"/>
                      <a:gd name="T2" fmla="*/ 50800 w 38"/>
                      <a:gd name="T3" fmla="*/ 0 h 19"/>
                      <a:gd name="T4" fmla="*/ 50800 w 38"/>
                      <a:gd name="T5" fmla="*/ 9525 h 19"/>
                      <a:gd name="T6" fmla="*/ 50800 w 38"/>
                      <a:gd name="T7" fmla="*/ 9525 h 19"/>
                      <a:gd name="T8" fmla="*/ 30163 w 38"/>
                      <a:gd name="T9" fmla="*/ 9525 h 19"/>
                      <a:gd name="T10" fmla="*/ 9525 w 38"/>
                      <a:gd name="T11" fmla="*/ 9525 h 19"/>
                      <a:gd name="T12" fmla="*/ 0 w 38"/>
                      <a:gd name="T13" fmla="*/ 9525 h 19"/>
                      <a:gd name="T14" fmla="*/ 0 w 38"/>
                      <a:gd name="T15" fmla="*/ 30163 h 19"/>
                      <a:gd name="T16" fmla="*/ 0 w 38"/>
                      <a:gd name="T17" fmla="*/ 30163 h 19"/>
                      <a:gd name="T18" fmla="*/ 50800 w 38"/>
                      <a:gd name="T19" fmla="*/ 30163 h 19"/>
                      <a:gd name="T20" fmla="*/ 60325 w 38"/>
                      <a:gd name="T21" fmla="*/ 19050 h 19"/>
                      <a:gd name="T22" fmla="*/ 50800 w 38"/>
                      <a:gd name="T23" fmla="*/ 0 h 19"/>
                      <a:gd name="T24" fmla="*/ 50800 w 38"/>
                      <a:gd name="T25" fmla="*/ 0 h 1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8"/>
                      <a:gd name="T40" fmla="*/ 0 h 19"/>
                      <a:gd name="T41" fmla="*/ 38 w 38"/>
                      <a:gd name="T42" fmla="*/ 19 h 1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8" h="19">
                        <a:moveTo>
                          <a:pt x="32" y="0"/>
                        </a:moveTo>
                        <a:lnTo>
                          <a:pt x="32" y="0"/>
                        </a:lnTo>
                        <a:lnTo>
                          <a:pt x="32" y="6"/>
                        </a:lnTo>
                        <a:lnTo>
                          <a:pt x="19" y="6"/>
                        </a:lnTo>
                        <a:lnTo>
                          <a:pt x="6" y="6"/>
                        </a:lnTo>
                        <a:lnTo>
                          <a:pt x="0" y="6"/>
                        </a:lnTo>
                        <a:lnTo>
                          <a:pt x="0" y="19"/>
                        </a:lnTo>
                        <a:lnTo>
                          <a:pt x="32" y="19"/>
                        </a:lnTo>
                        <a:lnTo>
                          <a:pt x="38" y="12"/>
                        </a:lnTo>
                        <a:lnTo>
                          <a:pt x="3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0" name="Freeform 241"/>
                  <p:cNvSpPr>
                    <a:spLocks/>
                  </p:cNvSpPr>
                  <p:nvPr/>
                </p:nvSpPr>
                <p:spPr bwMode="auto">
                  <a:xfrm>
                    <a:off x="4465638" y="4579938"/>
                    <a:ext cx="80962" cy="20637"/>
                  </a:xfrm>
                  <a:custGeom>
                    <a:avLst/>
                    <a:gdLst>
                      <a:gd name="T0" fmla="*/ 80962 w 51"/>
                      <a:gd name="T1" fmla="*/ 0 h 13"/>
                      <a:gd name="T2" fmla="*/ 80962 w 51"/>
                      <a:gd name="T3" fmla="*/ 0 h 13"/>
                      <a:gd name="T4" fmla="*/ 39687 w 51"/>
                      <a:gd name="T5" fmla="*/ 0 h 13"/>
                      <a:gd name="T6" fmla="*/ 20637 w 51"/>
                      <a:gd name="T7" fmla="*/ 0 h 13"/>
                      <a:gd name="T8" fmla="*/ 0 w 51"/>
                      <a:gd name="T9" fmla="*/ 20637 h 13"/>
                      <a:gd name="T10" fmla="*/ 0 w 51"/>
                      <a:gd name="T11" fmla="*/ 20637 h 13"/>
                      <a:gd name="T12" fmla="*/ 50800 w 51"/>
                      <a:gd name="T13" fmla="*/ 20637 h 13"/>
                      <a:gd name="T14" fmla="*/ 69850 w 51"/>
                      <a:gd name="T15" fmla="*/ 9525 h 13"/>
                      <a:gd name="T16" fmla="*/ 80962 w 51"/>
                      <a:gd name="T17" fmla="*/ 0 h 13"/>
                      <a:gd name="T18" fmla="*/ 80962 w 51"/>
                      <a:gd name="T19" fmla="*/ 0 h 13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51"/>
                      <a:gd name="T31" fmla="*/ 0 h 13"/>
                      <a:gd name="T32" fmla="*/ 51 w 51"/>
                      <a:gd name="T33" fmla="*/ 13 h 13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51" h="13">
                        <a:moveTo>
                          <a:pt x="51" y="0"/>
                        </a:moveTo>
                        <a:lnTo>
                          <a:pt x="51" y="0"/>
                        </a:lnTo>
                        <a:lnTo>
                          <a:pt x="25" y="0"/>
                        </a:lnTo>
                        <a:lnTo>
                          <a:pt x="13" y="0"/>
                        </a:lnTo>
                        <a:lnTo>
                          <a:pt x="0" y="13"/>
                        </a:lnTo>
                        <a:lnTo>
                          <a:pt x="32" y="13"/>
                        </a:lnTo>
                        <a:lnTo>
                          <a:pt x="44" y="6"/>
                        </a:lnTo>
                        <a:lnTo>
                          <a:pt x="51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1" name="Freeform 243"/>
                  <p:cNvSpPr>
                    <a:spLocks/>
                  </p:cNvSpPr>
                  <p:nvPr/>
                </p:nvSpPr>
                <p:spPr bwMode="auto">
                  <a:xfrm>
                    <a:off x="4465638" y="4610100"/>
                    <a:ext cx="60325" cy="20638"/>
                  </a:xfrm>
                  <a:custGeom>
                    <a:avLst/>
                    <a:gdLst>
                      <a:gd name="T0" fmla="*/ 9525 w 38"/>
                      <a:gd name="T1" fmla="*/ 20638 h 13"/>
                      <a:gd name="T2" fmla="*/ 9525 w 38"/>
                      <a:gd name="T3" fmla="*/ 20638 h 13"/>
                      <a:gd name="T4" fmla="*/ 30163 w 38"/>
                      <a:gd name="T5" fmla="*/ 20638 h 13"/>
                      <a:gd name="T6" fmla="*/ 60325 w 38"/>
                      <a:gd name="T7" fmla="*/ 20638 h 13"/>
                      <a:gd name="T8" fmla="*/ 60325 w 38"/>
                      <a:gd name="T9" fmla="*/ 20638 h 13"/>
                      <a:gd name="T10" fmla="*/ 60325 w 38"/>
                      <a:gd name="T11" fmla="*/ 0 h 13"/>
                      <a:gd name="T12" fmla="*/ 60325 w 38"/>
                      <a:gd name="T13" fmla="*/ 0 h 13"/>
                      <a:gd name="T14" fmla="*/ 60325 w 38"/>
                      <a:gd name="T15" fmla="*/ 0 h 13"/>
                      <a:gd name="T16" fmla="*/ 50800 w 38"/>
                      <a:gd name="T17" fmla="*/ 0 h 13"/>
                      <a:gd name="T18" fmla="*/ 50800 w 38"/>
                      <a:gd name="T19" fmla="*/ 0 h 13"/>
                      <a:gd name="T20" fmla="*/ 39687 w 38"/>
                      <a:gd name="T21" fmla="*/ 0 h 13"/>
                      <a:gd name="T22" fmla="*/ 20637 w 38"/>
                      <a:gd name="T23" fmla="*/ 11113 h 13"/>
                      <a:gd name="T24" fmla="*/ 0 w 38"/>
                      <a:gd name="T25" fmla="*/ 11113 h 13"/>
                      <a:gd name="T26" fmla="*/ 0 w 38"/>
                      <a:gd name="T27" fmla="*/ 11113 h 13"/>
                      <a:gd name="T28" fmla="*/ 9525 w 38"/>
                      <a:gd name="T29" fmla="*/ 20638 h 13"/>
                      <a:gd name="T30" fmla="*/ 9525 w 38"/>
                      <a:gd name="T31" fmla="*/ 20638 h 13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38"/>
                      <a:gd name="T49" fmla="*/ 0 h 13"/>
                      <a:gd name="T50" fmla="*/ 38 w 38"/>
                      <a:gd name="T51" fmla="*/ 13 h 13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38" h="13">
                        <a:moveTo>
                          <a:pt x="6" y="13"/>
                        </a:moveTo>
                        <a:lnTo>
                          <a:pt x="6" y="13"/>
                        </a:lnTo>
                        <a:lnTo>
                          <a:pt x="19" y="13"/>
                        </a:lnTo>
                        <a:lnTo>
                          <a:pt x="38" y="13"/>
                        </a:lnTo>
                        <a:lnTo>
                          <a:pt x="38" y="0"/>
                        </a:lnTo>
                        <a:lnTo>
                          <a:pt x="32" y="0"/>
                        </a:lnTo>
                        <a:lnTo>
                          <a:pt x="25" y="0"/>
                        </a:lnTo>
                        <a:lnTo>
                          <a:pt x="13" y="7"/>
                        </a:lnTo>
                        <a:lnTo>
                          <a:pt x="0" y="7"/>
                        </a:lnTo>
                        <a:lnTo>
                          <a:pt x="6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2" name="Freeform 245"/>
                  <p:cNvSpPr>
                    <a:spLocks/>
                  </p:cNvSpPr>
                  <p:nvPr/>
                </p:nvSpPr>
                <p:spPr bwMode="auto">
                  <a:xfrm>
                    <a:off x="4465638" y="4540250"/>
                    <a:ext cx="60325" cy="30163"/>
                  </a:xfrm>
                  <a:custGeom>
                    <a:avLst/>
                    <a:gdLst>
                      <a:gd name="T0" fmla="*/ 50800 w 38"/>
                      <a:gd name="T1" fmla="*/ 0 h 19"/>
                      <a:gd name="T2" fmla="*/ 50800 w 38"/>
                      <a:gd name="T3" fmla="*/ 0 h 19"/>
                      <a:gd name="T4" fmla="*/ 50800 w 38"/>
                      <a:gd name="T5" fmla="*/ 9525 h 19"/>
                      <a:gd name="T6" fmla="*/ 50800 w 38"/>
                      <a:gd name="T7" fmla="*/ 9525 h 19"/>
                      <a:gd name="T8" fmla="*/ 30163 w 38"/>
                      <a:gd name="T9" fmla="*/ 9525 h 19"/>
                      <a:gd name="T10" fmla="*/ 9525 w 38"/>
                      <a:gd name="T11" fmla="*/ 9525 h 19"/>
                      <a:gd name="T12" fmla="*/ 0 w 38"/>
                      <a:gd name="T13" fmla="*/ 9525 h 19"/>
                      <a:gd name="T14" fmla="*/ 0 w 38"/>
                      <a:gd name="T15" fmla="*/ 30163 h 19"/>
                      <a:gd name="T16" fmla="*/ 0 w 38"/>
                      <a:gd name="T17" fmla="*/ 30163 h 19"/>
                      <a:gd name="T18" fmla="*/ 50800 w 38"/>
                      <a:gd name="T19" fmla="*/ 30163 h 19"/>
                      <a:gd name="T20" fmla="*/ 60325 w 38"/>
                      <a:gd name="T21" fmla="*/ 19050 h 19"/>
                      <a:gd name="T22" fmla="*/ 50800 w 38"/>
                      <a:gd name="T23" fmla="*/ 0 h 19"/>
                      <a:gd name="T24" fmla="*/ 50800 w 38"/>
                      <a:gd name="T25" fmla="*/ 0 h 1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8"/>
                      <a:gd name="T40" fmla="*/ 0 h 19"/>
                      <a:gd name="T41" fmla="*/ 38 w 38"/>
                      <a:gd name="T42" fmla="*/ 19 h 1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8" h="19">
                        <a:moveTo>
                          <a:pt x="32" y="0"/>
                        </a:moveTo>
                        <a:lnTo>
                          <a:pt x="32" y="0"/>
                        </a:lnTo>
                        <a:lnTo>
                          <a:pt x="32" y="6"/>
                        </a:lnTo>
                        <a:lnTo>
                          <a:pt x="19" y="6"/>
                        </a:lnTo>
                        <a:lnTo>
                          <a:pt x="6" y="6"/>
                        </a:lnTo>
                        <a:lnTo>
                          <a:pt x="0" y="6"/>
                        </a:lnTo>
                        <a:lnTo>
                          <a:pt x="0" y="19"/>
                        </a:lnTo>
                        <a:lnTo>
                          <a:pt x="32" y="19"/>
                        </a:lnTo>
                        <a:lnTo>
                          <a:pt x="38" y="12"/>
                        </a:lnTo>
                        <a:lnTo>
                          <a:pt x="3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3" name="Freeform 281"/>
                  <p:cNvSpPr>
                    <a:spLocks/>
                  </p:cNvSpPr>
                  <p:nvPr/>
                </p:nvSpPr>
                <p:spPr bwMode="auto">
                  <a:xfrm>
                    <a:off x="3629025" y="345122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4" name="Freeform 282"/>
                  <p:cNvSpPr>
                    <a:spLocks/>
                  </p:cNvSpPr>
                  <p:nvPr/>
                </p:nvSpPr>
                <p:spPr bwMode="auto">
                  <a:xfrm>
                    <a:off x="3629025" y="3511550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w 1588"/>
                      <a:gd name="T13" fmla="*/ 0 h 1588"/>
                      <a:gd name="T14" fmla="*/ 0 w 1588"/>
                      <a:gd name="T15" fmla="*/ 0 h 1588"/>
                      <a:gd name="T16" fmla="*/ 0 w 1588"/>
                      <a:gd name="T17" fmla="*/ 0 h 1588"/>
                      <a:gd name="T18" fmla="*/ 0 w 1588"/>
                      <a:gd name="T19" fmla="*/ 0 h 1588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1588"/>
                      <a:gd name="T31" fmla="*/ 0 h 1588"/>
                      <a:gd name="T32" fmla="*/ 1588 w 1588"/>
                      <a:gd name="T33" fmla="*/ 1588 h 1588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5" name="Freeform 283"/>
                  <p:cNvSpPr>
                    <a:spLocks/>
                  </p:cNvSpPr>
                  <p:nvPr/>
                </p:nvSpPr>
                <p:spPr bwMode="auto">
                  <a:xfrm>
                    <a:off x="3629025" y="3511550"/>
                    <a:ext cx="1588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6" name="Rectangle 284"/>
                  <p:cNvSpPr>
                    <a:spLocks noChangeArrowheads="1"/>
                  </p:cNvSpPr>
                  <p:nvPr/>
                </p:nvSpPr>
                <p:spPr bwMode="auto">
                  <a:xfrm>
                    <a:off x="3629025" y="3521075"/>
                    <a:ext cx="1588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7" name="Freeform 285"/>
                  <p:cNvSpPr>
                    <a:spLocks/>
                  </p:cNvSpPr>
                  <p:nvPr/>
                </p:nvSpPr>
                <p:spPr bwMode="auto">
                  <a:xfrm>
                    <a:off x="3608388" y="3532188"/>
                    <a:ext cx="1587" cy="1587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8" name="Freeform 286"/>
                  <p:cNvSpPr>
                    <a:spLocks/>
                  </p:cNvSpPr>
                  <p:nvPr/>
                </p:nvSpPr>
                <p:spPr bwMode="auto">
                  <a:xfrm>
                    <a:off x="3629025" y="3532188"/>
                    <a:ext cx="1588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09" name="Freeform 287"/>
                  <p:cNvSpPr>
                    <a:spLocks/>
                  </p:cNvSpPr>
                  <p:nvPr/>
                </p:nvSpPr>
                <p:spPr bwMode="auto">
                  <a:xfrm>
                    <a:off x="3648075" y="3551238"/>
                    <a:ext cx="1588" cy="1587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w 1588"/>
                      <a:gd name="T13" fmla="*/ 0 h 1588"/>
                      <a:gd name="T14" fmla="*/ 0 w 1588"/>
                      <a:gd name="T15" fmla="*/ 0 h 1588"/>
                      <a:gd name="T16" fmla="*/ 0 w 1588"/>
                      <a:gd name="T17" fmla="*/ 0 h 158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588"/>
                      <a:gd name="T28" fmla="*/ 0 h 1588"/>
                      <a:gd name="T29" fmla="*/ 1588 w 1588"/>
                      <a:gd name="T30" fmla="*/ 1588 h 158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0" name="Rectangle 290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3833813"/>
                    <a:ext cx="1588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1" name="Freeform 291"/>
                  <p:cNvSpPr>
                    <a:spLocks/>
                  </p:cNvSpPr>
                  <p:nvPr/>
                </p:nvSpPr>
                <p:spPr bwMode="auto">
                  <a:xfrm>
                    <a:off x="3659188" y="3833813"/>
                    <a:ext cx="1587" cy="11112"/>
                  </a:xfrm>
                  <a:custGeom>
                    <a:avLst/>
                    <a:gdLst>
                      <a:gd name="T0" fmla="*/ 0 w 1588"/>
                      <a:gd name="T1" fmla="*/ 11112 h 7"/>
                      <a:gd name="T2" fmla="*/ 0 w 1588"/>
                      <a:gd name="T3" fmla="*/ 11112 h 7"/>
                      <a:gd name="T4" fmla="*/ 0 w 1588"/>
                      <a:gd name="T5" fmla="*/ 0 h 7"/>
                      <a:gd name="T6" fmla="*/ 0 w 1588"/>
                      <a:gd name="T7" fmla="*/ 11112 h 7"/>
                      <a:gd name="T8" fmla="*/ 0 w 1588"/>
                      <a:gd name="T9" fmla="*/ 11112 h 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588"/>
                      <a:gd name="T16" fmla="*/ 0 h 7"/>
                      <a:gd name="T17" fmla="*/ 1588 w 1588"/>
                      <a:gd name="T18" fmla="*/ 7 h 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588" h="7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0" y="0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2" name="Rectangle 292"/>
                  <p:cNvSpPr>
                    <a:spLocks noChangeArrowheads="1"/>
                  </p:cNvSpPr>
                  <p:nvPr/>
                </p:nvSpPr>
                <p:spPr bwMode="auto">
                  <a:xfrm>
                    <a:off x="3538538" y="3844925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3" name="Rectangle 293"/>
                  <p:cNvSpPr>
                    <a:spLocks noChangeArrowheads="1"/>
                  </p:cNvSpPr>
                  <p:nvPr/>
                </p:nvSpPr>
                <p:spPr bwMode="auto">
                  <a:xfrm>
                    <a:off x="3659188" y="3844925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4" name="Freeform 294"/>
                  <p:cNvSpPr>
                    <a:spLocks/>
                  </p:cNvSpPr>
                  <p:nvPr/>
                </p:nvSpPr>
                <p:spPr bwMode="auto">
                  <a:xfrm>
                    <a:off x="3648075" y="384492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w 1588"/>
                      <a:gd name="T13" fmla="*/ 0 h 1588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588"/>
                      <a:gd name="T23" fmla="*/ 1588 w 1588"/>
                      <a:gd name="T24" fmla="*/ 1588 h 1588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5" name="Freeform 295"/>
                  <p:cNvSpPr>
                    <a:spLocks/>
                  </p:cNvSpPr>
                  <p:nvPr/>
                </p:nvSpPr>
                <p:spPr bwMode="auto">
                  <a:xfrm>
                    <a:off x="3648075" y="384492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6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659188" y="3914775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7" name="Freeform 297"/>
                  <p:cNvSpPr>
                    <a:spLocks/>
                  </p:cNvSpPr>
                  <p:nvPr/>
                </p:nvSpPr>
                <p:spPr bwMode="auto">
                  <a:xfrm>
                    <a:off x="3638550" y="391477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8" name="Rectangle 298"/>
                  <p:cNvSpPr>
                    <a:spLocks noChangeArrowheads="1"/>
                  </p:cNvSpPr>
                  <p:nvPr/>
                </p:nvSpPr>
                <p:spPr bwMode="auto">
                  <a:xfrm>
                    <a:off x="3668713" y="3914775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19" name="Freeform 299"/>
                  <p:cNvSpPr>
                    <a:spLocks/>
                  </p:cNvSpPr>
                  <p:nvPr/>
                </p:nvSpPr>
                <p:spPr bwMode="auto">
                  <a:xfrm>
                    <a:off x="3679825" y="3914775"/>
                    <a:ext cx="1588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0" name="Rectangle 300"/>
                  <p:cNvSpPr>
                    <a:spLocks noChangeArrowheads="1"/>
                  </p:cNvSpPr>
                  <p:nvPr/>
                </p:nvSpPr>
                <p:spPr bwMode="auto">
                  <a:xfrm>
                    <a:off x="3709988" y="3914775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1" name="Freeform 301"/>
                  <p:cNvSpPr>
                    <a:spLocks/>
                  </p:cNvSpPr>
                  <p:nvPr/>
                </p:nvSpPr>
                <p:spPr bwMode="auto">
                  <a:xfrm>
                    <a:off x="3587750" y="3914775"/>
                    <a:ext cx="1588" cy="30163"/>
                  </a:xfrm>
                  <a:custGeom>
                    <a:avLst/>
                    <a:gdLst>
                      <a:gd name="T0" fmla="*/ 0 w 1588"/>
                      <a:gd name="T1" fmla="*/ 30163 h 19"/>
                      <a:gd name="T2" fmla="*/ 0 w 1588"/>
                      <a:gd name="T3" fmla="*/ 30163 h 19"/>
                      <a:gd name="T4" fmla="*/ 0 w 1588"/>
                      <a:gd name="T5" fmla="*/ 0 h 19"/>
                      <a:gd name="T6" fmla="*/ 0 w 1588"/>
                      <a:gd name="T7" fmla="*/ 0 h 19"/>
                      <a:gd name="T8" fmla="*/ 0 w 1588"/>
                      <a:gd name="T9" fmla="*/ 30163 h 19"/>
                      <a:gd name="T10" fmla="*/ 0 w 1588"/>
                      <a:gd name="T11" fmla="*/ 30163 h 1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9"/>
                      <a:gd name="T20" fmla="*/ 1588 w 1588"/>
                      <a:gd name="T21" fmla="*/ 19 h 1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9">
                        <a:moveTo>
                          <a:pt x="0" y="19"/>
                        </a:moveTo>
                        <a:lnTo>
                          <a:pt x="0" y="19"/>
                        </a:lnTo>
                        <a:lnTo>
                          <a:pt x="0" y="0"/>
                        </a:lnTo>
                        <a:lnTo>
                          <a:pt x="0" y="1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2" name="Freeform 302"/>
                  <p:cNvSpPr>
                    <a:spLocks/>
                  </p:cNvSpPr>
                  <p:nvPr/>
                </p:nvSpPr>
                <p:spPr bwMode="auto">
                  <a:xfrm>
                    <a:off x="3698875" y="3914775"/>
                    <a:ext cx="1588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w 1588"/>
                      <a:gd name="T13" fmla="*/ 0 h 6"/>
                      <a:gd name="T14" fmla="*/ 0 w 1588"/>
                      <a:gd name="T15" fmla="*/ 0 h 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88"/>
                      <a:gd name="T25" fmla="*/ 0 h 6"/>
                      <a:gd name="T26" fmla="*/ 1588 w 1588"/>
                      <a:gd name="T27" fmla="*/ 6 h 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3" name="Freeform 303"/>
                  <p:cNvSpPr>
                    <a:spLocks/>
                  </p:cNvSpPr>
                  <p:nvPr/>
                </p:nvSpPr>
                <p:spPr bwMode="auto">
                  <a:xfrm>
                    <a:off x="3587750" y="3924300"/>
                    <a:ext cx="1588" cy="20638"/>
                  </a:xfrm>
                  <a:custGeom>
                    <a:avLst/>
                    <a:gdLst>
                      <a:gd name="T0" fmla="*/ 0 w 1588"/>
                      <a:gd name="T1" fmla="*/ 20638 h 13"/>
                      <a:gd name="T2" fmla="*/ 0 w 1588"/>
                      <a:gd name="T3" fmla="*/ 20638 h 13"/>
                      <a:gd name="T4" fmla="*/ 0 w 1588"/>
                      <a:gd name="T5" fmla="*/ 0 h 13"/>
                      <a:gd name="T6" fmla="*/ 0 w 1588"/>
                      <a:gd name="T7" fmla="*/ 0 h 13"/>
                      <a:gd name="T8" fmla="*/ 0 w 1588"/>
                      <a:gd name="T9" fmla="*/ 11113 h 13"/>
                      <a:gd name="T10" fmla="*/ 0 w 1588"/>
                      <a:gd name="T11" fmla="*/ 20638 h 13"/>
                      <a:gd name="T12" fmla="*/ 0 w 1588"/>
                      <a:gd name="T13" fmla="*/ 20638 h 1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3"/>
                      <a:gd name="T23" fmla="*/ 1588 w 1588"/>
                      <a:gd name="T24" fmla="*/ 13 h 1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4" name="Rectangle 304"/>
                  <p:cNvSpPr>
                    <a:spLocks noChangeArrowheads="1"/>
                  </p:cNvSpPr>
                  <p:nvPr/>
                </p:nvSpPr>
                <p:spPr bwMode="auto">
                  <a:xfrm>
                    <a:off x="3659188" y="3924300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5" name="Freeform 305"/>
                  <p:cNvSpPr>
                    <a:spLocks/>
                  </p:cNvSpPr>
                  <p:nvPr/>
                </p:nvSpPr>
                <p:spPr bwMode="auto">
                  <a:xfrm>
                    <a:off x="3578225" y="3924300"/>
                    <a:ext cx="1588" cy="30163"/>
                  </a:xfrm>
                  <a:custGeom>
                    <a:avLst/>
                    <a:gdLst>
                      <a:gd name="T0" fmla="*/ 0 w 1588"/>
                      <a:gd name="T1" fmla="*/ 30163 h 19"/>
                      <a:gd name="T2" fmla="*/ 0 w 1588"/>
                      <a:gd name="T3" fmla="*/ 30163 h 19"/>
                      <a:gd name="T4" fmla="*/ 0 w 1588"/>
                      <a:gd name="T5" fmla="*/ 0 h 19"/>
                      <a:gd name="T6" fmla="*/ 0 w 1588"/>
                      <a:gd name="T7" fmla="*/ 0 h 19"/>
                      <a:gd name="T8" fmla="*/ 0 w 1588"/>
                      <a:gd name="T9" fmla="*/ 20638 h 19"/>
                      <a:gd name="T10" fmla="*/ 0 w 1588"/>
                      <a:gd name="T11" fmla="*/ 30163 h 19"/>
                      <a:gd name="T12" fmla="*/ 0 w 1588"/>
                      <a:gd name="T13" fmla="*/ 30163 h 1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9"/>
                      <a:gd name="T23" fmla="*/ 1588 w 1588"/>
                      <a:gd name="T24" fmla="*/ 19 h 1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9">
                        <a:moveTo>
                          <a:pt x="0" y="19"/>
                        </a:moveTo>
                        <a:lnTo>
                          <a:pt x="0" y="19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lnTo>
                          <a:pt x="0" y="1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6" name="Freeform 306"/>
                  <p:cNvSpPr>
                    <a:spLocks/>
                  </p:cNvSpPr>
                  <p:nvPr/>
                </p:nvSpPr>
                <p:spPr bwMode="auto">
                  <a:xfrm>
                    <a:off x="3568700" y="3924300"/>
                    <a:ext cx="9525" cy="30163"/>
                  </a:xfrm>
                  <a:custGeom>
                    <a:avLst/>
                    <a:gdLst>
                      <a:gd name="T0" fmla="*/ 0 w 6"/>
                      <a:gd name="T1" fmla="*/ 0 h 19"/>
                      <a:gd name="T2" fmla="*/ 0 w 6"/>
                      <a:gd name="T3" fmla="*/ 0 h 19"/>
                      <a:gd name="T4" fmla="*/ 0 w 6"/>
                      <a:gd name="T5" fmla="*/ 20638 h 19"/>
                      <a:gd name="T6" fmla="*/ 9525 w 6"/>
                      <a:gd name="T7" fmla="*/ 30163 h 19"/>
                      <a:gd name="T8" fmla="*/ 9525 w 6"/>
                      <a:gd name="T9" fmla="*/ 30163 h 19"/>
                      <a:gd name="T10" fmla="*/ 0 w 6"/>
                      <a:gd name="T11" fmla="*/ 0 h 19"/>
                      <a:gd name="T12" fmla="*/ 0 w 6"/>
                      <a:gd name="T13" fmla="*/ 0 h 1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6"/>
                      <a:gd name="T22" fmla="*/ 0 h 19"/>
                      <a:gd name="T23" fmla="*/ 6 w 6"/>
                      <a:gd name="T24" fmla="*/ 19 h 1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6" h="19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13"/>
                        </a:lnTo>
                        <a:lnTo>
                          <a:pt x="6" y="1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7" name="Rectangle 307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3935413"/>
                    <a:ext cx="1588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8" name="Rectangle 308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3935413"/>
                    <a:ext cx="1588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29" name="Freeform 309"/>
                  <p:cNvSpPr>
                    <a:spLocks/>
                  </p:cNvSpPr>
                  <p:nvPr/>
                </p:nvSpPr>
                <p:spPr bwMode="auto">
                  <a:xfrm>
                    <a:off x="3557588" y="3944938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w 1588"/>
                      <a:gd name="T13" fmla="*/ 0 h 6"/>
                      <a:gd name="T14" fmla="*/ 0 w 1588"/>
                      <a:gd name="T15" fmla="*/ 0 h 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88"/>
                      <a:gd name="T25" fmla="*/ 0 h 6"/>
                      <a:gd name="T26" fmla="*/ 1588 w 1588"/>
                      <a:gd name="T27" fmla="*/ 6 h 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0" name="Freeform 310"/>
                  <p:cNvSpPr>
                    <a:spLocks/>
                  </p:cNvSpPr>
                  <p:nvPr/>
                </p:nvSpPr>
                <p:spPr bwMode="auto">
                  <a:xfrm>
                    <a:off x="3557588" y="3954463"/>
                    <a:ext cx="1587" cy="1587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1" name="Freeform 311"/>
                  <p:cNvSpPr>
                    <a:spLocks/>
                  </p:cNvSpPr>
                  <p:nvPr/>
                </p:nvSpPr>
                <p:spPr bwMode="auto">
                  <a:xfrm>
                    <a:off x="3557588" y="3954463"/>
                    <a:ext cx="11112" cy="11112"/>
                  </a:xfrm>
                  <a:custGeom>
                    <a:avLst/>
                    <a:gdLst>
                      <a:gd name="T0" fmla="*/ 11112 w 7"/>
                      <a:gd name="T1" fmla="*/ 0 h 7"/>
                      <a:gd name="T2" fmla="*/ 11112 w 7"/>
                      <a:gd name="T3" fmla="*/ 0 h 7"/>
                      <a:gd name="T4" fmla="*/ 0 w 7"/>
                      <a:gd name="T5" fmla="*/ 0 h 7"/>
                      <a:gd name="T6" fmla="*/ 0 w 7"/>
                      <a:gd name="T7" fmla="*/ 11112 h 7"/>
                      <a:gd name="T8" fmla="*/ 0 w 7"/>
                      <a:gd name="T9" fmla="*/ 11112 h 7"/>
                      <a:gd name="T10" fmla="*/ 11112 w 7"/>
                      <a:gd name="T11" fmla="*/ 11112 h 7"/>
                      <a:gd name="T12" fmla="*/ 11112 w 7"/>
                      <a:gd name="T13" fmla="*/ 0 h 7"/>
                      <a:gd name="T14" fmla="*/ 11112 w 7"/>
                      <a:gd name="T15" fmla="*/ 0 h 7"/>
                      <a:gd name="T16" fmla="*/ 11112 w 7"/>
                      <a:gd name="T17" fmla="*/ 0 h 7"/>
                      <a:gd name="T18" fmla="*/ 11112 w 7"/>
                      <a:gd name="T19" fmla="*/ 0 h 7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7"/>
                      <a:gd name="T31" fmla="*/ 0 h 7"/>
                      <a:gd name="T32" fmla="*/ 7 w 7"/>
                      <a:gd name="T33" fmla="*/ 7 h 7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7" h="7">
                        <a:moveTo>
                          <a:pt x="7" y="0"/>
                        </a:moveTo>
                        <a:lnTo>
                          <a:pt x="7" y="0"/>
                        </a:ln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7" y="7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2" name="Freeform 312"/>
                  <p:cNvSpPr>
                    <a:spLocks/>
                  </p:cNvSpPr>
                  <p:nvPr/>
                </p:nvSpPr>
                <p:spPr bwMode="auto">
                  <a:xfrm>
                    <a:off x="3587750" y="3954463"/>
                    <a:ext cx="1588" cy="20637"/>
                  </a:xfrm>
                  <a:custGeom>
                    <a:avLst/>
                    <a:gdLst>
                      <a:gd name="T0" fmla="*/ 0 w 1588"/>
                      <a:gd name="T1" fmla="*/ 20637 h 13"/>
                      <a:gd name="T2" fmla="*/ 0 w 1588"/>
                      <a:gd name="T3" fmla="*/ 20637 h 13"/>
                      <a:gd name="T4" fmla="*/ 0 w 1588"/>
                      <a:gd name="T5" fmla="*/ 11112 h 13"/>
                      <a:gd name="T6" fmla="*/ 0 w 1588"/>
                      <a:gd name="T7" fmla="*/ 0 h 13"/>
                      <a:gd name="T8" fmla="*/ 0 w 1588"/>
                      <a:gd name="T9" fmla="*/ 0 h 13"/>
                      <a:gd name="T10" fmla="*/ 0 w 1588"/>
                      <a:gd name="T11" fmla="*/ 20637 h 13"/>
                      <a:gd name="T12" fmla="*/ 0 w 1588"/>
                      <a:gd name="T13" fmla="*/ 20637 h 1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3"/>
                      <a:gd name="T23" fmla="*/ 1588 w 1588"/>
                      <a:gd name="T24" fmla="*/ 13 h 1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7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3" name="Freeform 313"/>
                  <p:cNvSpPr>
                    <a:spLocks/>
                  </p:cNvSpPr>
                  <p:nvPr/>
                </p:nvSpPr>
                <p:spPr bwMode="auto">
                  <a:xfrm>
                    <a:off x="3587750" y="3954463"/>
                    <a:ext cx="1588" cy="30162"/>
                  </a:xfrm>
                  <a:custGeom>
                    <a:avLst/>
                    <a:gdLst>
                      <a:gd name="T0" fmla="*/ 0 w 1588"/>
                      <a:gd name="T1" fmla="*/ 30162 h 19"/>
                      <a:gd name="T2" fmla="*/ 0 w 1588"/>
                      <a:gd name="T3" fmla="*/ 30162 h 19"/>
                      <a:gd name="T4" fmla="*/ 0 w 1588"/>
                      <a:gd name="T5" fmla="*/ 11112 h 19"/>
                      <a:gd name="T6" fmla="*/ 0 w 1588"/>
                      <a:gd name="T7" fmla="*/ 0 h 19"/>
                      <a:gd name="T8" fmla="*/ 0 w 1588"/>
                      <a:gd name="T9" fmla="*/ 0 h 19"/>
                      <a:gd name="T10" fmla="*/ 0 w 1588"/>
                      <a:gd name="T11" fmla="*/ 30162 h 19"/>
                      <a:gd name="T12" fmla="*/ 0 w 1588"/>
                      <a:gd name="T13" fmla="*/ 30162 h 1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9"/>
                      <a:gd name="T23" fmla="*/ 1588 w 1588"/>
                      <a:gd name="T24" fmla="*/ 19 h 1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9">
                        <a:moveTo>
                          <a:pt x="0" y="19"/>
                        </a:moveTo>
                        <a:lnTo>
                          <a:pt x="0" y="19"/>
                        </a:lnTo>
                        <a:lnTo>
                          <a:pt x="0" y="7"/>
                        </a:lnTo>
                        <a:lnTo>
                          <a:pt x="0" y="0"/>
                        </a:lnTo>
                        <a:lnTo>
                          <a:pt x="0" y="1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4" name="Freeform 314"/>
                  <p:cNvSpPr>
                    <a:spLocks/>
                  </p:cNvSpPr>
                  <p:nvPr/>
                </p:nvSpPr>
                <p:spPr bwMode="auto">
                  <a:xfrm>
                    <a:off x="3578225" y="3965575"/>
                    <a:ext cx="1588" cy="19050"/>
                  </a:xfrm>
                  <a:custGeom>
                    <a:avLst/>
                    <a:gdLst>
                      <a:gd name="T0" fmla="*/ 0 w 1588"/>
                      <a:gd name="T1" fmla="*/ 0 h 12"/>
                      <a:gd name="T2" fmla="*/ 0 w 1588"/>
                      <a:gd name="T3" fmla="*/ 0 h 12"/>
                      <a:gd name="T4" fmla="*/ 0 w 1588"/>
                      <a:gd name="T5" fmla="*/ 9525 h 12"/>
                      <a:gd name="T6" fmla="*/ 0 w 1588"/>
                      <a:gd name="T7" fmla="*/ 19050 h 12"/>
                      <a:gd name="T8" fmla="*/ 0 w 1588"/>
                      <a:gd name="T9" fmla="*/ 19050 h 12"/>
                      <a:gd name="T10" fmla="*/ 0 w 1588"/>
                      <a:gd name="T11" fmla="*/ 9525 h 12"/>
                      <a:gd name="T12" fmla="*/ 0 w 1588"/>
                      <a:gd name="T13" fmla="*/ 0 h 12"/>
                      <a:gd name="T14" fmla="*/ 0 w 1588"/>
                      <a:gd name="T15" fmla="*/ 0 h 1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88"/>
                      <a:gd name="T25" fmla="*/ 0 h 12"/>
                      <a:gd name="T26" fmla="*/ 1588 w 1588"/>
                      <a:gd name="T27" fmla="*/ 12 h 1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88" h="1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2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5" name="Freeform 315"/>
                  <p:cNvSpPr>
                    <a:spLocks/>
                  </p:cNvSpPr>
                  <p:nvPr/>
                </p:nvSpPr>
                <p:spPr bwMode="auto">
                  <a:xfrm>
                    <a:off x="3568700" y="3965575"/>
                    <a:ext cx="9525" cy="19050"/>
                  </a:xfrm>
                  <a:custGeom>
                    <a:avLst/>
                    <a:gdLst>
                      <a:gd name="T0" fmla="*/ 9525 w 6"/>
                      <a:gd name="T1" fmla="*/ 19050 h 12"/>
                      <a:gd name="T2" fmla="*/ 9525 w 6"/>
                      <a:gd name="T3" fmla="*/ 19050 h 12"/>
                      <a:gd name="T4" fmla="*/ 0 w 6"/>
                      <a:gd name="T5" fmla="*/ 0 h 12"/>
                      <a:gd name="T6" fmla="*/ 0 w 6"/>
                      <a:gd name="T7" fmla="*/ 0 h 12"/>
                      <a:gd name="T8" fmla="*/ 9525 w 6"/>
                      <a:gd name="T9" fmla="*/ 19050 h 12"/>
                      <a:gd name="T10" fmla="*/ 9525 w 6"/>
                      <a:gd name="T11" fmla="*/ 19050 h 1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"/>
                      <a:gd name="T19" fmla="*/ 0 h 12"/>
                      <a:gd name="T20" fmla="*/ 6 w 6"/>
                      <a:gd name="T21" fmla="*/ 12 h 1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" h="12">
                        <a:moveTo>
                          <a:pt x="6" y="12"/>
                        </a:moveTo>
                        <a:lnTo>
                          <a:pt x="6" y="12"/>
                        </a:lnTo>
                        <a:lnTo>
                          <a:pt x="0" y="0"/>
                        </a:lnTo>
                        <a:lnTo>
                          <a:pt x="6" y="1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6" name="Freeform 316"/>
                  <p:cNvSpPr>
                    <a:spLocks/>
                  </p:cNvSpPr>
                  <p:nvPr/>
                </p:nvSpPr>
                <p:spPr bwMode="auto">
                  <a:xfrm>
                    <a:off x="3648075" y="396557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7" name="Freeform 317"/>
                  <p:cNvSpPr>
                    <a:spLocks/>
                  </p:cNvSpPr>
                  <p:nvPr/>
                </p:nvSpPr>
                <p:spPr bwMode="auto">
                  <a:xfrm>
                    <a:off x="3568700" y="3965575"/>
                    <a:ext cx="1588" cy="30163"/>
                  </a:xfrm>
                  <a:custGeom>
                    <a:avLst/>
                    <a:gdLst>
                      <a:gd name="T0" fmla="*/ 0 w 1588"/>
                      <a:gd name="T1" fmla="*/ 30163 h 19"/>
                      <a:gd name="T2" fmla="*/ 0 w 1588"/>
                      <a:gd name="T3" fmla="*/ 30163 h 19"/>
                      <a:gd name="T4" fmla="*/ 0 w 1588"/>
                      <a:gd name="T5" fmla="*/ 19050 h 19"/>
                      <a:gd name="T6" fmla="*/ 0 w 1588"/>
                      <a:gd name="T7" fmla="*/ 0 h 19"/>
                      <a:gd name="T8" fmla="*/ 0 w 1588"/>
                      <a:gd name="T9" fmla="*/ 0 h 19"/>
                      <a:gd name="T10" fmla="*/ 0 w 1588"/>
                      <a:gd name="T11" fmla="*/ 30163 h 19"/>
                      <a:gd name="T12" fmla="*/ 0 w 1588"/>
                      <a:gd name="T13" fmla="*/ 30163 h 1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9"/>
                      <a:gd name="T23" fmla="*/ 1588 w 1588"/>
                      <a:gd name="T24" fmla="*/ 19 h 1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9">
                        <a:moveTo>
                          <a:pt x="0" y="19"/>
                        </a:moveTo>
                        <a:lnTo>
                          <a:pt x="0" y="19"/>
                        </a:lnTo>
                        <a:lnTo>
                          <a:pt x="0" y="12"/>
                        </a:lnTo>
                        <a:lnTo>
                          <a:pt x="0" y="0"/>
                        </a:lnTo>
                        <a:lnTo>
                          <a:pt x="0" y="1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8" name="Freeform 318"/>
                  <p:cNvSpPr>
                    <a:spLocks/>
                  </p:cNvSpPr>
                  <p:nvPr/>
                </p:nvSpPr>
                <p:spPr bwMode="auto">
                  <a:xfrm>
                    <a:off x="3557588" y="3975100"/>
                    <a:ext cx="1587" cy="20638"/>
                  </a:xfrm>
                  <a:custGeom>
                    <a:avLst/>
                    <a:gdLst>
                      <a:gd name="T0" fmla="*/ 0 w 1588"/>
                      <a:gd name="T1" fmla="*/ 20638 h 13"/>
                      <a:gd name="T2" fmla="*/ 0 w 1588"/>
                      <a:gd name="T3" fmla="*/ 20638 h 13"/>
                      <a:gd name="T4" fmla="*/ 0 w 1588"/>
                      <a:gd name="T5" fmla="*/ 0 h 13"/>
                      <a:gd name="T6" fmla="*/ 0 w 1588"/>
                      <a:gd name="T7" fmla="*/ 0 h 13"/>
                      <a:gd name="T8" fmla="*/ 0 w 1588"/>
                      <a:gd name="T9" fmla="*/ 9525 h 13"/>
                      <a:gd name="T10" fmla="*/ 0 w 1588"/>
                      <a:gd name="T11" fmla="*/ 20638 h 13"/>
                      <a:gd name="T12" fmla="*/ 0 w 1588"/>
                      <a:gd name="T13" fmla="*/ 20638 h 1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3"/>
                      <a:gd name="T23" fmla="*/ 1588 w 1588"/>
                      <a:gd name="T24" fmla="*/ 13 h 1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9" name="Freeform 319"/>
                  <p:cNvSpPr>
                    <a:spLocks/>
                  </p:cNvSpPr>
                  <p:nvPr/>
                </p:nvSpPr>
                <p:spPr bwMode="auto">
                  <a:xfrm>
                    <a:off x="3659188" y="3984625"/>
                    <a:ext cx="1587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w 1588"/>
                      <a:gd name="T13" fmla="*/ 0 h 1588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588"/>
                      <a:gd name="T23" fmla="*/ 1588 w 1588"/>
                      <a:gd name="T24" fmla="*/ 1588 h 1588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0" name="Freeform 320"/>
                  <p:cNvSpPr>
                    <a:spLocks/>
                  </p:cNvSpPr>
                  <p:nvPr/>
                </p:nvSpPr>
                <p:spPr bwMode="auto">
                  <a:xfrm>
                    <a:off x="3729038" y="3984625"/>
                    <a:ext cx="1587" cy="20638"/>
                  </a:xfrm>
                  <a:custGeom>
                    <a:avLst/>
                    <a:gdLst>
                      <a:gd name="T0" fmla="*/ 0 w 1588"/>
                      <a:gd name="T1" fmla="*/ 20638 h 13"/>
                      <a:gd name="T2" fmla="*/ 0 w 1588"/>
                      <a:gd name="T3" fmla="*/ 20638 h 13"/>
                      <a:gd name="T4" fmla="*/ 0 w 1588"/>
                      <a:gd name="T5" fmla="*/ 0 h 13"/>
                      <a:gd name="T6" fmla="*/ 0 w 1588"/>
                      <a:gd name="T7" fmla="*/ 0 h 13"/>
                      <a:gd name="T8" fmla="*/ 0 w 1588"/>
                      <a:gd name="T9" fmla="*/ 20638 h 13"/>
                      <a:gd name="T10" fmla="*/ 0 w 1588"/>
                      <a:gd name="T11" fmla="*/ 20638 h 1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3"/>
                      <a:gd name="T20" fmla="*/ 1588 w 1588"/>
                      <a:gd name="T21" fmla="*/ 13 h 1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1" name="Freeform 322"/>
                  <p:cNvSpPr>
                    <a:spLocks/>
                  </p:cNvSpPr>
                  <p:nvPr/>
                </p:nvSpPr>
                <p:spPr bwMode="auto">
                  <a:xfrm>
                    <a:off x="3659188" y="3995738"/>
                    <a:ext cx="1587" cy="1587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2" name="Rectangle 323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3995738"/>
                    <a:ext cx="1588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3" name="Freeform 324"/>
                  <p:cNvSpPr>
                    <a:spLocks/>
                  </p:cNvSpPr>
                  <p:nvPr/>
                </p:nvSpPr>
                <p:spPr bwMode="auto">
                  <a:xfrm>
                    <a:off x="3538538" y="3995738"/>
                    <a:ext cx="1587" cy="1587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4" name="Freeform 325"/>
                  <p:cNvSpPr>
                    <a:spLocks/>
                  </p:cNvSpPr>
                  <p:nvPr/>
                </p:nvSpPr>
                <p:spPr bwMode="auto">
                  <a:xfrm>
                    <a:off x="3587750" y="3995738"/>
                    <a:ext cx="1588" cy="20637"/>
                  </a:xfrm>
                  <a:custGeom>
                    <a:avLst/>
                    <a:gdLst>
                      <a:gd name="T0" fmla="*/ 0 w 1588"/>
                      <a:gd name="T1" fmla="*/ 20637 h 13"/>
                      <a:gd name="T2" fmla="*/ 0 w 1588"/>
                      <a:gd name="T3" fmla="*/ 20637 h 13"/>
                      <a:gd name="T4" fmla="*/ 0 w 1588"/>
                      <a:gd name="T5" fmla="*/ 0 h 13"/>
                      <a:gd name="T6" fmla="*/ 0 w 1588"/>
                      <a:gd name="T7" fmla="*/ 0 h 13"/>
                      <a:gd name="T8" fmla="*/ 0 w 1588"/>
                      <a:gd name="T9" fmla="*/ 9525 h 13"/>
                      <a:gd name="T10" fmla="*/ 0 w 1588"/>
                      <a:gd name="T11" fmla="*/ 20637 h 13"/>
                      <a:gd name="T12" fmla="*/ 0 w 1588"/>
                      <a:gd name="T13" fmla="*/ 20637 h 1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3"/>
                      <a:gd name="T23" fmla="*/ 1588 w 1588"/>
                      <a:gd name="T24" fmla="*/ 13 h 1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5" name="Rectangle 326"/>
                  <p:cNvSpPr>
                    <a:spLocks noChangeArrowheads="1"/>
                  </p:cNvSpPr>
                  <p:nvPr/>
                </p:nvSpPr>
                <p:spPr bwMode="auto">
                  <a:xfrm>
                    <a:off x="3538538" y="3995738"/>
                    <a:ext cx="1587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6" name="Freeform 327"/>
                  <p:cNvSpPr>
                    <a:spLocks/>
                  </p:cNvSpPr>
                  <p:nvPr/>
                </p:nvSpPr>
                <p:spPr bwMode="auto">
                  <a:xfrm>
                    <a:off x="3587750" y="4005263"/>
                    <a:ext cx="11113" cy="11112"/>
                  </a:xfrm>
                  <a:custGeom>
                    <a:avLst/>
                    <a:gdLst>
                      <a:gd name="T0" fmla="*/ 0 w 7"/>
                      <a:gd name="T1" fmla="*/ 11112 h 7"/>
                      <a:gd name="T2" fmla="*/ 0 w 7"/>
                      <a:gd name="T3" fmla="*/ 11112 h 7"/>
                      <a:gd name="T4" fmla="*/ 11113 w 7"/>
                      <a:gd name="T5" fmla="*/ 0 h 7"/>
                      <a:gd name="T6" fmla="*/ 0 w 7"/>
                      <a:gd name="T7" fmla="*/ 0 h 7"/>
                      <a:gd name="T8" fmla="*/ 0 w 7"/>
                      <a:gd name="T9" fmla="*/ 0 h 7"/>
                      <a:gd name="T10" fmla="*/ 0 w 7"/>
                      <a:gd name="T11" fmla="*/ 11112 h 7"/>
                      <a:gd name="T12" fmla="*/ 0 w 7"/>
                      <a:gd name="T13" fmla="*/ 11112 h 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"/>
                      <a:gd name="T22" fmla="*/ 0 h 7"/>
                      <a:gd name="T23" fmla="*/ 7 w 7"/>
                      <a:gd name="T24" fmla="*/ 7 h 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" h="7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7" name="Rectangle 328"/>
                  <p:cNvSpPr>
                    <a:spLocks noChangeArrowheads="1"/>
                  </p:cNvSpPr>
                  <p:nvPr/>
                </p:nvSpPr>
                <p:spPr bwMode="auto">
                  <a:xfrm>
                    <a:off x="3527425" y="4005263"/>
                    <a:ext cx="1588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8" name="Freeform 329"/>
                  <p:cNvSpPr>
                    <a:spLocks/>
                  </p:cNvSpPr>
                  <p:nvPr/>
                </p:nvSpPr>
                <p:spPr bwMode="auto">
                  <a:xfrm>
                    <a:off x="3578225" y="4005263"/>
                    <a:ext cx="1588" cy="11112"/>
                  </a:xfrm>
                  <a:custGeom>
                    <a:avLst/>
                    <a:gdLst>
                      <a:gd name="T0" fmla="*/ 0 w 1588"/>
                      <a:gd name="T1" fmla="*/ 0 h 7"/>
                      <a:gd name="T2" fmla="*/ 0 w 1588"/>
                      <a:gd name="T3" fmla="*/ 0 h 7"/>
                      <a:gd name="T4" fmla="*/ 0 w 1588"/>
                      <a:gd name="T5" fmla="*/ 0 h 7"/>
                      <a:gd name="T6" fmla="*/ 0 w 1588"/>
                      <a:gd name="T7" fmla="*/ 11112 h 7"/>
                      <a:gd name="T8" fmla="*/ 0 w 1588"/>
                      <a:gd name="T9" fmla="*/ 11112 h 7"/>
                      <a:gd name="T10" fmla="*/ 0 w 1588"/>
                      <a:gd name="T11" fmla="*/ 0 h 7"/>
                      <a:gd name="T12" fmla="*/ 0 w 1588"/>
                      <a:gd name="T13" fmla="*/ 0 h 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7"/>
                      <a:gd name="T23" fmla="*/ 1588 w 1588"/>
                      <a:gd name="T24" fmla="*/ 7 h 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7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49" name="Freeform 330"/>
                  <p:cNvSpPr>
                    <a:spLocks/>
                  </p:cNvSpPr>
                  <p:nvPr/>
                </p:nvSpPr>
                <p:spPr bwMode="auto">
                  <a:xfrm>
                    <a:off x="3568700" y="4005263"/>
                    <a:ext cx="9525" cy="20637"/>
                  </a:xfrm>
                  <a:custGeom>
                    <a:avLst/>
                    <a:gdLst>
                      <a:gd name="T0" fmla="*/ 9525 w 6"/>
                      <a:gd name="T1" fmla="*/ 0 h 13"/>
                      <a:gd name="T2" fmla="*/ 9525 w 6"/>
                      <a:gd name="T3" fmla="*/ 0 h 13"/>
                      <a:gd name="T4" fmla="*/ 0 w 6"/>
                      <a:gd name="T5" fmla="*/ 0 h 13"/>
                      <a:gd name="T6" fmla="*/ 9525 w 6"/>
                      <a:gd name="T7" fmla="*/ 20637 h 13"/>
                      <a:gd name="T8" fmla="*/ 9525 w 6"/>
                      <a:gd name="T9" fmla="*/ 20637 h 13"/>
                      <a:gd name="T10" fmla="*/ 9525 w 6"/>
                      <a:gd name="T11" fmla="*/ 0 h 13"/>
                      <a:gd name="T12" fmla="*/ 9525 w 6"/>
                      <a:gd name="T13" fmla="*/ 0 h 1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6"/>
                      <a:gd name="T22" fmla="*/ 0 h 13"/>
                      <a:gd name="T23" fmla="*/ 6 w 6"/>
                      <a:gd name="T24" fmla="*/ 13 h 1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6" h="13">
                        <a:moveTo>
                          <a:pt x="6" y="0"/>
                        </a:moveTo>
                        <a:lnTo>
                          <a:pt x="6" y="0"/>
                        </a:lnTo>
                        <a:lnTo>
                          <a:pt x="0" y="0"/>
                        </a:lnTo>
                        <a:lnTo>
                          <a:pt x="6" y="13"/>
                        </a:lnTo>
                        <a:lnTo>
                          <a:pt x="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0" name="Freeform 331"/>
                  <p:cNvSpPr>
                    <a:spLocks/>
                  </p:cNvSpPr>
                  <p:nvPr/>
                </p:nvSpPr>
                <p:spPr bwMode="auto">
                  <a:xfrm>
                    <a:off x="3648075" y="4005263"/>
                    <a:ext cx="11113" cy="11112"/>
                  </a:xfrm>
                  <a:custGeom>
                    <a:avLst/>
                    <a:gdLst>
                      <a:gd name="T0" fmla="*/ 0 w 7"/>
                      <a:gd name="T1" fmla="*/ 0 h 7"/>
                      <a:gd name="T2" fmla="*/ 0 w 7"/>
                      <a:gd name="T3" fmla="*/ 0 h 7"/>
                      <a:gd name="T4" fmla="*/ 0 w 7"/>
                      <a:gd name="T5" fmla="*/ 11112 h 7"/>
                      <a:gd name="T6" fmla="*/ 0 w 7"/>
                      <a:gd name="T7" fmla="*/ 11112 h 7"/>
                      <a:gd name="T8" fmla="*/ 0 w 7"/>
                      <a:gd name="T9" fmla="*/ 0 h 7"/>
                      <a:gd name="T10" fmla="*/ 0 w 7"/>
                      <a:gd name="T11" fmla="*/ 0 h 7"/>
                      <a:gd name="T12" fmla="*/ 11113 w 7"/>
                      <a:gd name="T13" fmla="*/ 0 h 7"/>
                      <a:gd name="T14" fmla="*/ 11113 w 7"/>
                      <a:gd name="T15" fmla="*/ 0 h 7"/>
                      <a:gd name="T16" fmla="*/ 0 w 7"/>
                      <a:gd name="T17" fmla="*/ 0 h 7"/>
                      <a:gd name="T18" fmla="*/ 0 w 7"/>
                      <a:gd name="T19" fmla="*/ 0 h 7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7"/>
                      <a:gd name="T31" fmla="*/ 0 h 7"/>
                      <a:gd name="T32" fmla="*/ 7 w 7"/>
                      <a:gd name="T33" fmla="*/ 7 h 7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7" h="7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0" y="0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1" name="Rectangle 332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4005263"/>
                    <a:ext cx="1588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2" name="Rectangle 333"/>
                  <p:cNvSpPr>
                    <a:spLocks noChangeArrowheads="1"/>
                  </p:cNvSpPr>
                  <p:nvPr/>
                </p:nvSpPr>
                <p:spPr bwMode="auto">
                  <a:xfrm>
                    <a:off x="3779838" y="4005263"/>
                    <a:ext cx="1587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3" name="Freeform 334"/>
                  <p:cNvSpPr>
                    <a:spLocks/>
                  </p:cNvSpPr>
                  <p:nvPr/>
                </p:nvSpPr>
                <p:spPr bwMode="auto">
                  <a:xfrm>
                    <a:off x="3729038" y="4016375"/>
                    <a:ext cx="1587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w 1588"/>
                      <a:gd name="T13" fmla="*/ 9525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4" name="Rectangle 335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4016375"/>
                    <a:ext cx="1588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5" name="Freeform 336"/>
                  <p:cNvSpPr>
                    <a:spLocks/>
                  </p:cNvSpPr>
                  <p:nvPr/>
                </p:nvSpPr>
                <p:spPr bwMode="auto">
                  <a:xfrm>
                    <a:off x="3729038" y="4016375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6" name="Freeform 337"/>
                  <p:cNvSpPr>
                    <a:spLocks/>
                  </p:cNvSpPr>
                  <p:nvPr/>
                </p:nvSpPr>
                <p:spPr bwMode="auto">
                  <a:xfrm>
                    <a:off x="3648075" y="401637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w 1588"/>
                      <a:gd name="T13" fmla="*/ 0 h 1588"/>
                      <a:gd name="T14" fmla="*/ 0 w 1588"/>
                      <a:gd name="T15" fmla="*/ 0 h 1588"/>
                      <a:gd name="T16" fmla="*/ 0 w 1588"/>
                      <a:gd name="T17" fmla="*/ 0 h 1588"/>
                      <a:gd name="T18" fmla="*/ 0 w 1588"/>
                      <a:gd name="T19" fmla="*/ 0 h 1588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1588"/>
                      <a:gd name="T31" fmla="*/ 0 h 1588"/>
                      <a:gd name="T32" fmla="*/ 1588 w 1588"/>
                      <a:gd name="T33" fmla="*/ 1588 h 1588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7" name="Freeform 338"/>
                  <p:cNvSpPr>
                    <a:spLocks/>
                  </p:cNvSpPr>
                  <p:nvPr/>
                </p:nvSpPr>
                <p:spPr bwMode="auto">
                  <a:xfrm>
                    <a:off x="3648075" y="4016375"/>
                    <a:ext cx="1588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0 h 6"/>
                      <a:gd name="T8" fmla="*/ 0 w 1588"/>
                      <a:gd name="T9" fmla="*/ 0 h 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588"/>
                      <a:gd name="T16" fmla="*/ 0 h 6"/>
                      <a:gd name="T17" fmla="*/ 1588 w 1588"/>
                      <a:gd name="T18" fmla="*/ 6 h 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8" name="Rectangle 339"/>
                  <p:cNvSpPr>
                    <a:spLocks noChangeArrowheads="1"/>
                  </p:cNvSpPr>
                  <p:nvPr/>
                </p:nvSpPr>
                <p:spPr bwMode="auto">
                  <a:xfrm>
                    <a:off x="3587750" y="4025900"/>
                    <a:ext cx="1588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9" name="Freeform 340"/>
                  <p:cNvSpPr>
                    <a:spLocks/>
                  </p:cNvSpPr>
                  <p:nvPr/>
                </p:nvSpPr>
                <p:spPr bwMode="auto">
                  <a:xfrm>
                    <a:off x="3587750" y="4025900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0" name="Freeform 341"/>
                  <p:cNvSpPr>
                    <a:spLocks/>
                  </p:cNvSpPr>
                  <p:nvPr/>
                </p:nvSpPr>
                <p:spPr bwMode="auto">
                  <a:xfrm>
                    <a:off x="3587750" y="4025900"/>
                    <a:ext cx="1588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1" name="Rectangle 342"/>
                  <p:cNvSpPr>
                    <a:spLocks noChangeArrowheads="1"/>
                  </p:cNvSpPr>
                  <p:nvPr/>
                </p:nvSpPr>
                <p:spPr bwMode="auto">
                  <a:xfrm>
                    <a:off x="3578225" y="4025900"/>
                    <a:ext cx="1588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2" name="Freeform 343"/>
                  <p:cNvSpPr>
                    <a:spLocks/>
                  </p:cNvSpPr>
                  <p:nvPr/>
                </p:nvSpPr>
                <p:spPr bwMode="auto">
                  <a:xfrm>
                    <a:off x="3578225" y="4025900"/>
                    <a:ext cx="1588" cy="20638"/>
                  </a:xfrm>
                  <a:custGeom>
                    <a:avLst/>
                    <a:gdLst>
                      <a:gd name="T0" fmla="*/ 0 w 1588"/>
                      <a:gd name="T1" fmla="*/ 20638 h 13"/>
                      <a:gd name="T2" fmla="*/ 0 w 1588"/>
                      <a:gd name="T3" fmla="*/ 20638 h 13"/>
                      <a:gd name="T4" fmla="*/ 0 w 1588"/>
                      <a:gd name="T5" fmla="*/ 0 h 13"/>
                      <a:gd name="T6" fmla="*/ 0 w 1588"/>
                      <a:gd name="T7" fmla="*/ 0 h 13"/>
                      <a:gd name="T8" fmla="*/ 0 w 1588"/>
                      <a:gd name="T9" fmla="*/ 20638 h 13"/>
                      <a:gd name="T10" fmla="*/ 0 w 1588"/>
                      <a:gd name="T11" fmla="*/ 20638 h 1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3"/>
                      <a:gd name="T20" fmla="*/ 1588 w 1588"/>
                      <a:gd name="T21" fmla="*/ 13 h 1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3" name="Freeform 344"/>
                  <p:cNvSpPr>
                    <a:spLocks/>
                  </p:cNvSpPr>
                  <p:nvPr/>
                </p:nvSpPr>
                <p:spPr bwMode="auto">
                  <a:xfrm>
                    <a:off x="3648075" y="4025900"/>
                    <a:ext cx="1588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w 1588"/>
                      <a:gd name="T13" fmla="*/ 9525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4" name="Freeform 345"/>
                  <p:cNvSpPr>
                    <a:spLocks/>
                  </p:cNvSpPr>
                  <p:nvPr/>
                </p:nvSpPr>
                <p:spPr bwMode="auto">
                  <a:xfrm>
                    <a:off x="3568700" y="4025900"/>
                    <a:ext cx="9525" cy="20638"/>
                  </a:xfrm>
                  <a:custGeom>
                    <a:avLst/>
                    <a:gdLst>
                      <a:gd name="T0" fmla="*/ 0 w 6"/>
                      <a:gd name="T1" fmla="*/ 0 h 13"/>
                      <a:gd name="T2" fmla="*/ 0 w 6"/>
                      <a:gd name="T3" fmla="*/ 0 h 13"/>
                      <a:gd name="T4" fmla="*/ 0 w 6"/>
                      <a:gd name="T5" fmla="*/ 9525 h 13"/>
                      <a:gd name="T6" fmla="*/ 9525 w 6"/>
                      <a:gd name="T7" fmla="*/ 20638 h 13"/>
                      <a:gd name="T8" fmla="*/ 9525 w 6"/>
                      <a:gd name="T9" fmla="*/ 20638 h 13"/>
                      <a:gd name="T10" fmla="*/ 9525 w 6"/>
                      <a:gd name="T11" fmla="*/ 9525 h 13"/>
                      <a:gd name="T12" fmla="*/ 0 w 6"/>
                      <a:gd name="T13" fmla="*/ 0 h 13"/>
                      <a:gd name="T14" fmla="*/ 0 w 6"/>
                      <a:gd name="T15" fmla="*/ 0 h 1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6"/>
                      <a:gd name="T25" fmla="*/ 0 h 13"/>
                      <a:gd name="T26" fmla="*/ 6 w 6"/>
                      <a:gd name="T27" fmla="*/ 13 h 1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6" h="13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6" y="13"/>
                        </a:lnTo>
                        <a:lnTo>
                          <a:pt x="6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5" name="Freeform 346"/>
                  <p:cNvSpPr>
                    <a:spLocks/>
                  </p:cNvSpPr>
                  <p:nvPr/>
                </p:nvSpPr>
                <p:spPr bwMode="auto">
                  <a:xfrm>
                    <a:off x="3587750" y="4025900"/>
                    <a:ext cx="1588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6" name="Freeform 347"/>
                  <p:cNvSpPr>
                    <a:spLocks/>
                  </p:cNvSpPr>
                  <p:nvPr/>
                </p:nvSpPr>
                <p:spPr bwMode="auto">
                  <a:xfrm>
                    <a:off x="3527425" y="4035425"/>
                    <a:ext cx="11113" cy="11113"/>
                  </a:xfrm>
                  <a:custGeom>
                    <a:avLst/>
                    <a:gdLst>
                      <a:gd name="T0" fmla="*/ 11113 w 7"/>
                      <a:gd name="T1" fmla="*/ 11113 h 7"/>
                      <a:gd name="T2" fmla="*/ 11113 w 7"/>
                      <a:gd name="T3" fmla="*/ 11113 h 7"/>
                      <a:gd name="T4" fmla="*/ 11113 w 7"/>
                      <a:gd name="T5" fmla="*/ 0 h 7"/>
                      <a:gd name="T6" fmla="*/ 11113 w 7"/>
                      <a:gd name="T7" fmla="*/ 0 h 7"/>
                      <a:gd name="T8" fmla="*/ 0 w 7"/>
                      <a:gd name="T9" fmla="*/ 0 h 7"/>
                      <a:gd name="T10" fmla="*/ 0 w 7"/>
                      <a:gd name="T11" fmla="*/ 0 h 7"/>
                      <a:gd name="T12" fmla="*/ 0 w 7"/>
                      <a:gd name="T13" fmla="*/ 11113 h 7"/>
                      <a:gd name="T14" fmla="*/ 0 w 7"/>
                      <a:gd name="T15" fmla="*/ 11113 h 7"/>
                      <a:gd name="T16" fmla="*/ 11113 w 7"/>
                      <a:gd name="T17" fmla="*/ 11113 h 7"/>
                      <a:gd name="T18" fmla="*/ 11113 w 7"/>
                      <a:gd name="T19" fmla="*/ 11113 h 7"/>
                      <a:gd name="T20" fmla="*/ 11113 w 7"/>
                      <a:gd name="T21" fmla="*/ 11113 h 7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"/>
                      <a:gd name="T34" fmla="*/ 0 h 7"/>
                      <a:gd name="T35" fmla="*/ 7 w 7"/>
                      <a:gd name="T36" fmla="*/ 7 h 7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" h="7">
                        <a:moveTo>
                          <a:pt x="7" y="7"/>
                        </a:moveTo>
                        <a:lnTo>
                          <a:pt x="7" y="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7" y="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7" name="Rectangle 348"/>
                  <p:cNvSpPr>
                    <a:spLocks noChangeArrowheads="1"/>
                  </p:cNvSpPr>
                  <p:nvPr/>
                </p:nvSpPr>
                <p:spPr bwMode="auto">
                  <a:xfrm>
                    <a:off x="3648075" y="4035425"/>
                    <a:ext cx="1588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8" name="Freeform 349"/>
                  <p:cNvSpPr>
                    <a:spLocks/>
                  </p:cNvSpPr>
                  <p:nvPr/>
                </p:nvSpPr>
                <p:spPr bwMode="auto">
                  <a:xfrm>
                    <a:off x="3648075" y="4035425"/>
                    <a:ext cx="1588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9" name="Freeform 350"/>
                  <p:cNvSpPr>
                    <a:spLocks/>
                  </p:cNvSpPr>
                  <p:nvPr/>
                </p:nvSpPr>
                <p:spPr bwMode="auto">
                  <a:xfrm>
                    <a:off x="3729038" y="4035425"/>
                    <a:ext cx="1587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1588"/>
                      <a:gd name="T20" fmla="*/ 1588 w 1588"/>
                      <a:gd name="T21" fmla="*/ 1588 h 158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0" name="Freeform 351"/>
                  <p:cNvSpPr>
                    <a:spLocks/>
                  </p:cNvSpPr>
                  <p:nvPr/>
                </p:nvSpPr>
                <p:spPr bwMode="auto">
                  <a:xfrm>
                    <a:off x="3587750" y="4046538"/>
                    <a:ext cx="11113" cy="19050"/>
                  </a:xfrm>
                  <a:custGeom>
                    <a:avLst/>
                    <a:gdLst>
                      <a:gd name="T0" fmla="*/ 0 w 7"/>
                      <a:gd name="T1" fmla="*/ 0 h 12"/>
                      <a:gd name="T2" fmla="*/ 0 w 7"/>
                      <a:gd name="T3" fmla="*/ 0 h 12"/>
                      <a:gd name="T4" fmla="*/ 0 w 7"/>
                      <a:gd name="T5" fmla="*/ 9525 h 12"/>
                      <a:gd name="T6" fmla="*/ 11113 w 7"/>
                      <a:gd name="T7" fmla="*/ 19050 h 12"/>
                      <a:gd name="T8" fmla="*/ 11113 w 7"/>
                      <a:gd name="T9" fmla="*/ 19050 h 12"/>
                      <a:gd name="T10" fmla="*/ 0 w 7"/>
                      <a:gd name="T11" fmla="*/ 0 h 12"/>
                      <a:gd name="T12" fmla="*/ 0 w 7"/>
                      <a:gd name="T13" fmla="*/ 0 h 1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"/>
                      <a:gd name="T22" fmla="*/ 0 h 12"/>
                      <a:gd name="T23" fmla="*/ 7 w 7"/>
                      <a:gd name="T24" fmla="*/ 12 h 1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" h="1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7" y="1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1" name="Freeform 352"/>
                  <p:cNvSpPr>
                    <a:spLocks/>
                  </p:cNvSpPr>
                  <p:nvPr/>
                </p:nvSpPr>
                <p:spPr bwMode="auto">
                  <a:xfrm>
                    <a:off x="3729038" y="4046538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w 1588"/>
                      <a:gd name="T13" fmla="*/ 0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2" name="Freeform 353"/>
                  <p:cNvSpPr>
                    <a:spLocks/>
                  </p:cNvSpPr>
                  <p:nvPr/>
                </p:nvSpPr>
                <p:spPr bwMode="auto">
                  <a:xfrm>
                    <a:off x="3729038" y="4046538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3" name="Freeform 354"/>
                  <p:cNvSpPr>
                    <a:spLocks/>
                  </p:cNvSpPr>
                  <p:nvPr/>
                </p:nvSpPr>
                <p:spPr bwMode="auto">
                  <a:xfrm>
                    <a:off x="3578225" y="4056063"/>
                    <a:ext cx="1588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w 1588"/>
                      <a:gd name="T13" fmla="*/ 9525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4" name="Freeform 355"/>
                  <p:cNvSpPr>
                    <a:spLocks/>
                  </p:cNvSpPr>
                  <p:nvPr/>
                </p:nvSpPr>
                <p:spPr bwMode="auto">
                  <a:xfrm>
                    <a:off x="3587750" y="4056063"/>
                    <a:ext cx="1588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5" name="Freeform 356"/>
                  <p:cNvSpPr>
                    <a:spLocks/>
                  </p:cNvSpPr>
                  <p:nvPr/>
                </p:nvSpPr>
                <p:spPr bwMode="auto">
                  <a:xfrm>
                    <a:off x="3568700" y="4056063"/>
                    <a:ext cx="9525" cy="9525"/>
                  </a:xfrm>
                  <a:custGeom>
                    <a:avLst/>
                    <a:gdLst>
                      <a:gd name="T0" fmla="*/ 0 w 6"/>
                      <a:gd name="T1" fmla="*/ 0 h 6"/>
                      <a:gd name="T2" fmla="*/ 0 w 6"/>
                      <a:gd name="T3" fmla="*/ 0 h 6"/>
                      <a:gd name="T4" fmla="*/ 0 w 6"/>
                      <a:gd name="T5" fmla="*/ 9525 h 6"/>
                      <a:gd name="T6" fmla="*/ 9525 w 6"/>
                      <a:gd name="T7" fmla="*/ 9525 h 6"/>
                      <a:gd name="T8" fmla="*/ 9525 w 6"/>
                      <a:gd name="T9" fmla="*/ 9525 h 6"/>
                      <a:gd name="T10" fmla="*/ 9525 w 6"/>
                      <a:gd name="T11" fmla="*/ 0 h 6"/>
                      <a:gd name="T12" fmla="*/ 0 w 6"/>
                      <a:gd name="T13" fmla="*/ 0 h 6"/>
                      <a:gd name="T14" fmla="*/ 0 w 6"/>
                      <a:gd name="T15" fmla="*/ 0 h 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6"/>
                      <a:gd name="T25" fmla="*/ 0 h 6"/>
                      <a:gd name="T26" fmla="*/ 6 w 6"/>
                      <a:gd name="T27" fmla="*/ 6 h 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6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6" y="6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6" name="Freeform 357"/>
                  <p:cNvSpPr>
                    <a:spLocks/>
                  </p:cNvSpPr>
                  <p:nvPr/>
                </p:nvSpPr>
                <p:spPr bwMode="auto">
                  <a:xfrm>
                    <a:off x="3568700" y="4056063"/>
                    <a:ext cx="1588" cy="20637"/>
                  </a:xfrm>
                  <a:custGeom>
                    <a:avLst/>
                    <a:gdLst>
                      <a:gd name="T0" fmla="*/ 0 w 1588"/>
                      <a:gd name="T1" fmla="*/ 20637 h 13"/>
                      <a:gd name="T2" fmla="*/ 0 w 1588"/>
                      <a:gd name="T3" fmla="*/ 20637 h 13"/>
                      <a:gd name="T4" fmla="*/ 0 w 1588"/>
                      <a:gd name="T5" fmla="*/ 9525 h 13"/>
                      <a:gd name="T6" fmla="*/ 0 w 1588"/>
                      <a:gd name="T7" fmla="*/ 0 h 13"/>
                      <a:gd name="T8" fmla="*/ 0 w 1588"/>
                      <a:gd name="T9" fmla="*/ 0 h 13"/>
                      <a:gd name="T10" fmla="*/ 0 w 1588"/>
                      <a:gd name="T11" fmla="*/ 9525 h 13"/>
                      <a:gd name="T12" fmla="*/ 0 w 1588"/>
                      <a:gd name="T13" fmla="*/ 20637 h 13"/>
                      <a:gd name="T14" fmla="*/ 0 w 1588"/>
                      <a:gd name="T15" fmla="*/ 20637 h 1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1588"/>
                      <a:gd name="T25" fmla="*/ 0 h 13"/>
                      <a:gd name="T26" fmla="*/ 1588 w 1588"/>
                      <a:gd name="T27" fmla="*/ 13 h 1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7" name="Freeform 358"/>
                  <p:cNvSpPr>
                    <a:spLocks/>
                  </p:cNvSpPr>
                  <p:nvPr/>
                </p:nvSpPr>
                <p:spPr bwMode="auto">
                  <a:xfrm>
                    <a:off x="3557588" y="4056063"/>
                    <a:ext cx="1587" cy="20637"/>
                  </a:xfrm>
                  <a:custGeom>
                    <a:avLst/>
                    <a:gdLst>
                      <a:gd name="T0" fmla="*/ 0 w 1588"/>
                      <a:gd name="T1" fmla="*/ 20637 h 13"/>
                      <a:gd name="T2" fmla="*/ 0 w 1588"/>
                      <a:gd name="T3" fmla="*/ 20637 h 13"/>
                      <a:gd name="T4" fmla="*/ 0 w 1588"/>
                      <a:gd name="T5" fmla="*/ 9525 h 13"/>
                      <a:gd name="T6" fmla="*/ 0 w 1588"/>
                      <a:gd name="T7" fmla="*/ 0 h 13"/>
                      <a:gd name="T8" fmla="*/ 0 w 1588"/>
                      <a:gd name="T9" fmla="*/ 0 h 13"/>
                      <a:gd name="T10" fmla="*/ 0 w 1588"/>
                      <a:gd name="T11" fmla="*/ 20637 h 13"/>
                      <a:gd name="T12" fmla="*/ 0 w 1588"/>
                      <a:gd name="T13" fmla="*/ 20637 h 1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3"/>
                      <a:gd name="T23" fmla="*/ 1588 w 1588"/>
                      <a:gd name="T24" fmla="*/ 13 h 1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3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8" name="Rectangle 359"/>
                  <p:cNvSpPr>
                    <a:spLocks noChangeArrowheads="1"/>
                  </p:cNvSpPr>
                  <p:nvPr/>
                </p:nvSpPr>
                <p:spPr bwMode="auto">
                  <a:xfrm>
                    <a:off x="3729038" y="4065588"/>
                    <a:ext cx="1587" cy="1587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79" name="Freeform 360"/>
                  <p:cNvSpPr>
                    <a:spLocks/>
                  </p:cNvSpPr>
                  <p:nvPr/>
                </p:nvSpPr>
                <p:spPr bwMode="auto">
                  <a:xfrm>
                    <a:off x="3729038" y="4065588"/>
                    <a:ext cx="1587" cy="11112"/>
                  </a:xfrm>
                  <a:custGeom>
                    <a:avLst/>
                    <a:gdLst>
                      <a:gd name="T0" fmla="*/ 0 w 1588"/>
                      <a:gd name="T1" fmla="*/ 0 h 7"/>
                      <a:gd name="T2" fmla="*/ 0 w 1588"/>
                      <a:gd name="T3" fmla="*/ 0 h 7"/>
                      <a:gd name="T4" fmla="*/ 0 w 1588"/>
                      <a:gd name="T5" fmla="*/ 11112 h 7"/>
                      <a:gd name="T6" fmla="*/ 0 w 1588"/>
                      <a:gd name="T7" fmla="*/ 11112 h 7"/>
                      <a:gd name="T8" fmla="*/ 0 w 1588"/>
                      <a:gd name="T9" fmla="*/ 0 h 7"/>
                      <a:gd name="T10" fmla="*/ 0 w 1588"/>
                      <a:gd name="T11" fmla="*/ 0 h 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7"/>
                      <a:gd name="T20" fmla="*/ 1588 w 1588"/>
                      <a:gd name="T21" fmla="*/ 7 h 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7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0" name="Freeform 361"/>
                  <p:cNvSpPr>
                    <a:spLocks/>
                  </p:cNvSpPr>
                  <p:nvPr/>
                </p:nvSpPr>
                <p:spPr bwMode="auto">
                  <a:xfrm>
                    <a:off x="3729038" y="4076700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0 h 6"/>
                      <a:gd name="T10" fmla="*/ 0 w 1588"/>
                      <a:gd name="T11" fmla="*/ 0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1" name="Freeform 362"/>
                  <p:cNvSpPr>
                    <a:spLocks/>
                  </p:cNvSpPr>
                  <p:nvPr/>
                </p:nvSpPr>
                <p:spPr bwMode="auto">
                  <a:xfrm>
                    <a:off x="3578225" y="4076700"/>
                    <a:ext cx="1588" cy="19050"/>
                  </a:xfrm>
                  <a:custGeom>
                    <a:avLst/>
                    <a:gdLst>
                      <a:gd name="T0" fmla="*/ 0 w 1588"/>
                      <a:gd name="T1" fmla="*/ 0 h 12"/>
                      <a:gd name="T2" fmla="*/ 0 w 1588"/>
                      <a:gd name="T3" fmla="*/ 0 h 12"/>
                      <a:gd name="T4" fmla="*/ 0 w 1588"/>
                      <a:gd name="T5" fmla="*/ 19050 h 12"/>
                      <a:gd name="T6" fmla="*/ 0 w 1588"/>
                      <a:gd name="T7" fmla="*/ 19050 h 12"/>
                      <a:gd name="T8" fmla="*/ 0 w 1588"/>
                      <a:gd name="T9" fmla="*/ 9525 h 12"/>
                      <a:gd name="T10" fmla="*/ 0 w 1588"/>
                      <a:gd name="T11" fmla="*/ 0 h 12"/>
                      <a:gd name="T12" fmla="*/ 0 w 1588"/>
                      <a:gd name="T13" fmla="*/ 0 h 1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2"/>
                      <a:gd name="T23" fmla="*/ 1588 w 1588"/>
                      <a:gd name="T24" fmla="*/ 12 h 1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12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2" name="Rectangle 363"/>
                  <p:cNvSpPr>
                    <a:spLocks noChangeArrowheads="1"/>
                  </p:cNvSpPr>
                  <p:nvPr/>
                </p:nvSpPr>
                <p:spPr bwMode="auto">
                  <a:xfrm>
                    <a:off x="3568700" y="4076700"/>
                    <a:ext cx="1588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3" name="Freeform 364"/>
                  <p:cNvSpPr>
                    <a:spLocks/>
                  </p:cNvSpPr>
                  <p:nvPr/>
                </p:nvSpPr>
                <p:spPr bwMode="auto">
                  <a:xfrm>
                    <a:off x="3578225" y="4076700"/>
                    <a:ext cx="1588" cy="19050"/>
                  </a:xfrm>
                  <a:custGeom>
                    <a:avLst/>
                    <a:gdLst>
                      <a:gd name="T0" fmla="*/ 0 w 1588"/>
                      <a:gd name="T1" fmla="*/ 0 h 12"/>
                      <a:gd name="T2" fmla="*/ 0 w 1588"/>
                      <a:gd name="T3" fmla="*/ 0 h 12"/>
                      <a:gd name="T4" fmla="*/ 0 w 1588"/>
                      <a:gd name="T5" fmla="*/ 19050 h 12"/>
                      <a:gd name="T6" fmla="*/ 0 w 1588"/>
                      <a:gd name="T7" fmla="*/ 19050 h 12"/>
                      <a:gd name="T8" fmla="*/ 0 w 1588"/>
                      <a:gd name="T9" fmla="*/ 19050 h 12"/>
                      <a:gd name="T10" fmla="*/ 0 w 1588"/>
                      <a:gd name="T11" fmla="*/ 0 h 12"/>
                      <a:gd name="T12" fmla="*/ 0 w 1588"/>
                      <a:gd name="T13" fmla="*/ 0 h 1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2"/>
                      <a:gd name="T23" fmla="*/ 1588 w 1588"/>
                      <a:gd name="T24" fmla="*/ 12 h 1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1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4" name="Freeform 365"/>
                  <p:cNvSpPr>
                    <a:spLocks/>
                  </p:cNvSpPr>
                  <p:nvPr/>
                </p:nvSpPr>
                <p:spPr bwMode="auto">
                  <a:xfrm>
                    <a:off x="3527425" y="4076700"/>
                    <a:ext cx="11113" cy="9525"/>
                  </a:xfrm>
                  <a:custGeom>
                    <a:avLst/>
                    <a:gdLst>
                      <a:gd name="T0" fmla="*/ 11113 w 7"/>
                      <a:gd name="T1" fmla="*/ 9525 h 6"/>
                      <a:gd name="T2" fmla="*/ 11113 w 7"/>
                      <a:gd name="T3" fmla="*/ 9525 h 6"/>
                      <a:gd name="T4" fmla="*/ 0 w 7"/>
                      <a:gd name="T5" fmla="*/ 9525 h 6"/>
                      <a:gd name="T6" fmla="*/ 0 w 7"/>
                      <a:gd name="T7" fmla="*/ 9525 h 6"/>
                      <a:gd name="T8" fmla="*/ 0 w 7"/>
                      <a:gd name="T9" fmla="*/ 9525 h 6"/>
                      <a:gd name="T10" fmla="*/ 0 w 7"/>
                      <a:gd name="T11" fmla="*/ 9525 h 6"/>
                      <a:gd name="T12" fmla="*/ 0 w 7"/>
                      <a:gd name="T13" fmla="*/ 9525 h 6"/>
                      <a:gd name="T14" fmla="*/ 11113 w 7"/>
                      <a:gd name="T15" fmla="*/ 9525 h 6"/>
                      <a:gd name="T16" fmla="*/ 11113 w 7"/>
                      <a:gd name="T17" fmla="*/ 9525 h 6"/>
                      <a:gd name="T18" fmla="*/ 11113 w 7"/>
                      <a:gd name="T19" fmla="*/ 0 h 6"/>
                      <a:gd name="T20" fmla="*/ 11113 w 7"/>
                      <a:gd name="T21" fmla="*/ 0 h 6"/>
                      <a:gd name="T22" fmla="*/ 11113 w 7"/>
                      <a:gd name="T23" fmla="*/ 9525 h 6"/>
                      <a:gd name="T24" fmla="*/ 11113 w 7"/>
                      <a:gd name="T25" fmla="*/ 9525 h 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7"/>
                      <a:gd name="T40" fmla="*/ 0 h 6"/>
                      <a:gd name="T41" fmla="*/ 7 w 7"/>
                      <a:gd name="T42" fmla="*/ 6 h 6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7" h="6">
                        <a:moveTo>
                          <a:pt x="7" y="6"/>
                        </a:moveTo>
                        <a:lnTo>
                          <a:pt x="7" y="6"/>
                        </a:lnTo>
                        <a:lnTo>
                          <a:pt x="0" y="6"/>
                        </a:lnTo>
                        <a:lnTo>
                          <a:pt x="7" y="6"/>
                        </a:lnTo>
                        <a:lnTo>
                          <a:pt x="7" y="0"/>
                        </a:lnTo>
                        <a:lnTo>
                          <a:pt x="7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5" name="Freeform 366"/>
                  <p:cNvSpPr>
                    <a:spLocks/>
                  </p:cNvSpPr>
                  <p:nvPr/>
                </p:nvSpPr>
                <p:spPr bwMode="auto">
                  <a:xfrm>
                    <a:off x="3587750" y="4076700"/>
                    <a:ext cx="1588" cy="9525"/>
                  </a:xfrm>
                  <a:custGeom>
                    <a:avLst/>
                    <a:gdLst>
                      <a:gd name="T0" fmla="*/ 0 w 1588"/>
                      <a:gd name="T1" fmla="*/ 9525 h 6"/>
                      <a:gd name="T2" fmla="*/ 0 w 1588"/>
                      <a:gd name="T3" fmla="*/ 9525 h 6"/>
                      <a:gd name="T4" fmla="*/ 0 w 1588"/>
                      <a:gd name="T5" fmla="*/ 0 h 6"/>
                      <a:gd name="T6" fmla="*/ 0 w 1588"/>
                      <a:gd name="T7" fmla="*/ 0 h 6"/>
                      <a:gd name="T8" fmla="*/ 0 w 1588"/>
                      <a:gd name="T9" fmla="*/ 9525 h 6"/>
                      <a:gd name="T10" fmla="*/ 0 w 1588"/>
                      <a:gd name="T11" fmla="*/ 9525 h 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88"/>
                      <a:gd name="T19" fmla="*/ 0 h 6"/>
                      <a:gd name="T20" fmla="*/ 1588 w 1588"/>
                      <a:gd name="T21" fmla="*/ 6 h 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88" h="6">
                        <a:moveTo>
                          <a:pt x="0" y="6"/>
                        </a:moveTo>
                        <a:lnTo>
                          <a:pt x="0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6" name="Freeform 367"/>
                  <p:cNvSpPr>
                    <a:spLocks/>
                  </p:cNvSpPr>
                  <p:nvPr/>
                </p:nvSpPr>
                <p:spPr bwMode="auto">
                  <a:xfrm>
                    <a:off x="3587750" y="4076700"/>
                    <a:ext cx="11113" cy="9525"/>
                  </a:xfrm>
                  <a:custGeom>
                    <a:avLst/>
                    <a:gdLst>
                      <a:gd name="T0" fmla="*/ 0 w 7"/>
                      <a:gd name="T1" fmla="*/ 0 h 6"/>
                      <a:gd name="T2" fmla="*/ 0 w 7"/>
                      <a:gd name="T3" fmla="*/ 0 h 6"/>
                      <a:gd name="T4" fmla="*/ 11113 w 7"/>
                      <a:gd name="T5" fmla="*/ 9525 h 6"/>
                      <a:gd name="T6" fmla="*/ 11113 w 7"/>
                      <a:gd name="T7" fmla="*/ 9525 h 6"/>
                      <a:gd name="T8" fmla="*/ 11113 w 7"/>
                      <a:gd name="T9" fmla="*/ 9525 h 6"/>
                      <a:gd name="T10" fmla="*/ 0 w 7"/>
                      <a:gd name="T11" fmla="*/ 0 h 6"/>
                      <a:gd name="T12" fmla="*/ 0 w 7"/>
                      <a:gd name="T13" fmla="*/ 0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"/>
                      <a:gd name="T22" fmla="*/ 0 h 6"/>
                      <a:gd name="T23" fmla="*/ 7 w 7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7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7" name="Freeform 368"/>
                  <p:cNvSpPr>
                    <a:spLocks/>
                  </p:cNvSpPr>
                  <p:nvPr/>
                </p:nvSpPr>
                <p:spPr bwMode="auto">
                  <a:xfrm>
                    <a:off x="3557588" y="4086225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9525 h 6"/>
                      <a:gd name="T10" fmla="*/ 0 w 1588"/>
                      <a:gd name="T11" fmla="*/ 0 h 6"/>
                      <a:gd name="T12" fmla="*/ 0 w 1588"/>
                      <a:gd name="T13" fmla="*/ 0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8" name="Freeform 369"/>
                  <p:cNvSpPr>
                    <a:spLocks/>
                  </p:cNvSpPr>
                  <p:nvPr/>
                </p:nvSpPr>
                <p:spPr bwMode="auto">
                  <a:xfrm>
                    <a:off x="3568700" y="4086225"/>
                    <a:ext cx="1588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9525 h 6"/>
                      <a:gd name="T10" fmla="*/ 0 w 1588"/>
                      <a:gd name="T11" fmla="*/ 0 h 6"/>
                      <a:gd name="T12" fmla="*/ 0 w 1588"/>
                      <a:gd name="T13" fmla="*/ 0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89" name="Freeform 370"/>
                  <p:cNvSpPr>
                    <a:spLocks/>
                  </p:cNvSpPr>
                  <p:nvPr/>
                </p:nvSpPr>
                <p:spPr bwMode="auto">
                  <a:xfrm>
                    <a:off x="3729038" y="4086225"/>
                    <a:ext cx="1587" cy="9525"/>
                  </a:xfrm>
                  <a:custGeom>
                    <a:avLst/>
                    <a:gdLst>
                      <a:gd name="T0" fmla="*/ 0 w 1588"/>
                      <a:gd name="T1" fmla="*/ 0 h 6"/>
                      <a:gd name="T2" fmla="*/ 0 w 1588"/>
                      <a:gd name="T3" fmla="*/ 0 h 6"/>
                      <a:gd name="T4" fmla="*/ 0 w 1588"/>
                      <a:gd name="T5" fmla="*/ 9525 h 6"/>
                      <a:gd name="T6" fmla="*/ 0 w 1588"/>
                      <a:gd name="T7" fmla="*/ 9525 h 6"/>
                      <a:gd name="T8" fmla="*/ 0 w 1588"/>
                      <a:gd name="T9" fmla="*/ 9525 h 6"/>
                      <a:gd name="T10" fmla="*/ 0 w 1588"/>
                      <a:gd name="T11" fmla="*/ 0 h 6"/>
                      <a:gd name="T12" fmla="*/ 0 w 1588"/>
                      <a:gd name="T13" fmla="*/ 0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6"/>
                      <a:gd name="T23" fmla="*/ 1588 w 1588"/>
                      <a:gd name="T24" fmla="*/ 6 h 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90" name="Oval 371"/>
                  <p:cNvSpPr>
                    <a:spLocks noChangeArrowheads="1"/>
                  </p:cNvSpPr>
                  <p:nvPr/>
                </p:nvSpPr>
                <p:spPr bwMode="auto">
                  <a:xfrm>
                    <a:off x="3538538" y="4086225"/>
                    <a:ext cx="1587" cy="9525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91" name="Freeform 372"/>
                  <p:cNvSpPr>
                    <a:spLocks/>
                  </p:cNvSpPr>
                  <p:nvPr/>
                </p:nvSpPr>
                <p:spPr bwMode="auto">
                  <a:xfrm>
                    <a:off x="3729038" y="4095750"/>
                    <a:ext cx="1587" cy="1588"/>
                  </a:xfrm>
                  <a:custGeom>
                    <a:avLst/>
                    <a:gdLst>
                      <a:gd name="T0" fmla="*/ 0 w 1588"/>
                      <a:gd name="T1" fmla="*/ 0 h 1588"/>
                      <a:gd name="T2" fmla="*/ 0 w 1588"/>
                      <a:gd name="T3" fmla="*/ 0 h 1588"/>
                      <a:gd name="T4" fmla="*/ 0 w 1588"/>
                      <a:gd name="T5" fmla="*/ 0 h 1588"/>
                      <a:gd name="T6" fmla="*/ 0 w 1588"/>
                      <a:gd name="T7" fmla="*/ 0 h 1588"/>
                      <a:gd name="T8" fmla="*/ 0 w 1588"/>
                      <a:gd name="T9" fmla="*/ 0 h 1588"/>
                      <a:gd name="T10" fmla="*/ 0 w 1588"/>
                      <a:gd name="T11" fmla="*/ 0 h 1588"/>
                      <a:gd name="T12" fmla="*/ 0 w 1588"/>
                      <a:gd name="T13" fmla="*/ 0 h 1588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588"/>
                      <a:gd name="T22" fmla="*/ 0 h 1588"/>
                      <a:gd name="T23" fmla="*/ 1588 w 1588"/>
                      <a:gd name="T24" fmla="*/ 1588 h 1588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588" h="1588">
                        <a:moveTo>
                          <a:pt x="0" y="0"/>
                        </a:move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92" name="Rectangle 373"/>
                  <p:cNvSpPr>
                    <a:spLocks noChangeArrowheads="1"/>
                  </p:cNvSpPr>
                  <p:nvPr/>
                </p:nvSpPr>
                <p:spPr bwMode="auto">
                  <a:xfrm>
                    <a:off x="3598863" y="4095750"/>
                    <a:ext cx="1587" cy="15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93" name="Freeform 380"/>
                  <p:cNvSpPr>
                    <a:spLocks/>
                  </p:cNvSpPr>
                  <p:nvPr/>
                </p:nvSpPr>
                <p:spPr bwMode="auto">
                  <a:xfrm>
                    <a:off x="4264025" y="3824288"/>
                    <a:ext cx="261938" cy="331787"/>
                  </a:xfrm>
                  <a:custGeom>
                    <a:avLst/>
                    <a:gdLst>
                      <a:gd name="T0" fmla="*/ 141288 w 165"/>
                      <a:gd name="T1" fmla="*/ 9525 h 209"/>
                      <a:gd name="T2" fmla="*/ 141288 w 165"/>
                      <a:gd name="T3" fmla="*/ 9525 h 209"/>
                      <a:gd name="T4" fmla="*/ 100013 w 165"/>
                      <a:gd name="T5" fmla="*/ 0 h 209"/>
                      <a:gd name="T6" fmla="*/ 100013 w 165"/>
                      <a:gd name="T7" fmla="*/ 0 h 209"/>
                      <a:gd name="T8" fmla="*/ 90488 w 165"/>
                      <a:gd name="T9" fmla="*/ 9525 h 209"/>
                      <a:gd name="T10" fmla="*/ 80963 w 165"/>
                      <a:gd name="T11" fmla="*/ 20637 h 209"/>
                      <a:gd name="T12" fmla="*/ 80963 w 165"/>
                      <a:gd name="T13" fmla="*/ 20637 h 209"/>
                      <a:gd name="T14" fmla="*/ 50800 w 165"/>
                      <a:gd name="T15" fmla="*/ 60325 h 209"/>
                      <a:gd name="T16" fmla="*/ 39688 w 165"/>
                      <a:gd name="T17" fmla="*/ 111125 h 209"/>
                      <a:gd name="T18" fmla="*/ 39688 w 165"/>
                      <a:gd name="T19" fmla="*/ 111125 h 209"/>
                      <a:gd name="T20" fmla="*/ 39688 w 165"/>
                      <a:gd name="T21" fmla="*/ 160337 h 209"/>
                      <a:gd name="T22" fmla="*/ 30163 w 165"/>
                      <a:gd name="T23" fmla="*/ 211137 h 209"/>
                      <a:gd name="T24" fmla="*/ 30163 w 165"/>
                      <a:gd name="T25" fmla="*/ 211137 h 209"/>
                      <a:gd name="T26" fmla="*/ 9525 w 165"/>
                      <a:gd name="T27" fmla="*/ 252412 h 209"/>
                      <a:gd name="T28" fmla="*/ 0 w 165"/>
                      <a:gd name="T29" fmla="*/ 282575 h 209"/>
                      <a:gd name="T30" fmla="*/ 9525 w 165"/>
                      <a:gd name="T31" fmla="*/ 312737 h 209"/>
                      <a:gd name="T32" fmla="*/ 9525 w 165"/>
                      <a:gd name="T33" fmla="*/ 312737 h 209"/>
                      <a:gd name="T34" fmla="*/ 39688 w 165"/>
                      <a:gd name="T35" fmla="*/ 331787 h 209"/>
                      <a:gd name="T36" fmla="*/ 39688 w 165"/>
                      <a:gd name="T37" fmla="*/ 331787 h 209"/>
                      <a:gd name="T38" fmla="*/ 60325 w 165"/>
                      <a:gd name="T39" fmla="*/ 331787 h 209"/>
                      <a:gd name="T40" fmla="*/ 80963 w 165"/>
                      <a:gd name="T41" fmla="*/ 322262 h 209"/>
                      <a:gd name="T42" fmla="*/ 80963 w 165"/>
                      <a:gd name="T43" fmla="*/ 322262 h 209"/>
                      <a:gd name="T44" fmla="*/ 160338 w 165"/>
                      <a:gd name="T45" fmla="*/ 322262 h 209"/>
                      <a:gd name="T46" fmla="*/ 241300 w 165"/>
                      <a:gd name="T47" fmla="*/ 322262 h 209"/>
                      <a:gd name="T48" fmla="*/ 241300 w 165"/>
                      <a:gd name="T49" fmla="*/ 322262 h 209"/>
                      <a:gd name="T50" fmla="*/ 261938 w 165"/>
                      <a:gd name="T51" fmla="*/ 312737 h 209"/>
                      <a:gd name="T52" fmla="*/ 261938 w 165"/>
                      <a:gd name="T53" fmla="*/ 312737 h 209"/>
                      <a:gd name="T54" fmla="*/ 261938 w 165"/>
                      <a:gd name="T55" fmla="*/ 282575 h 209"/>
                      <a:gd name="T56" fmla="*/ 261938 w 165"/>
                      <a:gd name="T57" fmla="*/ 282575 h 209"/>
                      <a:gd name="T58" fmla="*/ 252413 w 165"/>
                      <a:gd name="T59" fmla="*/ 252412 h 209"/>
                      <a:gd name="T60" fmla="*/ 241300 w 165"/>
                      <a:gd name="T61" fmla="*/ 222250 h 209"/>
                      <a:gd name="T62" fmla="*/ 241300 w 165"/>
                      <a:gd name="T63" fmla="*/ 222250 h 209"/>
                      <a:gd name="T64" fmla="*/ 231775 w 165"/>
                      <a:gd name="T65" fmla="*/ 201612 h 209"/>
                      <a:gd name="T66" fmla="*/ 222250 w 165"/>
                      <a:gd name="T67" fmla="*/ 171450 h 209"/>
                      <a:gd name="T68" fmla="*/ 222250 w 165"/>
                      <a:gd name="T69" fmla="*/ 120650 h 209"/>
                      <a:gd name="T70" fmla="*/ 222250 w 165"/>
                      <a:gd name="T71" fmla="*/ 120650 h 209"/>
                      <a:gd name="T72" fmla="*/ 211138 w 165"/>
                      <a:gd name="T73" fmla="*/ 60325 h 209"/>
                      <a:gd name="T74" fmla="*/ 211138 w 165"/>
                      <a:gd name="T75" fmla="*/ 60325 h 209"/>
                      <a:gd name="T76" fmla="*/ 211138 w 165"/>
                      <a:gd name="T77" fmla="*/ 39687 h 209"/>
                      <a:gd name="T78" fmla="*/ 201613 w 165"/>
                      <a:gd name="T79" fmla="*/ 20637 h 209"/>
                      <a:gd name="T80" fmla="*/ 201613 w 165"/>
                      <a:gd name="T81" fmla="*/ 20637 h 209"/>
                      <a:gd name="T82" fmla="*/ 171450 w 165"/>
                      <a:gd name="T83" fmla="*/ 9525 h 209"/>
                      <a:gd name="T84" fmla="*/ 171450 w 165"/>
                      <a:gd name="T85" fmla="*/ 9525 h 209"/>
                      <a:gd name="T86" fmla="*/ 150813 w 165"/>
                      <a:gd name="T87" fmla="*/ 0 h 209"/>
                      <a:gd name="T88" fmla="*/ 141288 w 165"/>
                      <a:gd name="T89" fmla="*/ 0 h 209"/>
                      <a:gd name="T90" fmla="*/ 141288 w 165"/>
                      <a:gd name="T91" fmla="*/ 9525 h 209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165"/>
                      <a:gd name="T139" fmla="*/ 0 h 209"/>
                      <a:gd name="T140" fmla="*/ 165 w 165"/>
                      <a:gd name="T141" fmla="*/ 209 h 209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165" h="209">
                        <a:moveTo>
                          <a:pt x="89" y="6"/>
                        </a:moveTo>
                        <a:lnTo>
                          <a:pt x="89" y="6"/>
                        </a:lnTo>
                        <a:lnTo>
                          <a:pt x="63" y="0"/>
                        </a:lnTo>
                        <a:lnTo>
                          <a:pt x="57" y="6"/>
                        </a:lnTo>
                        <a:lnTo>
                          <a:pt x="51" y="13"/>
                        </a:lnTo>
                        <a:lnTo>
                          <a:pt x="32" y="38"/>
                        </a:lnTo>
                        <a:lnTo>
                          <a:pt x="25" y="70"/>
                        </a:lnTo>
                        <a:lnTo>
                          <a:pt x="25" y="101"/>
                        </a:lnTo>
                        <a:lnTo>
                          <a:pt x="19" y="133"/>
                        </a:lnTo>
                        <a:lnTo>
                          <a:pt x="6" y="159"/>
                        </a:lnTo>
                        <a:lnTo>
                          <a:pt x="0" y="178"/>
                        </a:lnTo>
                        <a:lnTo>
                          <a:pt x="6" y="197"/>
                        </a:lnTo>
                        <a:lnTo>
                          <a:pt x="25" y="209"/>
                        </a:lnTo>
                        <a:lnTo>
                          <a:pt x="38" y="209"/>
                        </a:lnTo>
                        <a:lnTo>
                          <a:pt x="51" y="203"/>
                        </a:lnTo>
                        <a:lnTo>
                          <a:pt x="101" y="203"/>
                        </a:lnTo>
                        <a:lnTo>
                          <a:pt x="152" y="203"/>
                        </a:lnTo>
                        <a:lnTo>
                          <a:pt x="165" y="197"/>
                        </a:lnTo>
                        <a:lnTo>
                          <a:pt x="165" y="178"/>
                        </a:lnTo>
                        <a:lnTo>
                          <a:pt x="159" y="159"/>
                        </a:lnTo>
                        <a:lnTo>
                          <a:pt x="152" y="140"/>
                        </a:lnTo>
                        <a:lnTo>
                          <a:pt x="146" y="127"/>
                        </a:lnTo>
                        <a:lnTo>
                          <a:pt x="140" y="108"/>
                        </a:lnTo>
                        <a:lnTo>
                          <a:pt x="140" y="76"/>
                        </a:lnTo>
                        <a:lnTo>
                          <a:pt x="133" y="38"/>
                        </a:lnTo>
                        <a:lnTo>
                          <a:pt x="133" y="25"/>
                        </a:lnTo>
                        <a:lnTo>
                          <a:pt x="127" y="13"/>
                        </a:lnTo>
                        <a:lnTo>
                          <a:pt x="108" y="6"/>
                        </a:lnTo>
                        <a:lnTo>
                          <a:pt x="95" y="0"/>
                        </a:lnTo>
                        <a:lnTo>
                          <a:pt x="89" y="0"/>
                        </a:lnTo>
                        <a:lnTo>
                          <a:pt x="89" y="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94" name="Freeform 381"/>
                  <p:cNvSpPr>
                    <a:spLocks/>
                  </p:cNvSpPr>
                  <p:nvPr/>
                </p:nvSpPr>
                <p:spPr bwMode="auto">
                  <a:xfrm>
                    <a:off x="3295650" y="3733800"/>
                    <a:ext cx="1392238" cy="2287588"/>
                  </a:xfrm>
                  <a:custGeom>
                    <a:avLst/>
                    <a:gdLst>
                      <a:gd name="T0" fmla="*/ 161925 w 877"/>
                      <a:gd name="T1" fmla="*/ 211138 h 1441"/>
                      <a:gd name="T2" fmla="*/ 242888 w 877"/>
                      <a:gd name="T3" fmla="*/ 90488 h 1441"/>
                      <a:gd name="T4" fmla="*/ 333375 w 877"/>
                      <a:gd name="T5" fmla="*/ 201613 h 1441"/>
                      <a:gd name="T6" fmla="*/ 342900 w 877"/>
                      <a:gd name="T7" fmla="*/ 271463 h 1441"/>
                      <a:gd name="T8" fmla="*/ 463550 w 877"/>
                      <a:gd name="T9" fmla="*/ 422275 h 1441"/>
                      <a:gd name="T10" fmla="*/ 685800 w 877"/>
                      <a:gd name="T11" fmla="*/ 292100 h 1441"/>
                      <a:gd name="T12" fmla="*/ 685800 w 877"/>
                      <a:gd name="T13" fmla="*/ 141288 h 1441"/>
                      <a:gd name="T14" fmla="*/ 736600 w 877"/>
                      <a:gd name="T15" fmla="*/ 19050 h 1441"/>
                      <a:gd name="T16" fmla="*/ 847725 w 877"/>
                      <a:gd name="T17" fmla="*/ 19050 h 1441"/>
                      <a:gd name="T18" fmla="*/ 887413 w 877"/>
                      <a:gd name="T19" fmla="*/ 171450 h 1441"/>
                      <a:gd name="T20" fmla="*/ 836613 w 877"/>
                      <a:gd name="T21" fmla="*/ 301625 h 1441"/>
                      <a:gd name="T22" fmla="*/ 1049338 w 877"/>
                      <a:gd name="T23" fmla="*/ 331788 h 1441"/>
                      <a:gd name="T24" fmla="*/ 1028700 w 877"/>
                      <a:gd name="T25" fmla="*/ 282575 h 1441"/>
                      <a:gd name="T26" fmla="*/ 1049338 w 877"/>
                      <a:gd name="T27" fmla="*/ 120650 h 1441"/>
                      <a:gd name="T28" fmla="*/ 1179513 w 877"/>
                      <a:gd name="T29" fmla="*/ 211138 h 1441"/>
                      <a:gd name="T30" fmla="*/ 1169988 w 877"/>
                      <a:gd name="T31" fmla="*/ 312738 h 1441"/>
                      <a:gd name="T32" fmla="*/ 1160463 w 877"/>
                      <a:gd name="T33" fmla="*/ 342900 h 1441"/>
                      <a:gd name="T34" fmla="*/ 1320800 w 877"/>
                      <a:gd name="T35" fmla="*/ 433388 h 1441"/>
                      <a:gd name="T36" fmla="*/ 1290638 w 877"/>
                      <a:gd name="T37" fmla="*/ 584200 h 1441"/>
                      <a:gd name="T38" fmla="*/ 1281113 w 877"/>
                      <a:gd name="T39" fmla="*/ 1411288 h 1441"/>
                      <a:gd name="T40" fmla="*/ 1270000 w 877"/>
                      <a:gd name="T41" fmla="*/ 1522413 h 1441"/>
                      <a:gd name="T42" fmla="*/ 1350963 w 877"/>
                      <a:gd name="T43" fmla="*/ 1944688 h 1441"/>
                      <a:gd name="T44" fmla="*/ 1239838 w 877"/>
                      <a:gd name="T45" fmla="*/ 1955801 h 1441"/>
                      <a:gd name="T46" fmla="*/ 1160463 w 877"/>
                      <a:gd name="T47" fmla="*/ 1874838 h 1441"/>
                      <a:gd name="T48" fmla="*/ 1160463 w 877"/>
                      <a:gd name="T49" fmla="*/ 1511300 h 1441"/>
                      <a:gd name="T50" fmla="*/ 1058863 w 877"/>
                      <a:gd name="T51" fmla="*/ 1077913 h 1441"/>
                      <a:gd name="T52" fmla="*/ 1068388 w 877"/>
                      <a:gd name="T53" fmla="*/ 1450975 h 1441"/>
                      <a:gd name="T54" fmla="*/ 1139825 w 877"/>
                      <a:gd name="T55" fmla="*/ 1814513 h 1441"/>
                      <a:gd name="T56" fmla="*/ 1089025 w 877"/>
                      <a:gd name="T57" fmla="*/ 1865313 h 1441"/>
                      <a:gd name="T58" fmla="*/ 989013 w 877"/>
                      <a:gd name="T59" fmla="*/ 1874838 h 1441"/>
                      <a:gd name="T60" fmla="*/ 977900 w 877"/>
                      <a:gd name="T61" fmla="*/ 1592263 h 1441"/>
                      <a:gd name="T62" fmla="*/ 908050 w 877"/>
                      <a:gd name="T63" fmla="*/ 1784351 h 1441"/>
                      <a:gd name="T64" fmla="*/ 817563 w 877"/>
                      <a:gd name="T65" fmla="*/ 2046288 h 1441"/>
                      <a:gd name="T66" fmla="*/ 787400 w 877"/>
                      <a:gd name="T67" fmla="*/ 1965326 h 1441"/>
                      <a:gd name="T68" fmla="*/ 787400 w 877"/>
                      <a:gd name="T69" fmla="*/ 1712913 h 1441"/>
                      <a:gd name="T70" fmla="*/ 766763 w 877"/>
                      <a:gd name="T71" fmla="*/ 1279525 h 1441"/>
                      <a:gd name="T72" fmla="*/ 715963 w 877"/>
                      <a:gd name="T73" fmla="*/ 1481138 h 1441"/>
                      <a:gd name="T74" fmla="*/ 695325 w 877"/>
                      <a:gd name="T75" fmla="*/ 2016126 h 1441"/>
                      <a:gd name="T76" fmla="*/ 685800 w 877"/>
                      <a:gd name="T77" fmla="*/ 2097088 h 1441"/>
                      <a:gd name="T78" fmla="*/ 646113 w 877"/>
                      <a:gd name="T79" fmla="*/ 2206626 h 1441"/>
                      <a:gd name="T80" fmla="*/ 514350 w 877"/>
                      <a:gd name="T81" fmla="*/ 2278063 h 1441"/>
                      <a:gd name="T82" fmla="*/ 554038 w 877"/>
                      <a:gd name="T83" fmla="*/ 1925638 h 1441"/>
                      <a:gd name="T84" fmla="*/ 554038 w 877"/>
                      <a:gd name="T85" fmla="*/ 1370013 h 1441"/>
                      <a:gd name="T86" fmla="*/ 544513 w 877"/>
                      <a:gd name="T87" fmla="*/ 1089025 h 1441"/>
                      <a:gd name="T88" fmla="*/ 463550 w 877"/>
                      <a:gd name="T89" fmla="*/ 1179513 h 1441"/>
                      <a:gd name="T90" fmla="*/ 523875 w 877"/>
                      <a:gd name="T91" fmla="*/ 1733551 h 1441"/>
                      <a:gd name="T92" fmla="*/ 514350 w 877"/>
                      <a:gd name="T93" fmla="*/ 2025651 h 1441"/>
                      <a:gd name="T94" fmla="*/ 423863 w 877"/>
                      <a:gd name="T95" fmla="*/ 2076451 h 1441"/>
                      <a:gd name="T96" fmla="*/ 403225 w 877"/>
                      <a:gd name="T97" fmla="*/ 1884363 h 1441"/>
                      <a:gd name="T98" fmla="*/ 292100 w 877"/>
                      <a:gd name="T99" fmla="*/ 1309688 h 1441"/>
                      <a:gd name="T100" fmla="*/ 292100 w 877"/>
                      <a:gd name="T101" fmla="*/ 1582738 h 1441"/>
                      <a:gd name="T102" fmla="*/ 303213 w 877"/>
                      <a:gd name="T103" fmla="*/ 1895476 h 1441"/>
                      <a:gd name="T104" fmla="*/ 212725 w 877"/>
                      <a:gd name="T105" fmla="*/ 1974851 h 1441"/>
                      <a:gd name="T106" fmla="*/ 171450 w 877"/>
                      <a:gd name="T107" fmla="*/ 1874838 h 1441"/>
                      <a:gd name="T108" fmla="*/ 141288 w 877"/>
                      <a:gd name="T109" fmla="*/ 1622425 h 1441"/>
                      <a:gd name="T110" fmla="*/ 11113 w 877"/>
                      <a:gd name="T111" fmla="*/ 1098550 h 1441"/>
                      <a:gd name="T112" fmla="*/ 50800 w 877"/>
                      <a:gd name="T113" fmla="*/ 533400 h 1441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877"/>
                      <a:gd name="T172" fmla="*/ 0 h 1441"/>
                      <a:gd name="T173" fmla="*/ 877 w 877"/>
                      <a:gd name="T174" fmla="*/ 1441 h 1441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877" h="1441">
                        <a:moveTo>
                          <a:pt x="57" y="279"/>
                        </a:moveTo>
                        <a:lnTo>
                          <a:pt x="127" y="247"/>
                        </a:lnTo>
                        <a:lnTo>
                          <a:pt x="134" y="222"/>
                        </a:lnTo>
                        <a:lnTo>
                          <a:pt x="121" y="216"/>
                        </a:lnTo>
                        <a:lnTo>
                          <a:pt x="108" y="184"/>
                        </a:lnTo>
                        <a:lnTo>
                          <a:pt x="102" y="133"/>
                        </a:lnTo>
                        <a:lnTo>
                          <a:pt x="102" y="101"/>
                        </a:lnTo>
                        <a:lnTo>
                          <a:pt x="108" y="89"/>
                        </a:lnTo>
                        <a:lnTo>
                          <a:pt x="121" y="70"/>
                        </a:lnTo>
                        <a:lnTo>
                          <a:pt x="134" y="63"/>
                        </a:lnTo>
                        <a:lnTo>
                          <a:pt x="153" y="57"/>
                        </a:lnTo>
                        <a:lnTo>
                          <a:pt x="172" y="70"/>
                        </a:lnTo>
                        <a:lnTo>
                          <a:pt x="197" y="89"/>
                        </a:lnTo>
                        <a:lnTo>
                          <a:pt x="203" y="101"/>
                        </a:lnTo>
                        <a:lnTo>
                          <a:pt x="210" y="127"/>
                        </a:lnTo>
                        <a:lnTo>
                          <a:pt x="216" y="127"/>
                        </a:lnTo>
                        <a:lnTo>
                          <a:pt x="216" y="133"/>
                        </a:lnTo>
                        <a:lnTo>
                          <a:pt x="216" y="146"/>
                        </a:lnTo>
                        <a:lnTo>
                          <a:pt x="216" y="165"/>
                        </a:lnTo>
                        <a:lnTo>
                          <a:pt x="216" y="171"/>
                        </a:lnTo>
                        <a:lnTo>
                          <a:pt x="210" y="165"/>
                        </a:lnTo>
                        <a:lnTo>
                          <a:pt x="210" y="197"/>
                        </a:lnTo>
                        <a:lnTo>
                          <a:pt x="216" y="216"/>
                        </a:lnTo>
                        <a:lnTo>
                          <a:pt x="222" y="228"/>
                        </a:lnTo>
                        <a:lnTo>
                          <a:pt x="248" y="247"/>
                        </a:lnTo>
                        <a:lnTo>
                          <a:pt x="292" y="266"/>
                        </a:lnTo>
                        <a:lnTo>
                          <a:pt x="343" y="235"/>
                        </a:lnTo>
                        <a:lnTo>
                          <a:pt x="381" y="216"/>
                        </a:lnTo>
                        <a:lnTo>
                          <a:pt x="419" y="209"/>
                        </a:lnTo>
                        <a:lnTo>
                          <a:pt x="426" y="190"/>
                        </a:lnTo>
                        <a:lnTo>
                          <a:pt x="432" y="184"/>
                        </a:lnTo>
                        <a:lnTo>
                          <a:pt x="432" y="133"/>
                        </a:lnTo>
                        <a:lnTo>
                          <a:pt x="426" y="114"/>
                        </a:lnTo>
                        <a:lnTo>
                          <a:pt x="419" y="95"/>
                        </a:lnTo>
                        <a:lnTo>
                          <a:pt x="426" y="89"/>
                        </a:lnTo>
                        <a:lnTo>
                          <a:pt x="432" y="89"/>
                        </a:lnTo>
                        <a:lnTo>
                          <a:pt x="438" y="57"/>
                        </a:lnTo>
                        <a:lnTo>
                          <a:pt x="445" y="31"/>
                        </a:lnTo>
                        <a:lnTo>
                          <a:pt x="451" y="19"/>
                        </a:lnTo>
                        <a:lnTo>
                          <a:pt x="464" y="12"/>
                        </a:lnTo>
                        <a:lnTo>
                          <a:pt x="470" y="12"/>
                        </a:lnTo>
                        <a:lnTo>
                          <a:pt x="489" y="6"/>
                        </a:lnTo>
                        <a:lnTo>
                          <a:pt x="508" y="0"/>
                        </a:lnTo>
                        <a:lnTo>
                          <a:pt x="521" y="6"/>
                        </a:lnTo>
                        <a:lnTo>
                          <a:pt x="534" y="12"/>
                        </a:lnTo>
                        <a:lnTo>
                          <a:pt x="546" y="25"/>
                        </a:lnTo>
                        <a:lnTo>
                          <a:pt x="559" y="44"/>
                        </a:lnTo>
                        <a:lnTo>
                          <a:pt x="559" y="57"/>
                        </a:lnTo>
                        <a:lnTo>
                          <a:pt x="559" y="70"/>
                        </a:lnTo>
                        <a:lnTo>
                          <a:pt x="559" y="108"/>
                        </a:lnTo>
                        <a:lnTo>
                          <a:pt x="559" y="127"/>
                        </a:lnTo>
                        <a:lnTo>
                          <a:pt x="553" y="146"/>
                        </a:lnTo>
                        <a:lnTo>
                          <a:pt x="546" y="152"/>
                        </a:lnTo>
                        <a:lnTo>
                          <a:pt x="527" y="190"/>
                        </a:lnTo>
                        <a:lnTo>
                          <a:pt x="521" y="222"/>
                        </a:lnTo>
                        <a:lnTo>
                          <a:pt x="527" y="241"/>
                        </a:lnTo>
                        <a:lnTo>
                          <a:pt x="584" y="260"/>
                        </a:lnTo>
                        <a:lnTo>
                          <a:pt x="635" y="254"/>
                        </a:lnTo>
                        <a:lnTo>
                          <a:pt x="661" y="222"/>
                        </a:lnTo>
                        <a:lnTo>
                          <a:pt x="661" y="209"/>
                        </a:lnTo>
                        <a:lnTo>
                          <a:pt x="654" y="203"/>
                        </a:lnTo>
                        <a:lnTo>
                          <a:pt x="642" y="209"/>
                        </a:lnTo>
                        <a:lnTo>
                          <a:pt x="648" y="190"/>
                        </a:lnTo>
                        <a:lnTo>
                          <a:pt x="648" y="178"/>
                        </a:lnTo>
                        <a:lnTo>
                          <a:pt x="642" y="165"/>
                        </a:lnTo>
                        <a:lnTo>
                          <a:pt x="642" y="152"/>
                        </a:lnTo>
                        <a:lnTo>
                          <a:pt x="642" y="133"/>
                        </a:lnTo>
                        <a:lnTo>
                          <a:pt x="642" y="108"/>
                        </a:lnTo>
                        <a:lnTo>
                          <a:pt x="661" y="76"/>
                        </a:lnTo>
                        <a:lnTo>
                          <a:pt x="667" y="63"/>
                        </a:lnTo>
                        <a:lnTo>
                          <a:pt x="686" y="63"/>
                        </a:lnTo>
                        <a:lnTo>
                          <a:pt x="699" y="63"/>
                        </a:lnTo>
                        <a:lnTo>
                          <a:pt x="724" y="70"/>
                        </a:lnTo>
                        <a:lnTo>
                          <a:pt x="743" y="101"/>
                        </a:lnTo>
                        <a:lnTo>
                          <a:pt x="743" y="133"/>
                        </a:lnTo>
                        <a:lnTo>
                          <a:pt x="743" y="146"/>
                        </a:lnTo>
                        <a:lnTo>
                          <a:pt x="743" y="158"/>
                        </a:lnTo>
                        <a:lnTo>
                          <a:pt x="737" y="171"/>
                        </a:lnTo>
                        <a:lnTo>
                          <a:pt x="737" y="197"/>
                        </a:lnTo>
                        <a:lnTo>
                          <a:pt x="731" y="197"/>
                        </a:lnTo>
                        <a:lnTo>
                          <a:pt x="724" y="197"/>
                        </a:lnTo>
                        <a:lnTo>
                          <a:pt x="724" y="209"/>
                        </a:lnTo>
                        <a:lnTo>
                          <a:pt x="731" y="216"/>
                        </a:lnTo>
                        <a:lnTo>
                          <a:pt x="756" y="235"/>
                        </a:lnTo>
                        <a:lnTo>
                          <a:pt x="800" y="235"/>
                        </a:lnTo>
                        <a:lnTo>
                          <a:pt x="819" y="247"/>
                        </a:lnTo>
                        <a:lnTo>
                          <a:pt x="832" y="260"/>
                        </a:lnTo>
                        <a:lnTo>
                          <a:pt x="832" y="273"/>
                        </a:lnTo>
                        <a:lnTo>
                          <a:pt x="832" y="279"/>
                        </a:lnTo>
                        <a:lnTo>
                          <a:pt x="832" y="292"/>
                        </a:lnTo>
                        <a:lnTo>
                          <a:pt x="819" y="324"/>
                        </a:lnTo>
                        <a:lnTo>
                          <a:pt x="813" y="368"/>
                        </a:lnTo>
                        <a:lnTo>
                          <a:pt x="800" y="406"/>
                        </a:lnTo>
                        <a:lnTo>
                          <a:pt x="788" y="444"/>
                        </a:lnTo>
                        <a:lnTo>
                          <a:pt x="826" y="597"/>
                        </a:lnTo>
                        <a:lnTo>
                          <a:pt x="794" y="609"/>
                        </a:lnTo>
                        <a:lnTo>
                          <a:pt x="807" y="889"/>
                        </a:lnTo>
                        <a:lnTo>
                          <a:pt x="807" y="895"/>
                        </a:lnTo>
                        <a:lnTo>
                          <a:pt x="807" y="901"/>
                        </a:lnTo>
                        <a:lnTo>
                          <a:pt x="807" y="914"/>
                        </a:lnTo>
                        <a:lnTo>
                          <a:pt x="800" y="940"/>
                        </a:lnTo>
                        <a:lnTo>
                          <a:pt x="800" y="959"/>
                        </a:lnTo>
                        <a:lnTo>
                          <a:pt x="800" y="1009"/>
                        </a:lnTo>
                        <a:lnTo>
                          <a:pt x="794" y="1048"/>
                        </a:lnTo>
                        <a:lnTo>
                          <a:pt x="800" y="1111"/>
                        </a:lnTo>
                        <a:lnTo>
                          <a:pt x="807" y="1187"/>
                        </a:lnTo>
                        <a:lnTo>
                          <a:pt x="826" y="1206"/>
                        </a:lnTo>
                        <a:lnTo>
                          <a:pt x="851" y="1225"/>
                        </a:lnTo>
                        <a:lnTo>
                          <a:pt x="870" y="1238"/>
                        </a:lnTo>
                        <a:lnTo>
                          <a:pt x="877" y="1251"/>
                        </a:lnTo>
                        <a:lnTo>
                          <a:pt x="794" y="1238"/>
                        </a:lnTo>
                        <a:lnTo>
                          <a:pt x="788" y="1238"/>
                        </a:lnTo>
                        <a:lnTo>
                          <a:pt x="781" y="1232"/>
                        </a:lnTo>
                        <a:lnTo>
                          <a:pt x="775" y="1219"/>
                        </a:lnTo>
                        <a:lnTo>
                          <a:pt x="762" y="1200"/>
                        </a:lnTo>
                        <a:lnTo>
                          <a:pt x="743" y="1187"/>
                        </a:lnTo>
                        <a:lnTo>
                          <a:pt x="737" y="1213"/>
                        </a:lnTo>
                        <a:lnTo>
                          <a:pt x="731" y="1213"/>
                        </a:lnTo>
                        <a:lnTo>
                          <a:pt x="731" y="1181"/>
                        </a:lnTo>
                        <a:lnTo>
                          <a:pt x="724" y="1175"/>
                        </a:lnTo>
                        <a:lnTo>
                          <a:pt x="724" y="1117"/>
                        </a:lnTo>
                        <a:lnTo>
                          <a:pt x="731" y="1073"/>
                        </a:lnTo>
                        <a:lnTo>
                          <a:pt x="731" y="990"/>
                        </a:lnTo>
                        <a:lnTo>
                          <a:pt x="731" y="971"/>
                        </a:lnTo>
                        <a:lnTo>
                          <a:pt x="731" y="952"/>
                        </a:lnTo>
                        <a:lnTo>
                          <a:pt x="718" y="921"/>
                        </a:lnTo>
                        <a:lnTo>
                          <a:pt x="718" y="876"/>
                        </a:lnTo>
                        <a:lnTo>
                          <a:pt x="711" y="800"/>
                        </a:lnTo>
                        <a:lnTo>
                          <a:pt x="692" y="724"/>
                        </a:lnTo>
                        <a:lnTo>
                          <a:pt x="673" y="673"/>
                        </a:lnTo>
                        <a:lnTo>
                          <a:pt x="667" y="679"/>
                        </a:lnTo>
                        <a:lnTo>
                          <a:pt x="667" y="705"/>
                        </a:lnTo>
                        <a:lnTo>
                          <a:pt x="667" y="774"/>
                        </a:lnTo>
                        <a:lnTo>
                          <a:pt x="667" y="844"/>
                        </a:lnTo>
                        <a:lnTo>
                          <a:pt x="667" y="870"/>
                        </a:lnTo>
                        <a:lnTo>
                          <a:pt x="673" y="889"/>
                        </a:lnTo>
                        <a:lnTo>
                          <a:pt x="673" y="914"/>
                        </a:lnTo>
                        <a:lnTo>
                          <a:pt x="680" y="952"/>
                        </a:lnTo>
                        <a:lnTo>
                          <a:pt x="686" y="990"/>
                        </a:lnTo>
                        <a:lnTo>
                          <a:pt x="699" y="1028"/>
                        </a:lnTo>
                        <a:lnTo>
                          <a:pt x="705" y="1060"/>
                        </a:lnTo>
                        <a:lnTo>
                          <a:pt x="718" y="1098"/>
                        </a:lnTo>
                        <a:lnTo>
                          <a:pt x="718" y="1143"/>
                        </a:lnTo>
                        <a:lnTo>
                          <a:pt x="711" y="1143"/>
                        </a:lnTo>
                        <a:lnTo>
                          <a:pt x="705" y="1168"/>
                        </a:lnTo>
                        <a:lnTo>
                          <a:pt x="699" y="1175"/>
                        </a:lnTo>
                        <a:lnTo>
                          <a:pt x="692" y="1149"/>
                        </a:lnTo>
                        <a:lnTo>
                          <a:pt x="686" y="1175"/>
                        </a:lnTo>
                        <a:lnTo>
                          <a:pt x="680" y="1181"/>
                        </a:lnTo>
                        <a:lnTo>
                          <a:pt x="673" y="1194"/>
                        </a:lnTo>
                        <a:lnTo>
                          <a:pt x="661" y="1200"/>
                        </a:lnTo>
                        <a:lnTo>
                          <a:pt x="610" y="1213"/>
                        </a:lnTo>
                        <a:lnTo>
                          <a:pt x="604" y="1200"/>
                        </a:lnTo>
                        <a:lnTo>
                          <a:pt x="623" y="1181"/>
                        </a:lnTo>
                        <a:lnTo>
                          <a:pt x="629" y="1162"/>
                        </a:lnTo>
                        <a:lnTo>
                          <a:pt x="642" y="1149"/>
                        </a:lnTo>
                        <a:lnTo>
                          <a:pt x="648" y="1124"/>
                        </a:lnTo>
                        <a:lnTo>
                          <a:pt x="635" y="1086"/>
                        </a:lnTo>
                        <a:lnTo>
                          <a:pt x="629" y="1048"/>
                        </a:lnTo>
                        <a:lnTo>
                          <a:pt x="616" y="1003"/>
                        </a:lnTo>
                        <a:lnTo>
                          <a:pt x="610" y="952"/>
                        </a:lnTo>
                        <a:lnTo>
                          <a:pt x="604" y="908"/>
                        </a:lnTo>
                        <a:lnTo>
                          <a:pt x="597" y="844"/>
                        </a:lnTo>
                        <a:lnTo>
                          <a:pt x="578" y="959"/>
                        </a:lnTo>
                        <a:lnTo>
                          <a:pt x="572" y="1022"/>
                        </a:lnTo>
                        <a:lnTo>
                          <a:pt x="572" y="1124"/>
                        </a:lnTo>
                        <a:lnTo>
                          <a:pt x="546" y="1200"/>
                        </a:lnTo>
                        <a:lnTo>
                          <a:pt x="559" y="1244"/>
                        </a:lnTo>
                        <a:lnTo>
                          <a:pt x="578" y="1263"/>
                        </a:lnTo>
                        <a:lnTo>
                          <a:pt x="578" y="1308"/>
                        </a:lnTo>
                        <a:lnTo>
                          <a:pt x="540" y="1314"/>
                        </a:lnTo>
                        <a:lnTo>
                          <a:pt x="515" y="1289"/>
                        </a:lnTo>
                        <a:lnTo>
                          <a:pt x="508" y="1282"/>
                        </a:lnTo>
                        <a:lnTo>
                          <a:pt x="502" y="1276"/>
                        </a:lnTo>
                        <a:lnTo>
                          <a:pt x="502" y="1257"/>
                        </a:lnTo>
                        <a:lnTo>
                          <a:pt x="496" y="1238"/>
                        </a:lnTo>
                        <a:lnTo>
                          <a:pt x="477" y="1225"/>
                        </a:lnTo>
                        <a:lnTo>
                          <a:pt x="477" y="1206"/>
                        </a:lnTo>
                        <a:lnTo>
                          <a:pt x="483" y="1181"/>
                        </a:lnTo>
                        <a:lnTo>
                          <a:pt x="483" y="1143"/>
                        </a:lnTo>
                        <a:lnTo>
                          <a:pt x="483" y="1117"/>
                        </a:lnTo>
                        <a:lnTo>
                          <a:pt x="496" y="1079"/>
                        </a:lnTo>
                        <a:lnTo>
                          <a:pt x="496" y="1022"/>
                        </a:lnTo>
                        <a:lnTo>
                          <a:pt x="496" y="952"/>
                        </a:lnTo>
                        <a:lnTo>
                          <a:pt x="489" y="895"/>
                        </a:lnTo>
                        <a:lnTo>
                          <a:pt x="489" y="844"/>
                        </a:lnTo>
                        <a:lnTo>
                          <a:pt x="483" y="819"/>
                        </a:lnTo>
                        <a:lnTo>
                          <a:pt x="483" y="806"/>
                        </a:lnTo>
                        <a:lnTo>
                          <a:pt x="477" y="819"/>
                        </a:lnTo>
                        <a:lnTo>
                          <a:pt x="457" y="889"/>
                        </a:lnTo>
                        <a:lnTo>
                          <a:pt x="451" y="927"/>
                        </a:lnTo>
                        <a:lnTo>
                          <a:pt x="451" y="933"/>
                        </a:lnTo>
                        <a:lnTo>
                          <a:pt x="451" y="1003"/>
                        </a:lnTo>
                        <a:lnTo>
                          <a:pt x="451" y="1086"/>
                        </a:lnTo>
                        <a:lnTo>
                          <a:pt x="451" y="1155"/>
                        </a:lnTo>
                        <a:lnTo>
                          <a:pt x="445" y="1238"/>
                        </a:lnTo>
                        <a:lnTo>
                          <a:pt x="438" y="1270"/>
                        </a:lnTo>
                        <a:lnTo>
                          <a:pt x="432" y="1282"/>
                        </a:lnTo>
                        <a:lnTo>
                          <a:pt x="426" y="1289"/>
                        </a:lnTo>
                        <a:lnTo>
                          <a:pt x="432" y="1295"/>
                        </a:lnTo>
                        <a:lnTo>
                          <a:pt x="432" y="1314"/>
                        </a:lnTo>
                        <a:lnTo>
                          <a:pt x="432" y="1321"/>
                        </a:lnTo>
                        <a:lnTo>
                          <a:pt x="432" y="1327"/>
                        </a:lnTo>
                        <a:lnTo>
                          <a:pt x="419" y="1352"/>
                        </a:lnTo>
                        <a:lnTo>
                          <a:pt x="407" y="1352"/>
                        </a:lnTo>
                        <a:lnTo>
                          <a:pt x="407" y="1378"/>
                        </a:lnTo>
                        <a:lnTo>
                          <a:pt x="407" y="1390"/>
                        </a:lnTo>
                        <a:lnTo>
                          <a:pt x="400" y="1403"/>
                        </a:lnTo>
                        <a:lnTo>
                          <a:pt x="394" y="1416"/>
                        </a:lnTo>
                        <a:lnTo>
                          <a:pt x="375" y="1435"/>
                        </a:lnTo>
                        <a:lnTo>
                          <a:pt x="369" y="1441"/>
                        </a:lnTo>
                        <a:lnTo>
                          <a:pt x="324" y="1435"/>
                        </a:lnTo>
                        <a:lnTo>
                          <a:pt x="324" y="1390"/>
                        </a:lnTo>
                        <a:lnTo>
                          <a:pt x="330" y="1378"/>
                        </a:lnTo>
                        <a:lnTo>
                          <a:pt x="349" y="1327"/>
                        </a:lnTo>
                        <a:lnTo>
                          <a:pt x="356" y="1308"/>
                        </a:lnTo>
                        <a:lnTo>
                          <a:pt x="349" y="1270"/>
                        </a:lnTo>
                        <a:lnTo>
                          <a:pt x="349" y="1213"/>
                        </a:lnTo>
                        <a:lnTo>
                          <a:pt x="343" y="1143"/>
                        </a:lnTo>
                        <a:lnTo>
                          <a:pt x="349" y="1079"/>
                        </a:lnTo>
                        <a:lnTo>
                          <a:pt x="349" y="1016"/>
                        </a:lnTo>
                        <a:lnTo>
                          <a:pt x="356" y="946"/>
                        </a:lnTo>
                        <a:lnTo>
                          <a:pt x="349" y="908"/>
                        </a:lnTo>
                        <a:lnTo>
                          <a:pt x="349" y="863"/>
                        </a:lnTo>
                        <a:lnTo>
                          <a:pt x="349" y="781"/>
                        </a:lnTo>
                        <a:lnTo>
                          <a:pt x="356" y="736"/>
                        </a:lnTo>
                        <a:lnTo>
                          <a:pt x="362" y="698"/>
                        </a:lnTo>
                        <a:lnTo>
                          <a:pt x="362" y="692"/>
                        </a:lnTo>
                        <a:lnTo>
                          <a:pt x="356" y="686"/>
                        </a:lnTo>
                        <a:lnTo>
                          <a:pt x="343" y="686"/>
                        </a:lnTo>
                        <a:lnTo>
                          <a:pt x="337" y="679"/>
                        </a:lnTo>
                        <a:lnTo>
                          <a:pt x="330" y="667"/>
                        </a:lnTo>
                        <a:lnTo>
                          <a:pt x="305" y="698"/>
                        </a:lnTo>
                        <a:lnTo>
                          <a:pt x="299" y="698"/>
                        </a:lnTo>
                        <a:lnTo>
                          <a:pt x="299" y="717"/>
                        </a:lnTo>
                        <a:lnTo>
                          <a:pt x="292" y="743"/>
                        </a:lnTo>
                        <a:lnTo>
                          <a:pt x="292" y="876"/>
                        </a:lnTo>
                        <a:lnTo>
                          <a:pt x="305" y="914"/>
                        </a:lnTo>
                        <a:lnTo>
                          <a:pt x="311" y="952"/>
                        </a:lnTo>
                        <a:lnTo>
                          <a:pt x="311" y="997"/>
                        </a:lnTo>
                        <a:lnTo>
                          <a:pt x="324" y="1048"/>
                        </a:lnTo>
                        <a:lnTo>
                          <a:pt x="330" y="1092"/>
                        </a:lnTo>
                        <a:lnTo>
                          <a:pt x="337" y="1149"/>
                        </a:lnTo>
                        <a:lnTo>
                          <a:pt x="330" y="1162"/>
                        </a:lnTo>
                        <a:lnTo>
                          <a:pt x="337" y="1181"/>
                        </a:lnTo>
                        <a:lnTo>
                          <a:pt x="324" y="1206"/>
                        </a:lnTo>
                        <a:lnTo>
                          <a:pt x="324" y="1276"/>
                        </a:lnTo>
                        <a:lnTo>
                          <a:pt x="324" y="1282"/>
                        </a:lnTo>
                        <a:lnTo>
                          <a:pt x="318" y="1295"/>
                        </a:lnTo>
                        <a:lnTo>
                          <a:pt x="305" y="1302"/>
                        </a:lnTo>
                        <a:lnTo>
                          <a:pt x="280" y="1308"/>
                        </a:lnTo>
                        <a:lnTo>
                          <a:pt x="267" y="1308"/>
                        </a:lnTo>
                        <a:lnTo>
                          <a:pt x="254" y="1302"/>
                        </a:lnTo>
                        <a:lnTo>
                          <a:pt x="248" y="1282"/>
                        </a:lnTo>
                        <a:lnTo>
                          <a:pt x="254" y="1257"/>
                        </a:lnTo>
                        <a:lnTo>
                          <a:pt x="261" y="1238"/>
                        </a:lnTo>
                        <a:lnTo>
                          <a:pt x="267" y="1213"/>
                        </a:lnTo>
                        <a:lnTo>
                          <a:pt x="254" y="1187"/>
                        </a:lnTo>
                        <a:lnTo>
                          <a:pt x="261" y="1168"/>
                        </a:lnTo>
                        <a:lnTo>
                          <a:pt x="242" y="1130"/>
                        </a:lnTo>
                        <a:lnTo>
                          <a:pt x="222" y="1041"/>
                        </a:lnTo>
                        <a:lnTo>
                          <a:pt x="203" y="940"/>
                        </a:lnTo>
                        <a:lnTo>
                          <a:pt x="191" y="876"/>
                        </a:lnTo>
                        <a:lnTo>
                          <a:pt x="184" y="825"/>
                        </a:lnTo>
                        <a:lnTo>
                          <a:pt x="172" y="838"/>
                        </a:lnTo>
                        <a:lnTo>
                          <a:pt x="172" y="882"/>
                        </a:lnTo>
                        <a:lnTo>
                          <a:pt x="172" y="908"/>
                        </a:lnTo>
                        <a:lnTo>
                          <a:pt x="178" y="933"/>
                        </a:lnTo>
                        <a:lnTo>
                          <a:pt x="178" y="959"/>
                        </a:lnTo>
                        <a:lnTo>
                          <a:pt x="184" y="997"/>
                        </a:lnTo>
                        <a:lnTo>
                          <a:pt x="184" y="1054"/>
                        </a:lnTo>
                        <a:lnTo>
                          <a:pt x="191" y="1098"/>
                        </a:lnTo>
                        <a:lnTo>
                          <a:pt x="197" y="1111"/>
                        </a:lnTo>
                        <a:lnTo>
                          <a:pt x="203" y="1136"/>
                        </a:lnTo>
                        <a:lnTo>
                          <a:pt x="191" y="1155"/>
                        </a:lnTo>
                        <a:lnTo>
                          <a:pt x="191" y="1194"/>
                        </a:lnTo>
                        <a:lnTo>
                          <a:pt x="172" y="1206"/>
                        </a:lnTo>
                        <a:lnTo>
                          <a:pt x="165" y="1200"/>
                        </a:lnTo>
                        <a:lnTo>
                          <a:pt x="146" y="1225"/>
                        </a:lnTo>
                        <a:lnTo>
                          <a:pt x="140" y="1238"/>
                        </a:lnTo>
                        <a:lnTo>
                          <a:pt x="134" y="1244"/>
                        </a:lnTo>
                        <a:lnTo>
                          <a:pt x="121" y="1251"/>
                        </a:lnTo>
                        <a:lnTo>
                          <a:pt x="102" y="1251"/>
                        </a:lnTo>
                        <a:lnTo>
                          <a:pt x="76" y="1238"/>
                        </a:lnTo>
                        <a:lnTo>
                          <a:pt x="70" y="1225"/>
                        </a:lnTo>
                        <a:lnTo>
                          <a:pt x="89" y="1206"/>
                        </a:lnTo>
                        <a:lnTo>
                          <a:pt x="108" y="1181"/>
                        </a:lnTo>
                        <a:lnTo>
                          <a:pt x="121" y="1162"/>
                        </a:lnTo>
                        <a:lnTo>
                          <a:pt x="121" y="1136"/>
                        </a:lnTo>
                        <a:lnTo>
                          <a:pt x="102" y="1124"/>
                        </a:lnTo>
                        <a:lnTo>
                          <a:pt x="102" y="1111"/>
                        </a:lnTo>
                        <a:lnTo>
                          <a:pt x="95" y="1060"/>
                        </a:lnTo>
                        <a:lnTo>
                          <a:pt x="89" y="1022"/>
                        </a:lnTo>
                        <a:lnTo>
                          <a:pt x="83" y="965"/>
                        </a:lnTo>
                        <a:lnTo>
                          <a:pt x="64" y="889"/>
                        </a:lnTo>
                        <a:lnTo>
                          <a:pt x="51" y="819"/>
                        </a:lnTo>
                        <a:lnTo>
                          <a:pt x="38" y="749"/>
                        </a:lnTo>
                        <a:lnTo>
                          <a:pt x="32" y="730"/>
                        </a:lnTo>
                        <a:lnTo>
                          <a:pt x="7" y="692"/>
                        </a:lnTo>
                        <a:lnTo>
                          <a:pt x="0" y="654"/>
                        </a:lnTo>
                        <a:lnTo>
                          <a:pt x="7" y="597"/>
                        </a:lnTo>
                        <a:lnTo>
                          <a:pt x="7" y="520"/>
                        </a:lnTo>
                        <a:lnTo>
                          <a:pt x="19" y="470"/>
                        </a:lnTo>
                        <a:lnTo>
                          <a:pt x="26" y="406"/>
                        </a:lnTo>
                        <a:lnTo>
                          <a:pt x="32" y="336"/>
                        </a:lnTo>
                        <a:lnTo>
                          <a:pt x="38" y="298"/>
                        </a:lnTo>
                        <a:lnTo>
                          <a:pt x="38" y="292"/>
                        </a:lnTo>
                        <a:lnTo>
                          <a:pt x="57" y="27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dirty="0">
                      <a:latin typeface="+mn-lt"/>
                      <a:ea typeface="+mn-ea"/>
                    </a:endParaRPr>
                  </a:p>
                </p:txBody>
              </p:sp>
            </p:grpSp>
            <p:sp>
              <p:nvSpPr>
                <p:cNvPr id="85" name="Freeform 382"/>
                <p:cNvSpPr>
                  <a:spLocks/>
                </p:cNvSpPr>
                <p:nvPr/>
              </p:nvSpPr>
              <p:spPr bwMode="auto">
                <a:xfrm>
                  <a:off x="507474" y="1004876"/>
                  <a:ext cx="758359" cy="2064115"/>
                </a:xfrm>
                <a:custGeom>
                  <a:avLst/>
                  <a:gdLst>
                    <a:gd name="T0" fmla="*/ 2147483647 w 133"/>
                    <a:gd name="T1" fmla="*/ 0 h 362"/>
                    <a:gd name="T2" fmla="*/ 2147483647 w 133"/>
                    <a:gd name="T3" fmla="*/ 2147483647 h 362"/>
                    <a:gd name="T4" fmla="*/ 2147483647 w 133"/>
                    <a:gd name="T5" fmla="*/ 2147483647 h 362"/>
                    <a:gd name="T6" fmla="*/ 2147483647 w 133"/>
                    <a:gd name="T7" fmla="*/ 2147483647 h 362"/>
                    <a:gd name="T8" fmla="*/ 2147483647 w 133"/>
                    <a:gd name="T9" fmla="*/ 2147483647 h 362"/>
                    <a:gd name="T10" fmla="*/ 2147483647 w 133"/>
                    <a:gd name="T11" fmla="*/ 2147483647 h 362"/>
                    <a:gd name="T12" fmla="*/ 2147483647 w 133"/>
                    <a:gd name="T13" fmla="*/ 2147483647 h 362"/>
                    <a:gd name="T14" fmla="*/ 2147483647 w 133"/>
                    <a:gd name="T15" fmla="*/ 2147483647 h 362"/>
                    <a:gd name="T16" fmla="*/ 2147483647 w 133"/>
                    <a:gd name="T17" fmla="*/ 2147483647 h 362"/>
                    <a:gd name="T18" fmla="*/ 2147483647 w 133"/>
                    <a:gd name="T19" fmla="*/ 2147483647 h 362"/>
                    <a:gd name="T20" fmla="*/ 0 w 133"/>
                    <a:gd name="T21" fmla="*/ 2147483647 h 362"/>
                    <a:gd name="T22" fmla="*/ 2147483647 w 133"/>
                    <a:gd name="T23" fmla="*/ 2147483647 h 362"/>
                    <a:gd name="T24" fmla="*/ 2147483647 w 133"/>
                    <a:gd name="T25" fmla="*/ 2147483647 h 362"/>
                    <a:gd name="T26" fmla="*/ 2147483647 w 133"/>
                    <a:gd name="T27" fmla="*/ 2147483647 h 362"/>
                    <a:gd name="T28" fmla="*/ 2147483647 w 133"/>
                    <a:gd name="T29" fmla="*/ 2147483647 h 362"/>
                    <a:gd name="T30" fmla="*/ 2147483647 w 133"/>
                    <a:gd name="T31" fmla="*/ 2147483647 h 362"/>
                    <a:gd name="T32" fmla="*/ 2147483647 w 133"/>
                    <a:gd name="T33" fmla="*/ 2147483647 h 362"/>
                    <a:gd name="T34" fmla="*/ 2147483647 w 133"/>
                    <a:gd name="T35" fmla="*/ 2147483647 h 362"/>
                    <a:gd name="T36" fmla="*/ 2147483647 w 133"/>
                    <a:gd name="T37" fmla="*/ 2147483647 h 362"/>
                    <a:gd name="T38" fmla="*/ 2147483647 w 133"/>
                    <a:gd name="T39" fmla="*/ 2147483647 h 362"/>
                    <a:gd name="T40" fmla="*/ 2147483647 w 133"/>
                    <a:gd name="T41" fmla="*/ 2147483647 h 362"/>
                    <a:gd name="T42" fmla="*/ 2147483647 w 133"/>
                    <a:gd name="T43" fmla="*/ 2147483647 h 362"/>
                    <a:gd name="T44" fmla="*/ 2147483647 w 133"/>
                    <a:gd name="T45" fmla="*/ 2147483647 h 362"/>
                    <a:gd name="T46" fmla="*/ 2147483647 w 133"/>
                    <a:gd name="T47" fmla="*/ 2147483647 h 362"/>
                    <a:gd name="T48" fmla="*/ 2147483647 w 133"/>
                    <a:gd name="T49" fmla="*/ 2147483647 h 362"/>
                    <a:gd name="T50" fmla="*/ 2147483647 w 133"/>
                    <a:gd name="T51" fmla="*/ 2147483647 h 362"/>
                    <a:gd name="T52" fmla="*/ 2147483647 w 133"/>
                    <a:gd name="T53" fmla="*/ 2147483647 h 362"/>
                    <a:gd name="T54" fmla="*/ 2147483647 w 133"/>
                    <a:gd name="T55" fmla="*/ 2147483647 h 362"/>
                    <a:gd name="T56" fmla="*/ 2147483647 w 133"/>
                    <a:gd name="T57" fmla="*/ 2147483647 h 362"/>
                    <a:gd name="T58" fmla="*/ 2147483647 w 133"/>
                    <a:gd name="T59" fmla="*/ 2147483647 h 362"/>
                    <a:gd name="T60" fmla="*/ 2147483647 w 133"/>
                    <a:gd name="T61" fmla="*/ 2147483647 h 362"/>
                    <a:gd name="T62" fmla="*/ 2147483647 w 133"/>
                    <a:gd name="T63" fmla="*/ 2147483647 h 362"/>
                    <a:gd name="T64" fmla="*/ 2147483647 w 133"/>
                    <a:gd name="T65" fmla="*/ 2147483647 h 362"/>
                    <a:gd name="T66" fmla="*/ 2147483647 w 133"/>
                    <a:gd name="T67" fmla="*/ 2147483647 h 362"/>
                    <a:gd name="T68" fmla="*/ 2147483647 w 133"/>
                    <a:gd name="T69" fmla="*/ 2147483647 h 362"/>
                    <a:gd name="T70" fmla="*/ 2147483647 w 133"/>
                    <a:gd name="T71" fmla="*/ 2147483647 h 362"/>
                    <a:gd name="T72" fmla="*/ 2147483647 w 133"/>
                    <a:gd name="T73" fmla="*/ 0 h 362"/>
                    <a:gd name="T74" fmla="*/ 2147483647 w 133"/>
                    <a:gd name="T75" fmla="*/ 0 h 36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33"/>
                    <a:gd name="T115" fmla="*/ 0 h 362"/>
                    <a:gd name="T116" fmla="*/ 133 w 133"/>
                    <a:gd name="T117" fmla="*/ 362 h 36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33" h="362">
                      <a:moveTo>
                        <a:pt x="127" y="0"/>
                      </a:moveTo>
                      <a:lnTo>
                        <a:pt x="133" y="12"/>
                      </a:lnTo>
                      <a:lnTo>
                        <a:pt x="102" y="165"/>
                      </a:lnTo>
                      <a:lnTo>
                        <a:pt x="83" y="279"/>
                      </a:lnTo>
                      <a:lnTo>
                        <a:pt x="83" y="330"/>
                      </a:lnTo>
                      <a:lnTo>
                        <a:pt x="89" y="355"/>
                      </a:lnTo>
                      <a:lnTo>
                        <a:pt x="57" y="362"/>
                      </a:lnTo>
                      <a:lnTo>
                        <a:pt x="25" y="362"/>
                      </a:lnTo>
                      <a:lnTo>
                        <a:pt x="0" y="355"/>
                      </a:lnTo>
                      <a:lnTo>
                        <a:pt x="6" y="304"/>
                      </a:lnTo>
                      <a:lnTo>
                        <a:pt x="13" y="298"/>
                      </a:lnTo>
                      <a:lnTo>
                        <a:pt x="38" y="317"/>
                      </a:lnTo>
                      <a:lnTo>
                        <a:pt x="76" y="292"/>
                      </a:lnTo>
                      <a:lnTo>
                        <a:pt x="76" y="228"/>
                      </a:lnTo>
                      <a:lnTo>
                        <a:pt x="83" y="165"/>
                      </a:lnTo>
                      <a:lnTo>
                        <a:pt x="76" y="108"/>
                      </a:lnTo>
                      <a:lnTo>
                        <a:pt x="76" y="63"/>
                      </a:lnTo>
                      <a:lnTo>
                        <a:pt x="83" y="44"/>
                      </a:lnTo>
                      <a:lnTo>
                        <a:pt x="57" y="44"/>
                      </a:lnTo>
                      <a:lnTo>
                        <a:pt x="45" y="57"/>
                      </a:lnTo>
                      <a:lnTo>
                        <a:pt x="57" y="69"/>
                      </a:lnTo>
                      <a:lnTo>
                        <a:pt x="45" y="146"/>
                      </a:lnTo>
                      <a:lnTo>
                        <a:pt x="25" y="216"/>
                      </a:lnTo>
                      <a:lnTo>
                        <a:pt x="32" y="165"/>
                      </a:lnTo>
                      <a:lnTo>
                        <a:pt x="32" y="101"/>
                      </a:lnTo>
                      <a:lnTo>
                        <a:pt x="38" y="63"/>
                      </a:lnTo>
                      <a:lnTo>
                        <a:pt x="38" y="31"/>
                      </a:lnTo>
                      <a:lnTo>
                        <a:pt x="45" y="25"/>
                      </a:lnTo>
                      <a:lnTo>
                        <a:pt x="64" y="38"/>
                      </a:lnTo>
                      <a:lnTo>
                        <a:pt x="76" y="38"/>
                      </a:lnTo>
                      <a:lnTo>
                        <a:pt x="102" y="19"/>
                      </a:lnTo>
                      <a:lnTo>
                        <a:pt x="121" y="6"/>
                      </a:lnTo>
                      <a:lnTo>
                        <a:pt x="12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86" name="Freeform 383"/>
                <p:cNvSpPr>
                  <a:spLocks/>
                </p:cNvSpPr>
                <p:nvPr/>
              </p:nvSpPr>
              <p:spPr bwMode="auto">
                <a:xfrm>
                  <a:off x="2605801" y="1147430"/>
                  <a:ext cx="473259" cy="1699187"/>
                </a:xfrm>
                <a:custGeom>
                  <a:avLst/>
                  <a:gdLst>
                    <a:gd name="T0" fmla="*/ 2147483647 w 83"/>
                    <a:gd name="T1" fmla="*/ 0 h 298"/>
                    <a:gd name="T2" fmla="*/ 2147483647 w 83"/>
                    <a:gd name="T3" fmla="*/ 2147483647 h 298"/>
                    <a:gd name="T4" fmla="*/ 2147483647 w 83"/>
                    <a:gd name="T5" fmla="*/ 2147483647 h 298"/>
                    <a:gd name="T6" fmla="*/ 2147483647 w 83"/>
                    <a:gd name="T7" fmla="*/ 2147483647 h 298"/>
                    <a:gd name="T8" fmla="*/ 2147483647 w 83"/>
                    <a:gd name="T9" fmla="*/ 2147483647 h 298"/>
                    <a:gd name="T10" fmla="*/ 2147483647 w 83"/>
                    <a:gd name="T11" fmla="*/ 2147483647 h 298"/>
                    <a:gd name="T12" fmla="*/ 2147483647 w 83"/>
                    <a:gd name="T13" fmla="*/ 2147483647 h 298"/>
                    <a:gd name="T14" fmla="*/ 2147483647 w 83"/>
                    <a:gd name="T15" fmla="*/ 2147483647 h 298"/>
                    <a:gd name="T16" fmla="*/ 2147483647 w 83"/>
                    <a:gd name="T17" fmla="*/ 2147483647 h 298"/>
                    <a:gd name="T18" fmla="*/ 2147483647 w 83"/>
                    <a:gd name="T19" fmla="*/ 2147483647 h 298"/>
                    <a:gd name="T20" fmla="*/ 2147483647 w 83"/>
                    <a:gd name="T21" fmla="*/ 2147483647 h 298"/>
                    <a:gd name="T22" fmla="*/ 2147483647 w 83"/>
                    <a:gd name="T23" fmla="*/ 2147483647 h 298"/>
                    <a:gd name="T24" fmla="*/ 2147483647 w 83"/>
                    <a:gd name="T25" fmla="*/ 2147483647 h 298"/>
                    <a:gd name="T26" fmla="*/ 2147483647 w 83"/>
                    <a:gd name="T27" fmla="*/ 2147483647 h 298"/>
                    <a:gd name="T28" fmla="*/ 2147483647 w 83"/>
                    <a:gd name="T29" fmla="*/ 2147483647 h 298"/>
                    <a:gd name="T30" fmla="*/ 2147483647 w 83"/>
                    <a:gd name="T31" fmla="*/ 2147483647 h 298"/>
                    <a:gd name="T32" fmla="*/ 0 w 83"/>
                    <a:gd name="T33" fmla="*/ 2147483647 h 298"/>
                    <a:gd name="T34" fmla="*/ 2147483647 w 83"/>
                    <a:gd name="T35" fmla="*/ 0 h 2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3"/>
                    <a:gd name="T55" fmla="*/ 0 h 298"/>
                    <a:gd name="T56" fmla="*/ 83 w 83"/>
                    <a:gd name="T57" fmla="*/ 298 h 29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3" h="298">
                      <a:moveTo>
                        <a:pt x="13" y="0"/>
                      </a:moveTo>
                      <a:lnTo>
                        <a:pt x="32" y="6"/>
                      </a:lnTo>
                      <a:lnTo>
                        <a:pt x="45" y="25"/>
                      </a:lnTo>
                      <a:lnTo>
                        <a:pt x="39" y="44"/>
                      </a:lnTo>
                      <a:lnTo>
                        <a:pt x="64" y="95"/>
                      </a:lnTo>
                      <a:lnTo>
                        <a:pt x="64" y="114"/>
                      </a:lnTo>
                      <a:lnTo>
                        <a:pt x="70" y="146"/>
                      </a:lnTo>
                      <a:lnTo>
                        <a:pt x="83" y="241"/>
                      </a:lnTo>
                      <a:lnTo>
                        <a:pt x="83" y="267"/>
                      </a:lnTo>
                      <a:lnTo>
                        <a:pt x="58" y="298"/>
                      </a:lnTo>
                      <a:lnTo>
                        <a:pt x="20" y="273"/>
                      </a:lnTo>
                      <a:lnTo>
                        <a:pt x="7" y="133"/>
                      </a:lnTo>
                      <a:lnTo>
                        <a:pt x="7" y="70"/>
                      </a:lnTo>
                      <a:lnTo>
                        <a:pt x="20" y="38"/>
                      </a:lnTo>
                      <a:lnTo>
                        <a:pt x="0" y="19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87" name="Freeform 384"/>
                <p:cNvSpPr>
                  <a:spLocks/>
                </p:cNvSpPr>
                <p:nvPr/>
              </p:nvSpPr>
              <p:spPr bwMode="auto">
                <a:xfrm>
                  <a:off x="3694877" y="1039092"/>
                  <a:ext cx="473267" cy="650026"/>
                </a:xfrm>
                <a:custGeom>
                  <a:avLst/>
                  <a:gdLst>
                    <a:gd name="T0" fmla="*/ 2147483647 w 83"/>
                    <a:gd name="T1" fmla="*/ 2147483647 h 114"/>
                    <a:gd name="T2" fmla="*/ 2147483647 w 83"/>
                    <a:gd name="T3" fmla="*/ 2147483647 h 114"/>
                    <a:gd name="T4" fmla="*/ 2147483647 w 83"/>
                    <a:gd name="T5" fmla="*/ 2147483647 h 114"/>
                    <a:gd name="T6" fmla="*/ 0 w 83"/>
                    <a:gd name="T7" fmla="*/ 2147483647 h 114"/>
                    <a:gd name="T8" fmla="*/ 2147483647 w 83"/>
                    <a:gd name="T9" fmla="*/ 2147483647 h 114"/>
                    <a:gd name="T10" fmla="*/ 2147483647 w 83"/>
                    <a:gd name="T11" fmla="*/ 2147483647 h 114"/>
                    <a:gd name="T12" fmla="*/ 2147483647 w 83"/>
                    <a:gd name="T13" fmla="*/ 2147483647 h 114"/>
                    <a:gd name="T14" fmla="*/ 2147483647 w 83"/>
                    <a:gd name="T15" fmla="*/ 2147483647 h 114"/>
                    <a:gd name="T16" fmla="*/ 2147483647 w 83"/>
                    <a:gd name="T17" fmla="*/ 2147483647 h 114"/>
                    <a:gd name="T18" fmla="*/ 2147483647 w 83"/>
                    <a:gd name="T19" fmla="*/ 0 h 114"/>
                    <a:gd name="T20" fmla="*/ 2147483647 w 83"/>
                    <a:gd name="T21" fmla="*/ 2147483647 h 114"/>
                    <a:gd name="T22" fmla="*/ 2147483647 w 83"/>
                    <a:gd name="T23" fmla="*/ 2147483647 h 114"/>
                    <a:gd name="T24" fmla="*/ 2147483647 w 83"/>
                    <a:gd name="T25" fmla="*/ 2147483647 h 114"/>
                    <a:gd name="T26" fmla="*/ 2147483647 w 83"/>
                    <a:gd name="T27" fmla="*/ 2147483647 h 1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3"/>
                    <a:gd name="T43" fmla="*/ 0 h 114"/>
                    <a:gd name="T44" fmla="*/ 83 w 83"/>
                    <a:gd name="T45" fmla="*/ 114 h 11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3" h="114">
                      <a:moveTo>
                        <a:pt x="25" y="114"/>
                      </a:moveTo>
                      <a:lnTo>
                        <a:pt x="19" y="114"/>
                      </a:lnTo>
                      <a:lnTo>
                        <a:pt x="13" y="76"/>
                      </a:lnTo>
                      <a:lnTo>
                        <a:pt x="0" y="57"/>
                      </a:lnTo>
                      <a:lnTo>
                        <a:pt x="6" y="32"/>
                      </a:lnTo>
                      <a:lnTo>
                        <a:pt x="13" y="13"/>
                      </a:lnTo>
                      <a:lnTo>
                        <a:pt x="25" y="32"/>
                      </a:lnTo>
                      <a:lnTo>
                        <a:pt x="44" y="32"/>
                      </a:lnTo>
                      <a:lnTo>
                        <a:pt x="70" y="19"/>
                      </a:lnTo>
                      <a:lnTo>
                        <a:pt x="83" y="0"/>
                      </a:lnTo>
                      <a:lnTo>
                        <a:pt x="83" y="32"/>
                      </a:lnTo>
                      <a:lnTo>
                        <a:pt x="57" y="57"/>
                      </a:lnTo>
                      <a:lnTo>
                        <a:pt x="44" y="76"/>
                      </a:lnTo>
                      <a:lnTo>
                        <a:pt x="25" y="1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  <p:grpSp>
            <p:nvGrpSpPr>
              <p:cNvPr id="52" name="Group 51"/>
              <p:cNvGrpSpPr/>
              <p:nvPr/>
            </p:nvGrpSpPr>
            <p:grpSpPr>
              <a:xfrm>
                <a:off x="2670209" y="2914105"/>
                <a:ext cx="660451" cy="729794"/>
                <a:chOff x="4699861" y="3091545"/>
                <a:chExt cx="409730" cy="452750"/>
              </a:xfrm>
              <a:solidFill>
                <a:schemeClr val="bg1">
                  <a:lumMod val="85000"/>
                </a:schemeClr>
              </a:solidFill>
              <a:effectLst/>
            </p:grpSpPr>
            <p:sp>
              <p:nvSpPr>
                <p:cNvPr id="80" name="Freeform 88"/>
                <p:cNvSpPr>
                  <a:spLocks/>
                </p:cNvSpPr>
                <p:nvPr/>
              </p:nvSpPr>
              <p:spPr bwMode="auto">
                <a:xfrm>
                  <a:off x="4699861" y="3152727"/>
                  <a:ext cx="409730" cy="391568"/>
                </a:xfrm>
                <a:custGeom>
                  <a:avLst/>
                  <a:gdLst>
                    <a:gd name="T0" fmla="*/ 2147483647 w 268"/>
                    <a:gd name="T1" fmla="*/ 0 h 256"/>
                    <a:gd name="T2" fmla="*/ 2147483647 w 268"/>
                    <a:gd name="T3" fmla="*/ 2147483647 h 256"/>
                    <a:gd name="T4" fmla="*/ 2147483647 w 268"/>
                    <a:gd name="T5" fmla="*/ 2147483647 h 256"/>
                    <a:gd name="T6" fmla="*/ 0 w 268"/>
                    <a:gd name="T7" fmla="*/ 2147483647 h 256"/>
                    <a:gd name="T8" fmla="*/ 2147483647 w 268"/>
                    <a:gd name="T9" fmla="*/ 0 h 25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8"/>
                    <a:gd name="T16" fmla="*/ 0 h 256"/>
                    <a:gd name="T17" fmla="*/ 268 w 268"/>
                    <a:gd name="T18" fmla="*/ 256 h 25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8" h="256">
                      <a:moveTo>
                        <a:pt x="68" y="0"/>
                      </a:moveTo>
                      <a:lnTo>
                        <a:pt x="268" y="6"/>
                      </a:lnTo>
                      <a:lnTo>
                        <a:pt x="232" y="256"/>
                      </a:lnTo>
                      <a:lnTo>
                        <a:pt x="0" y="246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81" name="Freeform 89"/>
                <p:cNvSpPr>
                  <a:spLocks noEditPoints="1"/>
                </p:cNvSpPr>
                <p:nvPr/>
              </p:nvSpPr>
              <p:spPr bwMode="auto">
                <a:xfrm>
                  <a:off x="4745726" y="3186377"/>
                  <a:ext cx="327172" cy="324268"/>
                </a:xfrm>
                <a:custGeom>
                  <a:avLst/>
                  <a:gdLst>
                    <a:gd name="T0" fmla="*/ 2147483647 w 214"/>
                    <a:gd name="T1" fmla="*/ 2147483647 h 212"/>
                    <a:gd name="T2" fmla="*/ 2147483647 w 214"/>
                    <a:gd name="T3" fmla="*/ 2147483647 h 212"/>
                    <a:gd name="T4" fmla="*/ 2147483647 w 214"/>
                    <a:gd name="T5" fmla="*/ 2147483647 h 212"/>
                    <a:gd name="T6" fmla="*/ 2147483647 w 214"/>
                    <a:gd name="T7" fmla="*/ 2147483647 h 212"/>
                    <a:gd name="T8" fmla="*/ 2147483647 w 214"/>
                    <a:gd name="T9" fmla="*/ 2147483647 h 212"/>
                    <a:gd name="T10" fmla="*/ 2147483647 w 214"/>
                    <a:gd name="T11" fmla="*/ 2147483647 h 212"/>
                    <a:gd name="T12" fmla="*/ 2147483647 w 214"/>
                    <a:gd name="T13" fmla="*/ 2147483647 h 212"/>
                    <a:gd name="T14" fmla="*/ 2147483647 w 214"/>
                    <a:gd name="T15" fmla="*/ 2147483647 h 212"/>
                    <a:gd name="T16" fmla="*/ 2147483647 w 214"/>
                    <a:gd name="T17" fmla="*/ 2147483647 h 212"/>
                    <a:gd name="T18" fmla="*/ 2147483647 w 214"/>
                    <a:gd name="T19" fmla="*/ 2147483647 h 212"/>
                    <a:gd name="T20" fmla="*/ 2147483647 w 214"/>
                    <a:gd name="T21" fmla="*/ 2147483647 h 212"/>
                    <a:gd name="T22" fmla="*/ 2147483647 w 214"/>
                    <a:gd name="T23" fmla="*/ 2147483647 h 212"/>
                    <a:gd name="T24" fmla="*/ 2147483647 w 214"/>
                    <a:gd name="T25" fmla="*/ 2147483647 h 212"/>
                    <a:gd name="T26" fmla="*/ 2147483647 w 214"/>
                    <a:gd name="T27" fmla="*/ 2147483647 h 212"/>
                    <a:gd name="T28" fmla="*/ 2147483647 w 214"/>
                    <a:gd name="T29" fmla="*/ 2147483647 h 212"/>
                    <a:gd name="T30" fmla="*/ 2147483647 w 214"/>
                    <a:gd name="T31" fmla="*/ 2147483647 h 212"/>
                    <a:gd name="T32" fmla="*/ 2147483647 w 214"/>
                    <a:gd name="T33" fmla="*/ 2147483647 h 212"/>
                    <a:gd name="T34" fmla="*/ 2147483647 w 214"/>
                    <a:gd name="T35" fmla="*/ 2147483647 h 212"/>
                    <a:gd name="T36" fmla="*/ 2147483647 w 214"/>
                    <a:gd name="T37" fmla="*/ 2147483647 h 212"/>
                    <a:gd name="T38" fmla="*/ 2147483647 w 214"/>
                    <a:gd name="T39" fmla="*/ 2147483647 h 212"/>
                    <a:gd name="T40" fmla="*/ 2147483647 w 214"/>
                    <a:gd name="T41" fmla="*/ 2147483647 h 212"/>
                    <a:gd name="T42" fmla="*/ 2147483647 w 214"/>
                    <a:gd name="T43" fmla="*/ 2147483647 h 212"/>
                    <a:gd name="T44" fmla="*/ 2147483647 w 214"/>
                    <a:gd name="T45" fmla="*/ 2147483647 h 212"/>
                    <a:gd name="T46" fmla="*/ 2147483647 w 214"/>
                    <a:gd name="T47" fmla="*/ 2147483647 h 212"/>
                    <a:gd name="T48" fmla="*/ 2147483647 w 214"/>
                    <a:gd name="T49" fmla="*/ 2147483647 h 212"/>
                    <a:gd name="T50" fmla="*/ 2147483647 w 214"/>
                    <a:gd name="T51" fmla="*/ 2147483647 h 212"/>
                    <a:gd name="T52" fmla="*/ 2147483647 w 214"/>
                    <a:gd name="T53" fmla="*/ 2147483647 h 212"/>
                    <a:gd name="T54" fmla="*/ 2147483647 w 214"/>
                    <a:gd name="T55" fmla="*/ 2147483647 h 212"/>
                    <a:gd name="T56" fmla="*/ 2147483647 w 214"/>
                    <a:gd name="T57" fmla="*/ 2147483647 h 212"/>
                    <a:gd name="T58" fmla="*/ 2147483647 w 214"/>
                    <a:gd name="T59" fmla="*/ 2147483647 h 212"/>
                    <a:gd name="T60" fmla="*/ 2147483647 w 214"/>
                    <a:gd name="T61" fmla="*/ 2147483647 h 212"/>
                    <a:gd name="T62" fmla="*/ 2147483647 w 214"/>
                    <a:gd name="T63" fmla="*/ 2147483647 h 212"/>
                    <a:gd name="T64" fmla="*/ 2147483647 w 214"/>
                    <a:gd name="T65" fmla="*/ 2147483647 h 212"/>
                    <a:gd name="T66" fmla="*/ 0 w 214"/>
                    <a:gd name="T67" fmla="*/ 2147483647 h 212"/>
                    <a:gd name="T68" fmla="*/ 2147483647 w 214"/>
                    <a:gd name="T69" fmla="*/ 2147483647 h 212"/>
                    <a:gd name="T70" fmla="*/ 2147483647 w 214"/>
                    <a:gd name="T71" fmla="*/ 2147483647 h 212"/>
                    <a:gd name="T72" fmla="*/ 2147483647 w 214"/>
                    <a:gd name="T73" fmla="*/ 0 h 212"/>
                    <a:gd name="T74" fmla="*/ 2147483647 w 214"/>
                    <a:gd name="T75" fmla="*/ 2147483647 h 212"/>
                    <a:gd name="T76" fmla="*/ 2147483647 w 214"/>
                    <a:gd name="T77" fmla="*/ 2147483647 h 212"/>
                    <a:gd name="T78" fmla="*/ 2147483647 w 214"/>
                    <a:gd name="T79" fmla="*/ 2147483647 h 212"/>
                    <a:gd name="T80" fmla="*/ 2147483647 w 214"/>
                    <a:gd name="T81" fmla="*/ 0 h 21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14"/>
                    <a:gd name="T124" fmla="*/ 0 h 212"/>
                    <a:gd name="T125" fmla="*/ 214 w 214"/>
                    <a:gd name="T126" fmla="*/ 212 h 21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14" h="212">
                      <a:moveTo>
                        <a:pt x="44" y="32"/>
                      </a:moveTo>
                      <a:lnTo>
                        <a:pt x="208" y="38"/>
                      </a:lnTo>
                      <a:lnTo>
                        <a:pt x="206" y="50"/>
                      </a:lnTo>
                      <a:lnTo>
                        <a:pt x="40" y="44"/>
                      </a:lnTo>
                      <a:lnTo>
                        <a:pt x="44" y="32"/>
                      </a:lnTo>
                      <a:close/>
                      <a:moveTo>
                        <a:pt x="36" y="64"/>
                      </a:moveTo>
                      <a:lnTo>
                        <a:pt x="204" y="70"/>
                      </a:lnTo>
                      <a:lnTo>
                        <a:pt x="202" y="84"/>
                      </a:lnTo>
                      <a:lnTo>
                        <a:pt x="32" y="78"/>
                      </a:lnTo>
                      <a:lnTo>
                        <a:pt x="36" y="64"/>
                      </a:lnTo>
                      <a:close/>
                      <a:moveTo>
                        <a:pt x="28" y="96"/>
                      </a:moveTo>
                      <a:lnTo>
                        <a:pt x="198" y="102"/>
                      </a:lnTo>
                      <a:lnTo>
                        <a:pt x="196" y="116"/>
                      </a:lnTo>
                      <a:lnTo>
                        <a:pt x="24" y="108"/>
                      </a:lnTo>
                      <a:lnTo>
                        <a:pt x="28" y="96"/>
                      </a:lnTo>
                      <a:close/>
                      <a:moveTo>
                        <a:pt x="20" y="128"/>
                      </a:moveTo>
                      <a:lnTo>
                        <a:pt x="194" y="134"/>
                      </a:lnTo>
                      <a:lnTo>
                        <a:pt x="192" y="148"/>
                      </a:lnTo>
                      <a:lnTo>
                        <a:pt x="16" y="140"/>
                      </a:lnTo>
                      <a:lnTo>
                        <a:pt x="20" y="128"/>
                      </a:lnTo>
                      <a:close/>
                      <a:moveTo>
                        <a:pt x="10" y="160"/>
                      </a:moveTo>
                      <a:lnTo>
                        <a:pt x="188" y="166"/>
                      </a:lnTo>
                      <a:lnTo>
                        <a:pt x="186" y="180"/>
                      </a:lnTo>
                      <a:lnTo>
                        <a:pt x="6" y="172"/>
                      </a:lnTo>
                      <a:lnTo>
                        <a:pt x="10" y="160"/>
                      </a:lnTo>
                      <a:close/>
                      <a:moveTo>
                        <a:pt x="2" y="192"/>
                      </a:moveTo>
                      <a:lnTo>
                        <a:pt x="184" y="200"/>
                      </a:lnTo>
                      <a:lnTo>
                        <a:pt x="182" y="212"/>
                      </a:lnTo>
                      <a:lnTo>
                        <a:pt x="0" y="204"/>
                      </a:lnTo>
                      <a:lnTo>
                        <a:pt x="2" y="192"/>
                      </a:lnTo>
                      <a:close/>
                      <a:moveTo>
                        <a:pt x="52" y="0"/>
                      </a:moveTo>
                      <a:lnTo>
                        <a:pt x="214" y="6"/>
                      </a:lnTo>
                      <a:lnTo>
                        <a:pt x="212" y="18"/>
                      </a:lnTo>
                      <a:lnTo>
                        <a:pt x="50" y="12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82" name="Freeform 90"/>
                <p:cNvSpPr>
                  <a:spLocks/>
                </p:cNvSpPr>
                <p:nvPr/>
              </p:nvSpPr>
              <p:spPr bwMode="auto">
                <a:xfrm>
                  <a:off x="4699865" y="3091545"/>
                  <a:ext cx="379153" cy="437455"/>
                </a:xfrm>
                <a:custGeom>
                  <a:avLst/>
                  <a:gdLst>
                    <a:gd name="T0" fmla="*/ 2147483647 w 248"/>
                    <a:gd name="T1" fmla="*/ 2147483647 h 286"/>
                    <a:gd name="T2" fmla="*/ 2147483647 w 248"/>
                    <a:gd name="T3" fmla="*/ 2147483647 h 286"/>
                    <a:gd name="T4" fmla="*/ 2147483647 w 248"/>
                    <a:gd name="T5" fmla="*/ 2147483647 h 286"/>
                    <a:gd name="T6" fmla="*/ 2147483647 w 248"/>
                    <a:gd name="T7" fmla="*/ 2147483647 h 286"/>
                    <a:gd name="T8" fmla="*/ 2147483647 w 248"/>
                    <a:gd name="T9" fmla="*/ 2147483647 h 286"/>
                    <a:gd name="T10" fmla="*/ 2147483647 w 248"/>
                    <a:gd name="T11" fmla="*/ 0 h 286"/>
                    <a:gd name="T12" fmla="*/ 2147483647 w 248"/>
                    <a:gd name="T13" fmla="*/ 2147483647 h 286"/>
                    <a:gd name="T14" fmla="*/ 2147483647 w 248"/>
                    <a:gd name="T15" fmla="*/ 2147483647 h 286"/>
                    <a:gd name="T16" fmla="*/ 2147483647 w 248"/>
                    <a:gd name="T17" fmla="*/ 2147483647 h 286"/>
                    <a:gd name="T18" fmla="*/ 2147483647 w 248"/>
                    <a:gd name="T19" fmla="*/ 2147483647 h 286"/>
                    <a:gd name="T20" fmla="*/ 2147483647 w 248"/>
                    <a:gd name="T21" fmla="*/ 2147483647 h 286"/>
                    <a:gd name="T22" fmla="*/ 0 w 248"/>
                    <a:gd name="T23" fmla="*/ 2147483647 h 286"/>
                    <a:gd name="T24" fmla="*/ 2147483647 w 248"/>
                    <a:gd name="T25" fmla="*/ 2147483647 h 28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48"/>
                    <a:gd name="T40" fmla="*/ 0 h 286"/>
                    <a:gd name="T41" fmla="*/ 248 w 248"/>
                    <a:gd name="T42" fmla="*/ 286 h 28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48" h="286">
                      <a:moveTo>
                        <a:pt x="68" y="40"/>
                      </a:moveTo>
                      <a:lnTo>
                        <a:pt x="68" y="40"/>
                      </a:lnTo>
                      <a:lnTo>
                        <a:pt x="114" y="36"/>
                      </a:lnTo>
                      <a:lnTo>
                        <a:pt x="160" y="28"/>
                      </a:lnTo>
                      <a:lnTo>
                        <a:pt x="204" y="16"/>
                      </a:lnTo>
                      <a:lnTo>
                        <a:pt x="248" y="0"/>
                      </a:lnTo>
                      <a:lnTo>
                        <a:pt x="196" y="244"/>
                      </a:lnTo>
                      <a:lnTo>
                        <a:pt x="148" y="260"/>
                      </a:lnTo>
                      <a:lnTo>
                        <a:pt x="100" y="274"/>
                      </a:lnTo>
                      <a:lnTo>
                        <a:pt x="50" y="282"/>
                      </a:lnTo>
                      <a:lnTo>
                        <a:pt x="0" y="286"/>
                      </a:lnTo>
                      <a:lnTo>
                        <a:pt x="68" y="4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83" name="Freeform 92"/>
                <p:cNvSpPr>
                  <a:spLocks/>
                </p:cNvSpPr>
                <p:nvPr/>
              </p:nvSpPr>
              <p:spPr bwMode="auto">
                <a:xfrm>
                  <a:off x="4776308" y="3220026"/>
                  <a:ext cx="128423" cy="131543"/>
                </a:xfrm>
                <a:custGeom>
                  <a:avLst/>
                  <a:gdLst>
                    <a:gd name="T0" fmla="*/ 2147483647 w 84"/>
                    <a:gd name="T1" fmla="*/ 2147483647 h 86"/>
                    <a:gd name="T2" fmla="*/ 2147483647 w 84"/>
                    <a:gd name="T3" fmla="*/ 2147483647 h 86"/>
                    <a:gd name="T4" fmla="*/ 2147483647 w 84"/>
                    <a:gd name="T5" fmla="*/ 2147483647 h 86"/>
                    <a:gd name="T6" fmla="*/ 2147483647 w 84"/>
                    <a:gd name="T7" fmla="*/ 0 h 86"/>
                    <a:gd name="T8" fmla="*/ 2147483647 w 84"/>
                    <a:gd name="T9" fmla="*/ 2147483647 h 86"/>
                    <a:gd name="T10" fmla="*/ 2147483647 w 84"/>
                    <a:gd name="T11" fmla="*/ 2147483647 h 86"/>
                    <a:gd name="T12" fmla="*/ 2147483647 w 84"/>
                    <a:gd name="T13" fmla="*/ 2147483647 h 86"/>
                    <a:gd name="T14" fmla="*/ 0 w 84"/>
                    <a:gd name="T15" fmla="*/ 2147483647 h 86"/>
                    <a:gd name="T16" fmla="*/ 2147483647 w 84"/>
                    <a:gd name="T17" fmla="*/ 2147483647 h 8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4"/>
                    <a:gd name="T28" fmla="*/ 0 h 86"/>
                    <a:gd name="T29" fmla="*/ 84 w 84"/>
                    <a:gd name="T30" fmla="*/ 86 h 8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4" h="86">
                      <a:moveTo>
                        <a:pt x="22" y="10"/>
                      </a:moveTo>
                      <a:lnTo>
                        <a:pt x="22" y="10"/>
                      </a:lnTo>
                      <a:lnTo>
                        <a:pt x="52" y="6"/>
                      </a:lnTo>
                      <a:lnTo>
                        <a:pt x="84" y="0"/>
                      </a:lnTo>
                      <a:lnTo>
                        <a:pt x="64" y="78"/>
                      </a:lnTo>
                      <a:lnTo>
                        <a:pt x="32" y="82"/>
                      </a:lnTo>
                      <a:lnTo>
                        <a:pt x="0" y="86"/>
                      </a:lnTo>
                      <a:lnTo>
                        <a:pt x="22" y="1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53" name="Group 287"/>
              <p:cNvGrpSpPr>
                <a:grpSpLocks/>
              </p:cNvGrpSpPr>
              <p:nvPr/>
            </p:nvGrpSpPr>
            <p:grpSpPr bwMode="auto">
              <a:xfrm>
                <a:off x="5676900" y="1547813"/>
                <a:ext cx="828675" cy="450850"/>
                <a:chOff x="5038125" y="4776246"/>
                <a:chExt cx="829402" cy="451390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7" name="Freeform 76"/>
                <p:cNvSpPr>
                  <a:spLocks/>
                </p:cNvSpPr>
                <p:nvPr/>
              </p:nvSpPr>
              <p:spPr bwMode="auto">
                <a:xfrm>
                  <a:off x="5217670" y="4776246"/>
                  <a:ext cx="475078" cy="451390"/>
                </a:xfrm>
                <a:custGeom>
                  <a:avLst/>
                  <a:gdLst>
                    <a:gd name="T0" fmla="*/ 836 w 1482"/>
                    <a:gd name="T1" fmla="*/ 11 h 1412"/>
                    <a:gd name="T2" fmla="*/ 888 w 1482"/>
                    <a:gd name="T3" fmla="*/ 35 h 1412"/>
                    <a:gd name="T4" fmla="*/ 943 w 1482"/>
                    <a:gd name="T5" fmla="*/ 89 h 1412"/>
                    <a:gd name="T6" fmla="*/ 999 w 1482"/>
                    <a:gd name="T7" fmla="*/ 170 h 1412"/>
                    <a:gd name="T8" fmla="*/ 1027 w 1482"/>
                    <a:gd name="T9" fmla="*/ 254 h 1412"/>
                    <a:gd name="T10" fmla="*/ 1017 w 1482"/>
                    <a:gd name="T11" fmla="*/ 402 h 1412"/>
                    <a:gd name="T12" fmla="*/ 1024 w 1482"/>
                    <a:gd name="T13" fmla="*/ 459 h 1412"/>
                    <a:gd name="T14" fmla="*/ 1041 w 1482"/>
                    <a:gd name="T15" fmla="*/ 464 h 1412"/>
                    <a:gd name="T16" fmla="*/ 1038 w 1482"/>
                    <a:gd name="T17" fmla="*/ 532 h 1412"/>
                    <a:gd name="T18" fmla="*/ 1009 w 1482"/>
                    <a:gd name="T19" fmla="*/ 669 h 1412"/>
                    <a:gd name="T20" fmla="*/ 996 w 1482"/>
                    <a:gd name="T21" fmla="*/ 681 h 1412"/>
                    <a:gd name="T22" fmla="*/ 966 w 1482"/>
                    <a:gd name="T23" fmla="*/ 748 h 1412"/>
                    <a:gd name="T24" fmla="*/ 947 w 1482"/>
                    <a:gd name="T25" fmla="*/ 796 h 1412"/>
                    <a:gd name="T26" fmla="*/ 907 w 1482"/>
                    <a:gd name="T27" fmla="*/ 867 h 1412"/>
                    <a:gd name="T28" fmla="*/ 949 w 1482"/>
                    <a:gd name="T29" fmla="*/ 896 h 1412"/>
                    <a:gd name="T30" fmla="*/ 976 w 1482"/>
                    <a:gd name="T31" fmla="*/ 933 h 1412"/>
                    <a:gd name="T32" fmla="*/ 1092 w 1482"/>
                    <a:gd name="T33" fmla="*/ 991 h 1412"/>
                    <a:gd name="T34" fmla="*/ 1358 w 1482"/>
                    <a:gd name="T35" fmla="*/ 1104 h 1412"/>
                    <a:gd name="T36" fmla="*/ 1439 w 1482"/>
                    <a:gd name="T37" fmla="*/ 1152 h 1412"/>
                    <a:gd name="T38" fmla="*/ 1473 w 1482"/>
                    <a:gd name="T39" fmla="*/ 1189 h 1412"/>
                    <a:gd name="T40" fmla="*/ 1482 w 1482"/>
                    <a:gd name="T41" fmla="*/ 1232 h 1412"/>
                    <a:gd name="T42" fmla="*/ 1475 w 1482"/>
                    <a:gd name="T43" fmla="*/ 1397 h 1412"/>
                    <a:gd name="T44" fmla="*/ 828 w 1482"/>
                    <a:gd name="T45" fmla="*/ 1224 h 1412"/>
                    <a:gd name="T46" fmla="*/ 816 w 1482"/>
                    <a:gd name="T47" fmla="*/ 1179 h 1412"/>
                    <a:gd name="T48" fmla="*/ 874 w 1482"/>
                    <a:gd name="T49" fmla="*/ 1106 h 1412"/>
                    <a:gd name="T50" fmla="*/ 943 w 1482"/>
                    <a:gd name="T51" fmla="*/ 989 h 1412"/>
                    <a:gd name="T52" fmla="*/ 831 w 1482"/>
                    <a:gd name="T53" fmla="*/ 1093 h 1412"/>
                    <a:gd name="T54" fmla="*/ 742 w 1482"/>
                    <a:gd name="T55" fmla="*/ 1125 h 1412"/>
                    <a:gd name="T56" fmla="*/ 693 w 1482"/>
                    <a:gd name="T57" fmla="*/ 1119 h 1412"/>
                    <a:gd name="T58" fmla="*/ 601 w 1482"/>
                    <a:gd name="T59" fmla="*/ 1052 h 1412"/>
                    <a:gd name="T60" fmla="*/ 566 w 1482"/>
                    <a:gd name="T61" fmla="*/ 1037 h 1412"/>
                    <a:gd name="T62" fmla="*/ 653 w 1482"/>
                    <a:gd name="T63" fmla="*/ 1145 h 1412"/>
                    <a:gd name="T64" fmla="*/ 677 w 1482"/>
                    <a:gd name="T65" fmla="*/ 1191 h 1412"/>
                    <a:gd name="T66" fmla="*/ 676 w 1482"/>
                    <a:gd name="T67" fmla="*/ 1232 h 1412"/>
                    <a:gd name="T68" fmla="*/ 691 w 1482"/>
                    <a:gd name="T69" fmla="*/ 1262 h 1412"/>
                    <a:gd name="T70" fmla="*/ 689 w 1482"/>
                    <a:gd name="T71" fmla="*/ 1377 h 1412"/>
                    <a:gd name="T72" fmla="*/ 4 w 1482"/>
                    <a:gd name="T73" fmla="*/ 1333 h 1412"/>
                    <a:gd name="T74" fmla="*/ 1 w 1482"/>
                    <a:gd name="T75" fmla="*/ 1213 h 1412"/>
                    <a:gd name="T76" fmla="*/ 20 w 1482"/>
                    <a:gd name="T77" fmla="*/ 1175 h 1412"/>
                    <a:gd name="T78" fmla="*/ 67 w 1482"/>
                    <a:gd name="T79" fmla="*/ 1135 h 1412"/>
                    <a:gd name="T80" fmla="*/ 208 w 1482"/>
                    <a:gd name="T81" fmla="*/ 1066 h 1412"/>
                    <a:gd name="T82" fmla="*/ 473 w 1482"/>
                    <a:gd name="T83" fmla="*/ 954 h 1412"/>
                    <a:gd name="T84" fmla="*/ 521 w 1482"/>
                    <a:gd name="T85" fmla="*/ 917 h 1412"/>
                    <a:gd name="T86" fmla="*/ 539 w 1482"/>
                    <a:gd name="T87" fmla="*/ 874 h 1412"/>
                    <a:gd name="T88" fmla="*/ 569 w 1482"/>
                    <a:gd name="T89" fmla="*/ 832 h 1412"/>
                    <a:gd name="T90" fmla="*/ 528 w 1482"/>
                    <a:gd name="T91" fmla="*/ 784 h 1412"/>
                    <a:gd name="T92" fmla="*/ 507 w 1482"/>
                    <a:gd name="T93" fmla="*/ 690 h 1412"/>
                    <a:gd name="T94" fmla="*/ 481 w 1482"/>
                    <a:gd name="T95" fmla="*/ 680 h 1412"/>
                    <a:gd name="T96" fmla="*/ 462 w 1482"/>
                    <a:gd name="T97" fmla="*/ 631 h 1412"/>
                    <a:gd name="T98" fmla="*/ 438 w 1482"/>
                    <a:gd name="T99" fmla="*/ 481 h 1412"/>
                    <a:gd name="T100" fmla="*/ 442 w 1482"/>
                    <a:gd name="T101" fmla="*/ 462 h 1412"/>
                    <a:gd name="T102" fmla="*/ 461 w 1482"/>
                    <a:gd name="T103" fmla="*/ 460 h 1412"/>
                    <a:gd name="T104" fmla="*/ 455 w 1482"/>
                    <a:gd name="T105" fmla="*/ 432 h 1412"/>
                    <a:gd name="T106" fmla="*/ 438 w 1482"/>
                    <a:gd name="T107" fmla="*/ 359 h 1412"/>
                    <a:gd name="T108" fmla="*/ 440 w 1482"/>
                    <a:gd name="T109" fmla="*/ 246 h 1412"/>
                    <a:gd name="T110" fmla="*/ 459 w 1482"/>
                    <a:gd name="T111" fmla="*/ 140 h 1412"/>
                    <a:gd name="T112" fmla="*/ 485 w 1482"/>
                    <a:gd name="T113" fmla="*/ 90 h 1412"/>
                    <a:gd name="T114" fmla="*/ 510 w 1482"/>
                    <a:gd name="T115" fmla="*/ 77 h 1412"/>
                    <a:gd name="T116" fmla="*/ 557 w 1482"/>
                    <a:gd name="T117" fmla="*/ 69 h 1412"/>
                    <a:gd name="T118" fmla="*/ 604 w 1482"/>
                    <a:gd name="T119" fmla="*/ 28 h 1412"/>
                    <a:gd name="T120" fmla="*/ 670 w 1482"/>
                    <a:gd name="T121" fmla="*/ 6 h 1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482" h="1412">
                      <a:moveTo>
                        <a:pt x="741" y="0"/>
                      </a:moveTo>
                      <a:lnTo>
                        <a:pt x="765" y="1"/>
                      </a:lnTo>
                      <a:lnTo>
                        <a:pt x="788" y="2"/>
                      </a:lnTo>
                      <a:lnTo>
                        <a:pt x="812" y="6"/>
                      </a:lnTo>
                      <a:lnTo>
                        <a:pt x="836" y="11"/>
                      </a:lnTo>
                      <a:lnTo>
                        <a:pt x="846" y="15"/>
                      </a:lnTo>
                      <a:lnTo>
                        <a:pt x="857" y="19"/>
                      </a:lnTo>
                      <a:lnTo>
                        <a:pt x="868" y="24"/>
                      </a:lnTo>
                      <a:lnTo>
                        <a:pt x="878" y="28"/>
                      </a:lnTo>
                      <a:lnTo>
                        <a:pt x="888" y="35"/>
                      </a:lnTo>
                      <a:lnTo>
                        <a:pt x="897" y="41"/>
                      </a:lnTo>
                      <a:lnTo>
                        <a:pt x="905" y="49"/>
                      </a:lnTo>
                      <a:lnTo>
                        <a:pt x="914" y="57"/>
                      </a:lnTo>
                      <a:lnTo>
                        <a:pt x="929" y="74"/>
                      </a:lnTo>
                      <a:lnTo>
                        <a:pt x="943" y="89"/>
                      </a:lnTo>
                      <a:lnTo>
                        <a:pt x="956" y="105"/>
                      </a:lnTo>
                      <a:lnTo>
                        <a:pt x="968" y="121"/>
                      </a:lnTo>
                      <a:lnTo>
                        <a:pt x="979" y="138"/>
                      </a:lnTo>
                      <a:lnTo>
                        <a:pt x="989" y="154"/>
                      </a:lnTo>
                      <a:lnTo>
                        <a:pt x="999" y="170"/>
                      </a:lnTo>
                      <a:lnTo>
                        <a:pt x="1006" y="185"/>
                      </a:lnTo>
                      <a:lnTo>
                        <a:pt x="1013" y="202"/>
                      </a:lnTo>
                      <a:lnTo>
                        <a:pt x="1019" y="219"/>
                      </a:lnTo>
                      <a:lnTo>
                        <a:pt x="1023" y="237"/>
                      </a:lnTo>
                      <a:lnTo>
                        <a:pt x="1027" y="254"/>
                      </a:lnTo>
                      <a:lnTo>
                        <a:pt x="1029" y="273"/>
                      </a:lnTo>
                      <a:lnTo>
                        <a:pt x="1029" y="293"/>
                      </a:lnTo>
                      <a:lnTo>
                        <a:pt x="1028" y="312"/>
                      </a:lnTo>
                      <a:lnTo>
                        <a:pt x="1027" y="333"/>
                      </a:lnTo>
                      <a:lnTo>
                        <a:pt x="1017" y="402"/>
                      </a:lnTo>
                      <a:lnTo>
                        <a:pt x="1009" y="444"/>
                      </a:lnTo>
                      <a:lnTo>
                        <a:pt x="1004" y="464"/>
                      </a:lnTo>
                      <a:lnTo>
                        <a:pt x="1003" y="470"/>
                      </a:lnTo>
                      <a:lnTo>
                        <a:pt x="1010" y="465"/>
                      </a:lnTo>
                      <a:lnTo>
                        <a:pt x="1024" y="459"/>
                      </a:lnTo>
                      <a:lnTo>
                        <a:pt x="1028" y="459"/>
                      </a:lnTo>
                      <a:lnTo>
                        <a:pt x="1032" y="459"/>
                      </a:lnTo>
                      <a:lnTo>
                        <a:pt x="1036" y="459"/>
                      </a:lnTo>
                      <a:lnTo>
                        <a:pt x="1039" y="461"/>
                      </a:lnTo>
                      <a:lnTo>
                        <a:pt x="1041" y="464"/>
                      </a:lnTo>
                      <a:lnTo>
                        <a:pt x="1044" y="468"/>
                      </a:lnTo>
                      <a:lnTo>
                        <a:pt x="1044" y="474"/>
                      </a:lnTo>
                      <a:lnTo>
                        <a:pt x="1044" y="481"/>
                      </a:lnTo>
                      <a:lnTo>
                        <a:pt x="1043" y="503"/>
                      </a:lnTo>
                      <a:lnTo>
                        <a:pt x="1038" y="532"/>
                      </a:lnTo>
                      <a:lnTo>
                        <a:pt x="1034" y="566"/>
                      </a:lnTo>
                      <a:lnTo>
                        <a:pt x="1027" y="600"/>
                      </a:lnTo>
                      <a:lnTo>
                        <a:pt x="1020" y="631"/>
                      </a:lnTo>
                      <a:lnTo>
                        <a:pt x="1012" y="659"/>
                      </a:lnTo>
                      <a:lnTo>
                        <a:pt x="1009" y="669"/>
                      </a:lnTo>
                      <a:lnTo>
                        <a:pt x="1004" y="676"/>
                      </a:lnTo>
                      <a:lnTo>
                        <a:pt x="1003" y="678"/>
                      </a:lnTo>
                      <a:lnTo>
                        <a:pt x="1001" y="680"/>
                      </a:lnTo>
                      <a:lnTo>
                        <a:pt x="999" y="681"/>
                      </a:lnTo>
                      <a:lnTo>
                        <a:pt x="996" y="681"/>
                      </a:lnTo>
                      <a:lnTo>
                        <a:pt x="978" y="676"/>
                      </a:lnTo>
                      <a:lnTo>
                        <a:pt x="976" y="674"/>
                      </a:lnTo>
                      <a:lnTo>
                        <a:pt x="975" y="690"/>
                      </a:lnTo>
                      <a:lnTo>
                        <a:pt x="970" y="726"/>
                      </a:lnTo>
                      <a:lnTo>
                        <a:pt x="966" y="748"/>
                      </a:lnTo>
                      <a:lnTo>
                        <a:pt x="961" y="767"/>
                      </a:lnTo>
                      <a:lnTo>
                        <a:pt x="958" y="776"/>
                      </a:lnTo>
                      <a:lnTo>
                        <a:pt x="954" y="784"/>
                      </a:lnTo>
                      <a:lnTo>
                        <a:pt x="950" y="791"/>
                      </a:lnTo>
                      <a:lnTo>
                        <a:pt x="947" y="796"/>
                      </a:lnTo>
                      <a:lnTo>
                        <a:pt x="931" y="812"/>
                      </a:lnTo>
                      <a:lnTo>
                        <a:pt x="919" y="825"/>
                      </a:lnTo>
                      <a:lnTo>
                        <a:pt x="913" y="832"/>
                      </a:lnTo>
                      <a:lnTo>
                        <a:pt x="910" y="835"/>
                      </a:lnTo>
                      <a:lnTo>
                        <a:pt x="907" y="867"/>
                      </a:lnTo>
                      <a:lnTo>
                        <a:pt x="943" y="865"/>
                      </a:lnTo>
                      <a:lnTo>
                        <a:pt x="943" y="867"/>
                      </a:lnTo>
                      <a:lnTo>
                        <a:pt x="943" y="874"/>
                      </a:lnTo>
                      <a:lnTo>
                        <a:pt x="945" y="883"/>
                      </a:lnTo>
                      <a:lnTo>
                        <a:pt x="949" y="896"/>
                      </a:lnTo>
                      <a:lnTo>
                        <a:pt x="952" y="903"/>
                      </a:lnTo>
                      <a:lnTo>
                        <a:pt x="957" y="910"/>
                      </a:lnTo>
                      <a:lnTo>
                        <a:pt x="961" y="917"/>
                      </a:lnTo>
                      <a:lnTo>
                        <a:pt x="968" y="925"/>
                      </a:lnTo>
                      <a:lnTo>
                        <a:pt x="976" y="933"/>
                      </a:lnTo>
                      <a:lnTo>
                        <a:pt x="985" y="940"/>
                      </a:lnTo>
                      <a:lnTo>
                        <a:pt x="996" y="947"/>
                      </a:lnTo>
                      <a:lnTo>
                        <a:pt x="1009" y="954"/>
                      </a:lnTo>
                      <a:lnTo>
                        <a:pt x="1044" y="970"/>
                      </a:lnTo>
                      <a:lnTo>
                        <a:pt x="1092" y="991"/>
                      </a:lnTo>
                      <a:lnTo>
                        <a:pt x="1150" y="1014"/>
                      </a:lnTo>
                      <a:lnTo>
                        <a:pt x="1212" y="1040"/>
                      </a:lnTo>
                      <a:lnTo>
                        <a:pt x="1274" y="1066"/>
                      </a:lnTo>
                      <a:lnTo>
                        <a:pt x="1332" y="1092"/>
                      </a:lnTo>
                      <a:lnTo>
                        <a:pt x="1358" y="1104"/>
                      </a:lnTo>
                      <a:lnTo>
                        <a:pt x="1380" y="1115"/>
                      </a:lnTo>
                      <a:lnTo>
                        <a:pt x="1401" y="1126"/>
                      </a:lnTo>
                      <a:lnTo>
                        <a:pt x="1415" y="1135"/>
                      </a:lnTo>
                      <a:lnTo>
                        <a:pt x="1428" y="1144"/>
                      </a:lnTo>
                      <a:lnTo>
                        <a:pt x="1439" y="1152"/>
                      </a:lnTo>
                      <a:lnTo>
                        <a:pt x="1448" y="1160"/>
                      </a:lnTo>
                      <a:lnTo>
                        <a:pt x="1456" y="1167"/>
                      </a:lnTo>
                      <a:lnTo>
                        <a:pt x="1463" y="1175"/>
                      </a:lnTo>
                      <a:lnTo>
                        <a:pt x="1468" y="1181"/>
                      </a:lnTo>
                      <a:lnTo>
                        <a:pt x="1473" y="1189"/>
                      </a:lnTo>
                      <a:lnTo>
                        <a:pt x="1476" y="1197"/>
                      </a:lnTo>
                      <a:lnTo>
                        <a:pt x="1478" y="1205"/>
                      </a:lnTo>
                      <a:lnTo>
                        <a:pt x="1481" y="1213"/>
                      </a:lnTo>
                      <a:lnTo>
                        <a:pt x="1482" y="1222"/>
                      </a:lnTo>
                      <a:lnTo>
                        <a:pt x="1482" y="1232"/>
                      </a:lnTo>
                      <a:lnTo>
                        <a:pt x="1482" y="1255"/>
                      </a:lnTo>
                      <a:lnTo>
                        <a:pt x="1481" y="1281"/>
                      </a:lnTo>
                      <a:lnTo>
                        <a:pt x="1478" y="1333"/>
                      </a:lnTo>
                      <a:lnTo>
                        <a:pt x="1477" y="1372"/>
                      </a:lnTo>
                      <a:lnTo>
                        <a:pt x="1475" y="1397"/>
                      </a:lnTo>
                      <a:lnTo>
                        <a:pt x="1475" y="1406"/>
                      </a:lnTo>
                      <a:lnTo>
                        <a:pt x="859" y="1412"/>
                      </a:lnTo>
                      <a:lnTo>
                        <a:pt x="822" y="1265"/>
                      </a:lnTo>
                      <a:lnTo>
                        <a:pt x="826" y="1242"/>
                      </a:lnTo>
                      <a:lnTo>
                        <a:pt x="828" y="1224"/>
                      </a:lnTo>
                      <a:lnTo>
                        <a:pt x="828" y="1210"/>
                      </a:lnTo>
                      <a:lnTo>
                        <a:pt x="827" y="1200"/>
                      </a:lnTo>
                      <a:lnTo>
                        <a:pt x="823" y="1191"/>
                      </a:lnTo>
                      <a:lnTo>
                        <a:pt x="820" y="1184"/>
                      </a:lnTo>
                      <a:lnTo>
                        <a:pt x="816" y="1179"/>
                      </a:lnTo>
                      <a:lnTo>
                        <a:pt x="810" y="1175"/>
                      </a:lnTo>
                      <a:lnTo>
                        <a:pt x="826" y="1158"/>
                      </a:lnTo>
                      <a:lnTo>
                        <a:pt x="842" y="1142"/>
                      </a:lnTo>
                      <a:lnTo>
                        <a:pt x="857" y="1125"/>
                      </a:lnTo>
                      <a:lnTo>
                        <a:pt x="874" y="1106"/>
                      </a:lnTo>
                      <a:lnTo>
                        <a:pt x="892" y="1083"/>
                      </a:lnTo>
                      <a:lnTo>
                        <a:pt x="914" y="1053"/>
                      </a:lnTo>
                      <a:lnTo>
                        <a:pt x="938" y="1015"/>
                      </a:lnTo>
                      <a:lnTo>
                        <a:pt x="966" y="968"/>
                      </a:lnTo>
                      <a:lnTo>
                        <a:pt x="943" y="989"/>
                      </a:lnTo>
                      <a:lnTo>
                        <a:pt x="921" y="1010"/>
                      </a:lnTo>
                      <a:lnTo>
                        <a:pt x="899" y="1030"/>
                      </a:lnTo>
                      <a:lnTo>
                        <a:pt x="877" y="1052"/>
                      </a:lnTo>
                      <a:lnTo>
                        <a:pt x="854" y="1072"/>
                      </a:lnTo>
                      <a:lnTo>
                        <a:pt x="831" y="1093"/>
                      </a:lnTo>
                      <a:lnTo>
                        <a:pt x="810" y="1114"/>
                      </a:lnTo>
                      <a:lnTo>
                        <a:pt x="787" y="1135"/>
                      </a:lnTo>
                      <a:lnTo>
                        <a:pt x="769" y="1130"/>
                      </a:lnTo>
                      <a:lnTo>
                        <a:pt x="751" y="1126"/>
                      </a:lnTo>
                      <a:lnTo>
                        <a:pt x="742" y="1125"/>
                      </a:lnTo>
                      <a:lnTo>
                        <a:pt x="733" y="1125"/>
                      </a:lnTo>
                      <a:lnTo>
                        <a:pt x="725" y="1126"/>
                      </a:lnTo>
                      <a:lnTo>
                        <a:pt x="716" y="1128"/>
                      </a:lnTo>
                      <a:lnTo>
                        <a:pt x="704" y="1125"/>
                      </a:lnTo>
                      <a:lnTo>
                        <a:pt x="693" y="1119"/>
                      </a:lnTo>
                      <a:lnTo>
                        <a:pt x="681" y="1114"/>
                      </a:lnTo>
                      <a:lnTo>
                        <a:pt x="670" y="1107"/>
                      </a:lnTo>
                      <a:lnTo>
                        <a:pt x="646" y="1091"/>
                      </a:lnTo>
                      <a:lnTo>
                        <a:pt x="624" y="1072"/>
                      </a:lnTo>
                      <a:lnTo>
                        <a:pt x="601" y="1052"/>
                      </a:lnTo>
                      <a:lnTo>
                        <a:pt x="577" y="1029"/>
                      </a:lnTo>
                      <a:lnTo>
                        <a:pt x="555" y="1005"/>
                      </a:lnTo>
                      <a:lnTo>
                        <a:pt x="531" y="980"/>
                      </a:lnTo>
                      <a:lnTo>
                        <a:pt x="549" y="1009"/>
                      </a:lnTo>
                      <a:lnTo>
                        <a:pt x="566" y="1037"/>
                      </a:lnTo>
                      <a:lnTo>
                        <a:pt x="584" y="1064"/>
                      </a:lnTo>
                      <a:lnTo>
                        <a:pt x="603" y="1090"/>
                      </a:lnTo>
                      <a:lnTo>
                        <a:pt x="623" y="1114"/>
                      </a:lnTo>
                      <a:lnTo>
                        <a:pt x="642" y="1136"/>
                      </a:lnTo>
                      <a:lnTo>
                        <a:pt x="653" y="1145"/>
                      </a:lnTo>
                      <a:lnTo>
                        <a:pt x="663" y="1154"/>
                      </a:lnTo>
                      <a:lnTo>
                        <a:pt x="674" y="1163"/>
                      </a:lnTo>
                      <a:lnTo>
                        <a:pt x="686" y="1170"/>
                      </a:lnTo>
                      <a:lnTo>
                        <a:pt x="681" y="1180"/>
                      </a:lnTo>
                      <a:lnTo>
                        <a:pt x="677" y="1191"/>
                      </a:lnTo>
                      <a:lnTo>
                        <a:pt x="674" y="1200"/>
                      </a:lnTo>
                      <a:lnTo>
                        <a:pt x="673" y="1209"/>
                      </a:lnTo>
                      <a:lnTo>
                        <a:pt x="673" y="1218"/>
                      </a:lnTo>
                      <a:lnTo>
                        <a:pt x="673" y="1226"/>
                      </a:lnTo>
                      <a:lnTo>
                        <a:pt x="676" y="1232"/>
                      </a:lnTo>
                      <a:lnTo>
                        <a:pt x="678" y="1239"/>
                      </a:lnTo>
                      <a:lnTo>
                        <a:pt x="680" y="1246"/>
                      </a:lnTo>
                      <a:lnTo>
                        <a:pt x="683" y="1251"/>
                      </a:lnTo>
                      <a:lnTo>
                        <a:pt x="688" y="1257"/>
                      </a:lnTo>
                      <a:lnTo>
                        <a:pt x="691" y="1262"/>
                      </a:lnTo>
                      <a:lnTo>
                        <a:pt x="700" y="1270"/>
                      </a:lnTo>
                      <a:lnTo>
                        <a:pt x="709" y="1275"/>
                      </a:lnTo>
                      <a:lnTo>
                        <a:pt x="702" y="1308"/>
                      </a:lnTo>
                      <a:lnTo>
                        <a:pt x="695" y="1342"/>
                      </a:lnTo>
                      <a:lnTo>
                        <a:pt x="689" y="1377"/>
                      </a:lnTo>
                      <a:lnTo>
                        <a:pt x="682" y="1412"/>
                      </a:lnTo>
                      <a:lnTo>
                        <a:pt x="7" y="1406"/>
                      </a:lnTo>
                      <a:lnTo>
                        <a:pt x="7" y="1397"/>
                      </a:lnTo>
                      <a:lnTo>
                        <a:pt x="6" y="1372"/>
                      </a:lnTo>
                      <a:lnTo>
                        <a:pt x="4" y="1333"/>
                      </a:lnTo>
                      <a:lnTo>
                        <a:pt x="1" y="1281"/>
                      </a:lnTo>
                      <a:lnTo>
                        <a:pt x="0" y="1255"/>
                      </a:lnTo>
                      <a:lnTo>
                        <a:pt x="0" y="1232"/>
                      </a:lnTo>
                      <a:lnTo>
                        <a:pt x="0" y="1222"/>
                      </a:lnTo>
                      <a:lnTo>
                        <a:pt x="1" y="1213"/>
                      </a:lnTo>
                      <a:lnTo>
                        <a:pt x="4" y="1205"/>
                      </a:lnTo>
                      <a:lnTo>
                        <a:pt x="6" y="1197"/>
                      </a:lnTo>
                      <a:lnTo>
                        <a:pt x="9" y="1189"/>
                      </a:lnTo>
                      <a:lnTo>
                        <a:pt x="14" y="1181"/>
                      </a:lnTo>
                      <a:lnTo>
                        <a:pt x="20" y="1175"/>
                      </a:lnTo>
                      <a:lnTo>
                        <a:pt x="26" y="1167"/>
                      </a:lnTo>
                      <a:lnTo>
                        <a:pt x="34" y="1160"/>
                      </a:lnTo>
                      <a:lnTo>
                        <a:pt x="43" y="1152"/>
                      </a:lnTo>
                      <a:lnTo>
                        <a:pt x="55" y="1144"/>
                      </a:lnTo>
                      <a:lnTo>
                        <a:pt x="67" y="1135"/>
                      </a:lnTo>
                      <a:lnTo>
                        <a:pt x="82" y="1126"/>
                      </a:lnTo>
                      <a:lnTo>
                        <a:pt x="102" y="1115"/>
                      </a:lnTo>
                      <a:lnTo>
                        <a:pt x="125" y="1104"/>
                      </a:lnTo>
                      <a:lnTo>
                        <a:pt x="150" y="1092"/>
                      </a:lnTo>
                      <a:lnTo>
                        <a:pt x="208" y="1066"/>
                      </a:lnTo>
                      <a:lnTo>
                        <a:pt x="270" y="1040"/>
                      </a:lnTo>
                      <a:lnTo>
                        <a:pt x="332" y="1014"/>
                      </a:lnTo>
                      <a:lnTo>
                        <a:pt x="390" y="991"/>
                      </a:lnTo>
                      <a:lnTo>
                        <a:pt x="438" y="970"/>
                      </a:lnTo>
                      <a:lnTo>
                        <a:pt x="473" y="954"/>
                      </a:lnTo>
                      <a:lnTo>
                        <a:pt x="486" y="947"/>
                      </a:lnTo>
                      <a:lnTo>
                        <a:pt x="497" y="940"/>
                      </a:lnTo>
                      <a:lnTo>
                        <a:pt x="506" y="933"/>
                      </a:lnTo>
                      <a:lnTo>
                        <a:pt x="514" y="925"/>
                      </a:lnTo>
                      <a:lnTo>
                        <a:pt x="521" y="917"/>
                      </a:lnTo>
                      <a:lnTo>
                        <a:pt x="525" y="910"/>
                      </a:lnTo>
                      <a:lnTo>
                        <a:pt x="530" y="903"/>
                      </a:lnTo>
                      <a:lnTo>
                        <a:pt x="533" y="896"/>
                      </a:lnTo>
                      <a:lnTo>
                        <a:pt x="537" y="883"/>
                      </a:lnTo>
                      <a:lnTo>
                        <a:pt x="539" y="874"/>
                      </a:lnTo>
                      <a:lnTo>
                        <a:pt x="539" y="867"/>
                      </a:lnTo>
                      <a:lnTo>
                        <a:pt x="539" y="865"/>
                      </a:lnTo>
                      <a:lnTo>
                        <a:pt x="575" y="867"/>
                      </a:lnTo>
                      <a:lnTo>
                        <a:pt x="572" y="835"/>
                      </a:lnTo>
                      <a:lnTo>
                        <a:pt x="569" y="832"/>
                      </a:lnTo>
                      <a:lnTo>
                        <a:pt x="563" y="825"/>
                      </a:lnTo>
                      <a:lnTo>
                        <a:pt x="551" y="812"/>
                      </a:lnTo>
                      <a:lnTo>
                        <a:pt x="537" y="796"/>
                      </a:lnTo>
                      <a:lnTo>
                        <a:pt x="532" y="791"/>
                      </a:lnTo>
                      <a:lnTo>
                        <a:pt x="528" y="784"/>
                      </a:lnTo>
                      <a:lnTo>
                        <a:pt x="524" y="776"/>
                      </a:lnTo>
                      <a:lnTo>
                        <a:pt x="521" y="767"/>
                      </a:lnTo>
                      <a:lnTo>
                        <a:pt x="516" y="748"/>
                      </a:lnTo>
                      <a:lnTo>
                        <a:pt x="512" y="726"/>
                      </a:lnTo>
                      <a:lnTo>
                        <a:pt x="507" y="690"/>
                      </a:lnTo>
                      <a:lnTo>
                        <a:pt x="506" y="674"/>
                      </a:lnTo>
                      <a:lnTo>
                        <a:pt x="504" y="676"/>
                      </a:lnTo>
                      <a:lnTo>
                        <a:pt x="486" y="681"/>
                      </a:lnTo>
                      <a:lnTo>
                        <a:pt x="484" y="681"/>
                      </a:lnTo>
                      <a:lnTo>
                        <a:pt x="481" y="680"/>
                      </a:lnTo>
                      <a:lnTo>
                        <a:pt x="479" y="678"/>
                      </a:lnTo>
                      <a:lnTo>
                        <a:pt x="478" y="676"/>
                      </a:lnTo>
                      <a:lnTo>
                        <a:pt x="473" y="669"/>
                      </a:lnTo>
                      <a:lnTo>
                        <a:pt x="470" y="659"/>
                      </a:lnTo>
                      <a:lnTo>
                        <a:pt x="462" y="631"/>
                      </a:lnTo>
                      <a:lnTo>
                        <a:pt x="455" y="600"/>
                      </a:lnTo>
                      <a:lnTo>
                        <a:pt x="449" y="566"/>
                      </a:lnTo>
                      <a:lnTo>
                        <a:pt x="444" y="532"/>
                      </a:lnTo>
                      <a:lnTo>
                        <a:pt x="440" y="503"/>
                      </a:lnTo>
                      <a:lnTo>
                        <a:pt x="438" y="481"/>
                      </a:lnTo>
                      <a:lnTo>
                        <a:pt x="438" y="476"/>
                      </a:lnTo>
                      <a:lnTo>
                        <a:pt x="438" y="471"/>
                      </a:lnTo>
                      <a:lnTo>
                        <a:pt x="440" y="468"/>
                      </a:lnTo>
                      <a:lnTo>
                        <a:pt x="441" y="464"/>
                      </a:lnTo>
                      <a:lnTo>
                        <a:pt x="442" y="462"/>
                      </a:lnTo>
                      <a:lnTo>
                        <a:pt x="444" y="460"/>
                      </a:lnTo>
                      <a:lnTo>
                        <a:pt x="446" y="459"/>
                      </a:lnTo>
                      <a:lnTo>
                        <a:pt x="450" y="459"/>
                      </a:lnTo>
                      <a:lnTo>
                        <a:pt x="455" y="459"/>
                      </a:lnTo>
                      <a:lnTo>
                        <a:pt x="461" y="460"/>
                      </a:lnTo>
                      <a:lnTo>
                        <a:pt x="467" y="462"/>
                      </a:lnTo>
                      <a:lnTo>
                        <a:pt x="471" y="464"/>
                      </a:lnTo>
                      <a:lnTo>
                        <a:pt x="467" y="454"/>
                      </a:lnTo>
                      <a:lnTo>
                        <a:pt x="461" y="444"/>
                      </a:lnTo>
                      <a:lnTo>
                        <a:pt x="455" y="432"/>
                      </a:lnTo>
                      <a:lnTo>
                        <a:pt x="450" y="419"/>
                      </a:lnTo>
                      <a:lnTo>
                        <a:pt x="446" y="408"/>
                      </a:lnTo>
                      <a:lnTo>
                        <a:pt x="443" y="394"/>
                      </a:lnTo>
                      <a:lnTo>
                        <a:pt x="440" y="377"/>
                      </a:lnTo>
                      <a:lnTo>
                        <a:pt x="438" y="359"/>
                      </a:lnTo>
                      <a:lnTo>
                        <a:pt x="437" y="338"/>
                      </a:lnTo>
                      <a:lnTo>
                        <a:pt x="436" y="316"/>
                      </a:lnTo>
                      <a:lnTo>
                        <a:pt x="437" y="294"/>
                      </a:lnTo>
                      <a:lnTo>
                        <a:pt x="438" y="270"/>
                      </a:lnTo>
                      <a:lnTo>
                        <a:pt x="440" y="246"/>
                      </a:lnTo>
                      <a:lnTo>
                        <a:pt x="442" y="224"/>
                      </a:lnTo>
                      <a:lnTo>
                        <a:pt x="445" y="200"/>
                      </a:lnTo>
                      <a:lnTo>
                        <a:pt x="449" y="179"/>
                      </a:lnTo>
                      <a:lnTo>
                        <a:pt x="453" y="158"/>
                      </a:lnTo>
                      <a:lnTo>
                        <a:pt x="459" y="140"/>
                      </a:lnTo>
                      <a:lnTo>
                        <a:pt x="464" y="123"/>
                      </a:lnTo>
                      <a:lnTo>
                        <a:pt x="471" y="110"/>
                      </a:lnTo>
                      <a:lnTo>
                        <a:pt x="476" y="103"/>
                      </a:lnTo>
                      <a:lnTo>
                        <a:pt x="480" y="96"/>
                      </a:lnTo>
                      <a:lnTo>
                        <a:pt x="485" y="90"/>
                      </a:lnTo>
                      <a:lnTo>
                        <a:pt x="489" y="86"/>
                      </a:lnTo>
                      <a:lnTo>
                        <a:pt x="495" y="83"/>
                      </a:lnTo>
                      <a:lnTo>
                        <a:pt x="499" y="80"/>
                      </a:lnTo>
                      <a:lnTo>
                        <a:pt x="505" y="78"/>
                      </a:lnTo>
                      <a:lnTo>
                        <a:pt x="510" y="77"/>
                      </a:lnTo>
                      <a:lnTo>
                        <a:pt x="520" y="76"/>
                      </a:lnTo>
                      <a:lnTo>
                        <a:pt x="529" y="77"/>
                      </a:lnTo>
                      <a:lnTo>
                        <a:pt x="538" y="79"/>
                      </a:lnTo>
                      <a:lnTo>
                        <a:pt x="546" y="81"/>
                      </a:lnTo>
                      <a:lnTo>
                        <a:pt x="557" y="69"/>
                      </a:lnTo>
                      <a:lnTo>
                        <a:pt x="568" y="57"/>
                      </a:lnTo>
                      <a:lnTo>
                        <a:pt x="577" y="49"/>
                      </a:lnTo>
                      <a:lnTo>
                        <a:pt x="585" y="41"/>
                      </a:lnTo>
                      <a:lnTo>
                        <a:pt x="594" y="35"/>
                      </a:lnTo>
                      <a:lnTo>
                        <a:pt x="604" y="28"/>
                      </a:lnTo>
                      <a:lnTo>
                        <a:pt x="615" y="24"/>
                      </a:lnTo>
                      <a:lnTo>
                        <a:pt x="625" y="19"/>
                      </a:lnTo>
                      <a:lnTo>
                        <a:pt x="636" y="15"/>
                      </a:lnTo>
                      <a:lnTo>
                        <a:pt x="647" y="11"/>
                      </a:lnTo>
                      <a:lnTo>
                        <a:pt x="670" y="6"/>
                      </a:lnTo>
                      <a:lnTo>
                        <a:pt x="694" y="2"/>
                      </a:lnTo>
                      <a:lnTo>
                        <a:pt x="717" y="1"/>
                      </a:lnTo>
                      <a:lnTo>
                        <a:pt x="74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/>
                </a:p>
              </p:txBody>
            </p:sp>
            <p:sp>
              <p:nvSpPr>
                <p:cNvPr id="78" name="Freeform 77"/>
                <p:cNvSpPr>
                  <a:spLocks/>
                </p:cNvSpPr>
                <p:nvPr/>
              </p:nvSpPr>
              <p:spPr bwMode="auto">
                <a:xfrm>
                  <a:off x="5576760" y="4839822"/>
                  <a:ext cx="290767" cy="324238"/>
                </a:xfrm>
                <a:custGeom>
                  <a:avLst/>
                  <a:gdLst>
                    <a:gd name="T0" fmla="*/ 427 w 909"/>
                    <a:gd name="T1" fmla="*/ 4 h 1016"/>
                    <a:gd name="T2" fmla="*/ 481 w 909"/>
                    <a:gd name="T3" fmla="*/ 25 h 1016"/>
                    <a:gd name="T4" fmla="*/ 521 w 909"/>
                    <a:gd name="T5" fmla="*/ 64 h 1016"/>
                    <a:gd name="T6" fmla="*/ 561 w 909"/>
                    <a:gd name="T7" fmla="*/ 122 h 1016"/>
                    <a:gd name="T8" fmla="*/ 579 w 909"/>
                    <a:gd name="T9" fmla="*/ 170 h 1016"/>
                    <a:gd name="T10" fmla="*/ 583 w 909"/>
                    <a:gd name="T11" fmla="*/ 225 h 1016"/>
                    <a:gd name="T12" fmla="*/ 565 w 909"/>
                    <a:gd name="T13" fmla="*/ 334 h 1016"/>
                    <a:gd name="T14" fmla="*/ 583 w 909"/>
                    <a:gd name="T15" fmla="*/ 330 h 1016"/>
                    <a:gd name="T16" fmla="*/ 592 w 909"/>
                    <a:gd name="T17" fmla="*/ 334 h 1016"/>
                    <a:gd name="T18" fmla="*/ 590 w 909"/>
                    <a:gd name="T19" fmla="*/ 383 h 1016"/>
                    <a:gd name="T20" fmla="*/ 568 w 909"/>
                    <a:gd name="T21" fmla="*/ 481 h 1016"/>
                    <a:gd name="T22" fmla="*/ 547 w 909"/>
                    <a:gd name="T23" fmla="*/ 487 h 1016"/>
                    <a:gd name="T24" fmla="*/ 538 w 909"/>
                    <a:gd name="T25" fmla="*/ 538 h 1016"/>
                    <a:gd name="T26" fmla="*/ 526 w 909"/>
                    <a:gd name="T27" fmla="*/ 570 h 1016"/>
                    <a:gd name="T28" fmla="*/ 496 w 909"/>
                    <a:gd name="T29" fmla="*/ 624 h 1016"/>
                    <a:gd name="T30" fmla="*/ 527 w 909"/>
                    <a:gd name="T31" fmla="*/ 650 h 1016"/>
                    <a:gd name="T32" fmla="*/ 544 w 909"/>
                    <a:gd name="T33" fmla="*/ 672 h 1016"/>
                    <a:gd name="T34" fmla="*/ 594 w 909"/>
                    <a:gd name="T35" fmla="*/ 699 h 1016"/>
                    <a:gd name="T36" fmla="*/ 760 w 909"/>
                    <a:gd name="T37" fmla="*/ 768 h 1016"/>
                    <a:gd name="T38" fmla="*/ 850 w 909"/>
                    <a:gd name="T39" fmla="*/ 811 h 1016"/>
                    <a:gd name="T40" fmla="*/ 896 w 909"/>
                    <a:gd name="T41" fmla="*/ 846 h 1016"/>
                    <a:gd name="T42" fmla="*/ 908 w 909"/>
                    <a:gd name="T43" fmla="*/ 874 h 1016"/>
                    <a:gd name="T44" fmla="*/ 907 w 909"/>
                    <a:gd name="T45" fmla="*/ 960 h 1016"/>
                    <a:gd name="T46" fmla="*/ 455 w 909"/>
                    <a:gd name="T47" fmla="*/ 1016 h 1016"/>
                    <a:gd name="T48" fmla="*/ 447 w 909"/>
                    <a:gd name="T49" fmla="*/ 954 h 1016"/>
                    <a:gd name="T50" fmla="*/ 444 w 909"/>
                    <a:gd name="T51" fmla="*/ 881 h 1016"/>
                    <a:gd name="T52" fmla="*/ 438 w 909"/>
                    <a:gd name="T53" fmla="*/ 852 h 1016"/>
                    <a:gd name="T54" fmla="*/ 476 w 909"/>
                    <a:gd name="T55" fmla="*/ 799 h 1016"/>
                    <a:gd name="T56" fmla="*/ 538 w 909"/>
                    <a:gd name="T57" fmla="*/ 706 h 1016"/>
                    <a:gd name="T58" fmla="*/ 416 w 909"/>
                    <a:gd name="T59" fmla="*/ 819 h 1016"/>
                    <a:gd name="T60" fmla="*/ 380 w 909"/>
                    <a:gd name="T61" fmla="*/ 813 h 1016"/>
                    <a:gd name="T62" fmla="*/ 351 w 909"/>
                    <a:gd name="T63" fmla="*/ 808 h 1016"/>
                    <a:gd name="T64" fmla="*/ 304 w 909"/>
                    <a:gd name="T65" fmla="*/ 777 h 1016"/>
                    <a:gd name="T66" fmla="*/ 241 w 909"/>
                    <a:gd name="T67" fmla="*/ 714 h 1016"/>
                    <a:gd name="T68" fmla="*/ 290 w 909"/>
                    <a:gd name="T69" fmla="*/ 788 h 1016"/>
                    <a:gd name="T70" fmla="*/ 347 w 909"/>
                    <a:gd name="T71" fmla="*/ 843 h 1016"/>
                    <a:gd name="T72" fmla="*/ 338 w 909"/>
                    <a:gd name="T73" fmla="*/ 869 h 1016"/>
                    <a:gd name="T74" fmla="*/ 341 w 909"/>
                    <a:gd name="T75" fmla="*/ 891 h 1016"/>
                    <a:gd name="T76" fmla="*/ 363 w 909"/>
                    <a:gd name="T77" fmla="*/ 915 h 1016"/>
                    <a:gd name="T78" fmla="*/ 278 w 909"/>
                    <a:gd name="T79" fmla="*/ 881 h 1016"/>
                    <a:gd name="T80" fmla="*/ 78 w 909"/>
                    <a:gd name="T81" fmla="*/ 797 h 1016"/>
                    <a:gd name="T82" fmla="*/ 54 w 909"/>
                    <a:gd name="T83" fmla="*/ 742 h 1016"/>
                    <a:gd name="T84" fmla="*/ 151 w 909"/>
                    <a:gd name="T85" fmla="*/ 701 h 1016"/>
                    <a:gd name="T86" fmla="*/ 200 w 909"/>
                    <a:gd name="T87" fmla="*/ 676 h 1016"/>
                    <a:gd name="T88" fmla="*/ 220 w 909"/>
                    <a:gd name="T89" fmla="*/ 655 h 1016"/>
                    <a:gd name="T90" fmla="*/ 230 w 909"/>
                    <a:gd name="T91" fmla="*/ 622 h 1016"/>
                    <a:gd name="T92" fmla="*/ 228 w 909"/>
                    <a:gd name="T93" fmla="*/ 574 h 1016"/>
                    <a:gd name="T94" fmla="*/ 217 w 909"/>
                    <a:gd name="T95" fmla="*/ 552 h 1016"/>
                    <a:gd name="T96" fmla="*/ 207 w 909"/>
                    <a:gd name="T97" fmla="*/ 485 h 1016"/>
                    <a:gd name="T98" fmla="*/ 185 w 909"/>
                    <a:gd name="T99" fmla="*/ 487 h 1016"/>
                    <a:gd name="T100" fmla="*/ 170 w 909"/>
                    <a:gd name="T101" fmla="*/ 432 h 1016"/>
                    <a:gd name="T102" fmla="*/ 159 w 909"/>
                    <a:gd name="T103" fmla="*/ 334 h 1016"/>
                    <a:gd name="T104" fmla="*/ 174 w 909"/>
                    <a:gd name="T105" fmla="*/ 331 h 1016"/>
                    <a:gd name="T106" fmla="*/ 166 w 909"/>
                    <a:gd name="T107" fmla="*/ 301 h 1016"/>
                    <a:gd name="T108" fmla="*/ 157 w 909"/>
                    <a:gd name="T109" fmla="*/ 258 h 1016"/>
                    <a:gd name="T110" fmla="*/ 165 w 909"/>
                    <a:gd name="T111" fmla="*/ 129 h 1016"/>
                    <a:gd name="T112" fmla="*/ 181 w 909"/>
                    <a:gd name="T113" fmla="*/ 79 h 1016"/>
                    <a:gd name="T114" fmla="*/ 209 w 909"/>
                    <a:gd name="T115" fmla="*/ 55 h 1016"/>
                    <a:gd name="T116" fmla="*/ 235 w 909"/>
                    <a:gd name="T117" fmla="*/ 59 h 1016"/>
                    <a:gd name="T118" fmla="*/ 263 w 909"/>
                    <a:gd name="T119" fmla="*/ 29 h 1016"/>
                    <a:gd name="T120" fmla="*/ 307 w 909"/>
                    <a:gd name="T121" fmla="*/ 8 h 1016"/>
                    <a:gd name="T122" fmla="*/ 376 w 909"/>
                    <a:gd name="T123" fmla="*/ 0 h 1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09" h="1016">
                      <a:moveTo>
                        <a:pt x="376" y="0"/>
                      </a:moveTo>
                      <a:lnTo>
                        <a:pt x="393" y="0"/>
                      </a:lnTo>
                      <a:lnTo>
                        <a:pt x="410" y="1"/>
                      </a:lnTo>
                      <a:lnTo>
                        <a:pt x="427" y="4"/>
                      </a:lnTo>
                      <a:lnTo>
                        <a:pt x="444" y="8"/>
                      </a:lnTo>
                      <a:lnTo>
                        <a:pt x="460" y="13"/>
                      </a:lnTo>
                      <a:lnTo>
                        <a:pt x="474" y="20"/>
                      </a:lnTo>
                      <a:lnTo>
                        <a:pt x="481" y="25"/>
                      </a:lnTo>
                      <a:lnTo>
                        <a:pt x="488" y="29"/>
                      </a:lnTo>
                      <a:lnTo>
                        <a:pt x="494" y="35"/>
                      </a:lnTo>
                      <a:lnTo>
                        <a:pt x="500" y="40"/>
                      </a:lnTo>
                      <a:lnTo>
                        <a:pt x="521" y="64"/>
                      </a:lnTo>
                      <a:lnTo>
                        <a:pt x="540" y="87"/>
                      </a:lnTo>
                      <a:lnTo>
                        <a:pt x="548" y="98"/>
                      </a:lnTo>
                      <a:lnTo>
                        <a:pt x="555" y="110"/>
                      </a:lnTo>
                      <a:lnTo>
                        <a:pt x="561" y="122"/>
                      </a:lnTo>
                      <a:lnTo>
                        <a:pt x="567" y="133"/>
                      </a:lnTo>
                      <a:lnTo>
                        <a:pt x="572" y="145"/>
                      </a:lnTo>
                      <a:lnTo>
                        <a:pt x="576" y="158"/>
                      </a:lnTo>
                      <a:lnTo>
                        <a:pt x="579" y="170"/>
                      </a:lnTo>
                      <a:lnTo>
                        <a:pt x="582" y="183"/>
                      </a:lnTo>
                      <a:lnTo>
                        <a:pt x="583" y="196"/>
                      </a:lnTo>
                      <a:lnTo>
                        <a:pt x="583" y="210"/>
                      </a:lnTo>
                      <a:lnTo>
                        <a:pt x="583" y="225"/>
                      </a:lnTo>
                      <a:lnTo>
                        <a:pt x="582" y="239"/>
                      </a:lnTo>
                      <a:lnTo>
                        <a:pt x="574" y="289"/>
                      </a:lnTo>
                      <a:lnTo>
                        <a:pt x="568" y="319"/>
                      </a:lnTo>
                      <a:lnTo>
                        <a:pt x="565" y="334"/>
                      </a:lnTo>
                      <a:lnTo>
                        <a:pt x="564" y="337"/>
                      </a:lnTo>
                      <a:lnTo>
                        <a:pt x="569" y="335"/>
                      </a:lnTo>
                      <a:lnTo>
                        <a:pt x="579" y="330"/>
                      </a:lnTo>
                      <a:lnTo>
                        <a:pt x="583" y="330"/>
                      </a:lnTo>
                      <a:lnTo>
                        <a:pt x="585" y="330"/>
                      </a:lnTo>
                      <a:lnTo>
                        <a:pt x="588" y="331"/>
                      </a:lnTo>
                      <a:lnTo>
                        <a:pt x="591" y="332"/>
                      </a:lnTo>
                      <a:lnTo>
                        <a:pt x="592" y="334"/>
                      </a:lnTo>
                      <a:lnTo>
                        <a:pt x="593" y="336"/>
                      </a:lnTo>
                      <a:lnTo>
                        <a:pt x="594" y="341"/>
                      </a:lnTo>
                      <a:lnTo>
                        <a:pt x="594" y="346"/>
                      </a:lnTo>
                      <a:lnTo>
                        <a:pt x="590" y="383"/>
                      </a:lnTo>
                      <a:lnTo>
                        <a:pt x="582" y="432"/>
                      </a:lnTo>
                      <a:lnTo>
                        <a:pt x="577" y="455"/>
                      </a:lnTo>
                      <a:lnTo>
                        <a:pt x="572" y="474"/>
                      </a:lnTo>
                      <a:lnTo>
                        <a:pt x="568" y="481"/>
                      </a:lnTo>
                      <a:lnTo>
                        <a:pt x="566" y="487"/>
                      </a:lnTo>
                      <a:lnTo>
                        <a:pt x="562" y="489"/>
                      </a:lnTo>
                      <a:lnTo>
                        <a:pt x="560" y="490"/>
                      </a:lnTo>
                      <a:lnTo>
                        <a:pt x="547" y="487"/>
                      </a:lnTo>
                      <a:lnTo>
                        <a:pt x="544" y="485"/>
                      </a:lnTo>
                      <a:lnTo>
                        <a:pt x="543" y="497"/>
                      </a:lnTo>
                      <a:lnTo>
                        <a:pt x="541" y="523"/>
                      </a:lnTo>
                      <a:lnTo>
                        <a:pt x="538" y="538"/>
                      </a:lnTo>
                      <a:lnTo>
                        <a:pt x="534" y="552"/>
                      </a:lnTo>
                      <a:lnTo>
                        <a:pt x="532" y="559"/>
                      </a:lnTo>
                      <a:lnTo>
                        <a:pt x="530" y="564"/>
                      </a:lnTo>
                      <a:lnTo>
                        <a:pt x="526" y="570"/>
                      </a:lnTo>
                      <a:lnTo>
                        <a:pt x="523" y="574"/>
                      </a:lnTo>
                      <a:lnTo>
                        <a:pt x="504" y="594"/>
                      </a:lnTo>
                      <a:lnTo>
                        <a:pt x="498" y="602"/>
                      </a:lnTo>
                      <a:lnTo>
                        <a:pt x="496" y="624"/>
                      </a:lnTo>
                      <a:lnTo>
                        <a:pt x="521" y="622"/>
                      </a:lnTo>
                      <a:lnTo>
                        <a:pt x="522" y="629"/>
                      </a:lnTo>
                      <a:lnTo>
                        <a:pt x="525" y="645"/>
                      </a:lnTo>
                      <a:lnTo>
                        <a:pt x="527" y="650"/>
                      </a:lnTo>
                      <a:lnTo>
                        <a:pt x="531" y="655"/>
                      </a:lnTo>
                      <a:lnTo>
                        <a:pt x="534" y="660"/>
                      </a:lnTo>
                      <a:lnTo>
                        <a:pt x="539" y="666"/>
                      </a:lnTo>
                      <a:lnTo>
                        <a:pt x="544" y="672"/>
                      </a:lnTo>
                      <a:lnTo>
                        <a:pt x="551" y="676"/>
                      </a:lnTo>
                      <a:lnTo>
                        <a:pt x="559" y="682"/>
                      </a:lnTo>
                      <a:lnTo>
                        <a:pt x="568" y="686"/>
                      </a:lnTo>
                      <a:lnTo>
                        <a:pt x="594" y="699"/>
                      </a:lnTo>
                      <a:lnTo>
                        <a:pt x="629" y="714"/>
                      </a:lnTo>
                      <a:lnTo>
                        <a:pt x="670" y="730"/>
                      </a:lnTo>
                      <a:lnTo>
                        <a:pt x="715" y="749"/>
                      </a:lnTo>
                      <a:lnTo>
                        <a:pt x="760" y="768"/>
                      </a:lnTo>
                      <a:lnTo>
                        <a:pt x="802" y="786"/>
                      </a:lnTo>
                      <a:lnTo>
                        <a:pt x="820" y="795"/>
                      </a:lnTo>
                      <a:lnTo>
                        <a:pt x="837" y="803"/>
                      </a:lnTo>
                      <a:lnTo>
                        <a:pt x="850" y="811"/>
                      </a:lnTo>
                      <a:lnTo>
                        <a:pt x="862" y="817"/>
                      </a:lnTo>
                      <a:lnTo>
                        <a:pt x="879" y="830"/>
                      </a:lnTo>
                      <a:lnTo>
                        <a:pt x="891" y="840"/>
                      </a:lnTo>
                      <a:lnTo>
                        <a:pt x="896" y="846"/>
                      </a:lnTo>
                      <a:lnTo>
                        <a:pt x="900" y="851"/>
                      </a:lnTo>
                      <a:lnTo>
                        <a:pt x="902" y="856"/>
                      </a:lnTo>
                      <a:lnTo>
                        <a:pt x="906" y="861"/>
                      </a:lnTo>
                      <a:lnTo>
                        <a:pt x="908" y="874"/>
                      </a:lnTo>
                      <a:lnTo>
                        <a:pt x="909" y="887"/>
                      </a:lnTo>
                      <a:lnTo>
                        <a:pt x="909" y="903"/>
                      </a:lnTo>
                      <a:lnTo>
                        <a:pt x="909" y="922"/>
                      </a:lnTo>
                      <a:lnTo>
                        <a:pt x="907" y="960"/>
                      </a:lnTo>
                      <a:lnTo>
                        <a:pt x="906" y="988"/>
                      </a:lnTo>
                      <a:lnTo>
                        <a:pt x="905" y="1006"/>
                      </a:lnTo>
                      <a:lnTo>
                        <a:pt x="905" y="1013"/>
                      </a:lnTo>
                      <a:lnTo>
                        <a:pt x="455" y="1016"/>
                      </a:lnTo>
                      <a:lnTo>
                        <a:pt x="453" y="1005"/>
                      </a:lnTo>
                      <a:lnTo>
                        <a:pt x="450" y="995"/>
                      </a:lnTo>
                      <a:lnTo>
                        <a:pt x="448" y="974"/>
                      </a:lnTo>
                      <a:lnTo>
                        <a:pt x="447" y="954"/>
                      </a:lnTo>
                      <a:lnTo>
                        <a:pt x="445" y="933"/>
                      </a:lnTo>
                      <a:lnTo>
                        <a:pt x="441" y="908"/>
                      </a:lnTo>
                      <a:lnTo>
                        <a:pt x="443" y="893"/>
                      </a:lnTo>
                      <a:lnTo>
                        <a:pt x="444" y="881"/>
                      </a:lnTo>
                      <a:lnTo>
                        <a:pt x="444" y="871"/>
                      </a:lnTo>
                      <a:lnTo>
                        <a:pt x="443" y="863"/>
                      </a:lnTo>
                      <a:lnTo>
                        <a:pt x="441" y="857"/>
                      </a:lnTo>
                      <a:lnTo>
                        <a:pt x="438" y="852"/>
                      </a:lnTo>
                      <a:lnTo>
                        <a:pt x="435" y="849"/>
                      </a:lnTo>
                      <a:lnTo>
                        <a:pt x="431" y="846"/>
                      </a:lnTo>
                      <a:lnTo>
                        <a:pt x="453" y="824"/>
                      </a:lnTo>
                      <a:lnTo>
                        <a:pt x="476" y="799"/>
                      </a:lnTo>
                      <a:lnTo>
                        <a:pt x="488" y="784"/>
                      </a:lnTo>
                      <a:lnTo>
                        <a:pt x="503" y="763"/>
                      </a:lnTo>
                      <a:lnTo>
                        <a:pt x="518" y="737"/>
                      </a:lnTo>
                      <a:lnTo>
                        <a:pt x="538" y="706"/>
                      </a:lnTo>
                      <a:lnTo>
                        <a:pt x="507" y="734"/>
                      </a:lnTo>
                      <a:lnTo>
                        <a:pt x="477" y="762"/>
                      </a:lnTo>
                      <a:lnTo>
                        <a:pt x="446" y="790"/>
                      </a:lnTo>
                      <a:lnTo>
                        <a:pt x="416" y="819"/>
                      </a:lnTo>
                      <a:lnTo>
                        <a:pt x="403" y="815"/>
                      </a:lnTo>
                      <a:lnTo>
                        <a:pt x="391" y="813"/>
                      </a:lnTo>
                      <a:lnTo>
                        <a:pt x="385" y="813"/>
                      </a:lnTo>
                      <a:lnTo>
                        <a:pt x="380" y="813"/>
                      </a:lnTo>
                      <a:lnTo>
                        <a:pt x="373" y="813"/>
                      </a:lnTo>
                      <a:lnTo>
                        <a:pt x="367" y="815"/>
                      </a:lnTo>
                      <a:lnTo>
                        <a:pt x="359" y="812"/>
                      </a:lnTo>
                      <a:lnTo>
                        <a:pt x="351" y="808"/>
                      </a:lnTo>
                      <a:lnTo>
                        <a:pt x="343" y="805"/>
                      </a:lnTo>
                      <a:lnTo>
                        <a:pt x="336" y="801"/>
                      </a:lnTo>
                      <a:lnTo>
                        <a:pt x="320" y="789"/>
                      </a:lnTo>
                      <a:lnTo>
                        <a:pt x="304" y="777"/>
                      </a:lnTo>
                      <a:lnTo>
                        <a:pt x="288" y="762"/>
                      </a:lnTo>
                      <a:lnTo>
                        <a:pt x="272" y="746"/>
                      </a:lnTo>
                      <a:lnTo>
                        <a:pt x="256" y="730"/>
                      </a:lnTo>
                      <a:lnTo>
                        <a:pt x="241" y="714"/>
                      </a:lnTo>
                      <a:lnTo>
                        <a:pt x="253" y="733"/>
                      </a:lnTo>
                      <a:lnTo>
                        <a:pt x="265" y="752"/>
                      </a:lnTo>
                      <a:lnTo>
                        <a:pt x="277" y="771"/>
                      </a:lnTo>
                      <a:lnTo>
                        <a:pt x="290" y="788"/>
                      </a:lnTo>
                      <a:lnTo>
                        <a:pt x="303" y="805"/>
                      </a:lnTo>
                      <a:lnTo>
                        <a:pt x="316" y="820"/>
                      </a:lnTo>
                      <a:lnTo>
                        <a:pt x="331" y="832"/>
                      </a:lnTo>
                      <a:lnTo>
                        <a:pt x="347" y="843"/>
                      </a:lnTo>
                      <a:lnTo>
                        <a:pt x="343" y="850"/>
                      </a:lnTo>
                      <a:lnTo>
                        <a:pt x="340" y="857"/>
                      </a:lnTo>
                      <a:lnTo>
                        <a:pt x="339" y="864"/>
                      </a:lnTo>
                      <a:lnTo>
                        <a:pt x="338" y="869"/>
                      </a:lnTo>
                      <a:lnTo>
                        <a:pt x="338" y="875"/>
                      </a:lnTo>
                      <a:lnTo>
                        <a:pt x="338" y="881"/>
                      </a:lnTo>
                      <a:lnTo>
                        <a:pt x="339" y="885"/>
                      </a:lnTo>
                      <a:lnTo>
                        <a:pt x="341" y="891"/>
                      </a:lnTo>
                      <a:lnTo>
                        <a:pt x="346" y="899"/>
                      </a:lnTo>
                      <a:lnTo>
                        <a:pt x="350" y="906"/>
                      </a:lnTo>
                      <a:lnTo>
                        <a:pt x="357" y="911"/>
                      </a:lnTo>
                      <a:lnTo>
                        <a:pt x="363" y="915"/>
                      </a:lnTo>
                      <a:lnTo>
                        <a:pt x="361" y="918"/>
                      </a:lnTo>
                      <a:lnTo>
                        <a:pt x="361" y="920"/>
                      </a:lnTo>
                      <a:lnTo>
                        <a:pt x="323" y="901"/>
                      </a:lnTo>
                      <a:lnTo>
                        <a:pt x="278" y="881"/>
                      </a:lnTo>
                      <a:lnTo>
                        <a:pt x="228" y="859"/>
                      </a:lnTo>
                      <a:lnTo>
                        <a:pt x="177" y="838"/>
                      </a:lnTo>
                      <a:lnTo>
                        <a:pt x="125" y="816"/>
                      </a:lnTo>
                      <a:lnTo>
                        <a:pt x="78" y="797"/>
                      </a:lnTo>
                      <a:lnTo>
                        <a:pt x="35" y="779"/>
                      </a:lnTo>
                      <a:lnTo>
                        <a:pt x="0" y="764"/>
                      </a:lnTo>
                      <a:lnTo>
                        <a:pt x="27" y="753"/>
                      </a:lnTo>
                      <a:lnTo>
                        <a:pt x="54" y="742"/>
                      </a:lnTo>
                      <a:lnTo>
                        <a:pt x="81" y="730"/>
                      </a:lnTo>
                      <a:lnTo>
                        <a:pt x="106" y="720"/>
                      </a:lnTo>
                      <a:lnTo>
                        <a:pt x="130" y="710"/>
                      </a:lnTo>
                      <a:lnTo>
                        <a:pt x="151" y="701"/>
                      </a:lnTo>
                      <a:lnTo>
                        <a:pt x="170" y="693"/>
                      </a:lnTo>
                      <a:lnTo>
                        <a:pt x="183" y="686"/>
                      </a:lnTo>
                      <a:lnTo>
                        <a:pt x="192" y="682"/>
                      </a:lnTo>
                      <a:lnTo>
                        <a:pt x="200" y="676"/>
                      </a:lnTo>
                      <a:lnTo>
                        <a:pt x="207" y="672"/>
                      </a:lnTo>
                      <a:lnTo>
                        <a:pt x="212" y="666"/>
                      </a:lnTo>
                      <a:lnTo>
                        <a:pt x="217" y="660"/>
                      </a:lnTo>
                      <a:lnTo>
                        <a:pt x="220" y="655"/>
                      </a:lnTo>
                      <a:lnTo>
                        <a:pt x="224" y="650"/>
                      </a:lnTo>
                      <a:lnTo>
                        <a:pt x="226" y="645"/>
                      </a:lnTo>
                      <a:lnTo>
                        <a:pt x="230" y="629"/>
                      </a:lnTo>
                      <a:lnTo>
                        <a:pt x="230" y="622"/>
                      </a:lnTo>
                      <a:lnTo>
                        <a:pt x="255" y="624"/>
                      </a:lnTo>
                      <a:lnTo>
                        <a:pt x="254" y="602"/>
                      </a:lnTo>
                      <a:lnTo>
                        <a:pt x="247" y="594"/>
                      </a:lnTo>
                      <a:lnTo>
                        <a:pt x="228" y="574"/>
                      </a:lnTo>
                      <a:lnTo>
                        <a:pt x="225" y="570"/>
                      </a:lnTo>
                      <a:lnTo>
                        <a:pt x="223" y="564"/>
                      </a:lnTo>
                      <a:lnTo>
                        <a:pt x="219" y="559"/>
                      </a:lnTo>
                      <a:lnTo>
                        <a:pt x="217" y="552"/>
                      </a:lnTo>
                      <a:lnTo>
                        <a:pt x="214" y="538"/>
                      </a:lnTo>
                      <a:lnTo>
                        <a:pt x="211" y="523"/>
                      </a:lnTo>
                      <a:lnTo>
                        <a:pt x="208" y="497"/>
                      </a:lnTo>
                      <a:lnTo>
                        <a:pt x="207" y="485"/>
                      </a:lnTo>
                      <a:lnTo>
                        <a:pt x="205" y="487"/>
                      </a:lnTo>
                      <a:lnTo>
                        <a:pt x="192" y="490"/>
                      </a:lnTo>
                      <a:lnTo>
                        <a:pt x="189" y="489"/>
                      </a:lnTo>
                      <a:lnTo>
                        <a:pt x="185" y="487"/>
                      </a:lnTo>
                      <a:lnTo>
                        <a:pt x="183" y="481"/>
                      </a:lnTo>
                      <a:lnTo>
                        <a:pt x="180" y="474"/>
                      </a:lnTo>
                      <a:lnTo>
                        <a:pt x="175" y="455"/>
                      </a:lnTo>
                      <a:lnTo>
                        <a:pt x="170" y="432"/>
                      </a:lnTo>
                      <a:lnTo>
                        <a:pt x="162" y="383"/>
                      </a:lnTo>
                      <a:lnTo>
                        <a:pt x="157" y="346"/>
                      </a:lnTo>
                      <a:lnTo>
                        <a:pt x="157" y="339"/>
                      </a:lnTo>
                      <a:lnTo>
                        <a:pt x="159" y="334"/>
                      </a:lnTo>
                      <a:lnTo>
                        <a:pt x="162" y="331"/>
                      </a:lnTo>
                      <a:lnTo>
                        <a:pt x="165" y="330"/>
                      </a:lnTo>
                      <a:lnTo>
                        <a:pt x="170" y="330"/>
                      </a:lnTo>
                      <a:lnTo>
                        <a:pt x="174" y="331"/>
                      </a:lnTo>
                      <a:lnTo>
                        <a:pt x="177" y="332"/>
                      </a:lnTo>
                      <a:lnTo>
                        <a:pt x="182" y="334"/>
                      </a:lnTo>
                      <a:lnTo>
                        <a:pt x="174" y="319"/>
                      </a:lnTo>
                      <a:lnTo>
                        <a:pt x="166" y="301"/>
                      </a:lnTo>
                      <a:lnTo>
                        <a:pt x="163" y="293"/>
                      </a:lnTo>
                      <a:lnTo>
                        <a:pt x="160" y="283"/>
                      </a:lnTo>
                      <a:lnTo>
                        <a:pt x="158" y="272"/>
                      </a:lnTo>
                      <a:lnTo>
                        <a:pt x="157" y="258"/>
                      </a:lnTo>
                      <a:lnTo>
                        <a:pt x="156" y="228"/>
                      </a:lnTo>
                      <a:lnTo>
                        <a:pt x="157" y="194"/>
                      </a:lnTo>
                      <a:lnTo>
                        <a:pt x="160" y="160"/>
                      </a:lnTo>
                      <a:lnTo>
                        <a:pt x="165" y="129"/>
                      </a:lnTo>
                      <a:lnTo>
                        <a:pt x="168" y="114"/>
                      </a:lnTo>
                      <a:lnTo>
                        <a:pt x="172" y="100"/>
                      </a:lnTo>
                      <a:lnTo>
                        <a:pt x="176" y="89"/>
                      </a:lnTo>
                      <a:lnTo>
                        <a:pt x="181" y="79"/>
                      </a:lnTo>
                      <a:lnTo>
                        <a:pt x="188" y="69"/>
                      </a:lnTo>
                      <a:lnTo>
                        <a:pt x="194" y="62"/>
                      </a:lnTo>
                      <a:lnTo>
                        <a:pt x="202" y="57"/>
                      </a:lnTo>
                      <a:lnTo>
                        <a:pt x="209" y="55"/>
                      </a:lnTo>
                      <a:lnTo>
                        <a:pt x="216" y="54"/>
                      </a:lnTo>
                      <a:lnTo>
                        <a:pt x="223" y="55"/>
                      </a:lnTo>
                      <a:lnTo>
                        <a:pt x="229" y="56"/>
                      </a:lnTo>
                      <a:lnTo>
                        <a:pt x="235" y="59"/>
                      </a:lnTo>
                      <a:lnTo>
                        <a:pt x="243" y="49"/>
                      </a:lnTo>
                      <a:lnTo>
                        <a:pt x="252" y="40"/>
                      </a:lnTo>
                      <a:lnTo>
                        <a:pt x="258" y="35"/>
                      </a:lnTo>
                      <a:lnTo>
                        <a:pt x="263" y="29"/>
                      </a:lnTo>
                      <a:lnTo>
                        <a:pt x="270" y="25"/>
                      </a:lnTo>
                      <a:lnTo>
                        <a:pt x="277" y="20"/>
                      </a:lnTo>
                      <a:lnTo>
                        <a:pt x="291" y="13"/>
                      </a:lnTo>
                      <a:lnTo>
                        <a:pt x="307" y="8"/>
                      </a:lnTo>
                      <a:lnTo>
                        <a:pt x="324" y="4"/>
                      </a:lnTo>
                      <a:lnTo>
                        <a:pt x="341" y="1"/>
                      </a:lnTo>
                      <a:lnTo>
                        <a:pt x="358" y="0"/>
                      </a:lnTo>
                      <a:lnTo>
                        <a:pt x="37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/>
                </a:p>
              </p:txBody>
            </p:sp>
            <p:sp>
              <p:nvSpPr>
                <p:cNvPr id="79" name="Freeform 78"/>
                <p:cNvSpPr>
                  <a:spLocks/>
                </p:cNvSpPr>
                <p:nvPr/>
              </p:nvSpPr>
              <p:spPr bwMode="auto">
                <a:xfrm>
                  <a:off x="5038125" y="4839822"/>
                  <a:ext cx="290768" cy="324238"/>
                </a:xfrm>
                <a:custGeom>
                  <a:avLst/>
                  <a:gdLst>
                    <a:gd name="T0" fmla="*/ 483 w 909"/>
                    <a:gd name="T1" fmla="*/ 4 h 1016"/>
                    <a:gd name="T2" fmla="*/ 428 w 909"/>
                    <a:gd name="T3" fmla="*/ 25 h 1016"/>
                    <a:gd name="T4" fmla="*/ 389 w 909"/>
                    <a:gd name="T5" fmla="*/ 64 h 1016"/>
                    <a:gd name="T6" fmla="*/ 348 w 909"/>
                    <a:gd name="T7" fmla="*/ 122 h 1016"/>
                    <a:gd name="T8" fmla="*/ 330 w 909"/>
                    <a:gd name="T9" fmla="*/ 170 h 1016"/>
                    <a:gd name="T10" fmla="*/ 327 w 909"/>
                    <a:gd name="T11" fmla="*/ 225 h 1016"/>
                    <a:gd name="T12" fmla="*/ 345 w 909"/>
                    <a:gd name="T13" fmla="*/ 334 h 1016"/>
                    <a:gd name="T14" fmla="*/ 327 w 909"/>
                    <a:gd name="T15" fmla="*/ 330 h 1016"/>
                    <a:gd name="T16" fmla="*/ 318 w 909"/>
                    <a:gd name="T17" fmla="*/ 334 h 1016"/>
                    <a:gd name="T18" fmla="*/ 320 w 909"/>
                    <a:gd name="T19" fmla="*/ 383 h 1016"/>
                    <a:gd name="T20" fmla="*/ 341 w 909"/>
                    <a:gd name="T21" fmla="*/ 481 h 1016"/>
                    <a:gd name="T22" fmla="*/ 363 w 909"/>
                    <a:gd name="T23" fmla="*/ 487 h 1016"/>
                    <a:gd name="T24" fmla="*/ 372 w 909"/>
                    <a:gd name="T25" fmla="*/ 538 h 1016"/>
                    <a:gd name="T26" fmla="*/ 383 w 909"/>
                    <a:gd name="T27" fmla="*/ 570 h 1016"/>
                    <a:gd name="T28" fmla="*/ 414 w 909"/>
                    <a:gd name="T29" fmla="*/ 624 h 1016"/>
                    <a:gd name="T30" fmla="*/ 382 w 909"/>
                    <a:gd name="T31" fmla="*/ 650 h 1016"/>
                    <a:gd name="T32" fmla="*/ 365 w 909"/>
                    <a:gd name="T33" fmla="*/ 672 h 1016"/>
                    <a:gd name="T34" fmla="*/ 315 w 909"/>
                    <a:gd name="T35" fmla="*/ 699 h 1016"/>
                    <a:gd name="T36" fmla="*/ 149 w 909"/>
                    <a:gd name="T37" fmla="*/ 768 h 1016"/>
                    <a:gd name="T38" fmla="*/ 59 w 909"/>
                    <a:gd name="T39" fmla="*/ 811 h 1016"/>
                    <a:gd name="T40" fmla="*/ 14 w 909"/>
                    <a:gd name="T41" fmla="*/ 846 h 1016"/>
                    <a:gd name="T42" fmla="*/ 2 w 909"/>
                    <a:gd name="T43" fmla="*/ 874 h 1016"/>
                    <a:gd name="T44" fmla="*/ 3 w 909"/>
                    <a:gd name="T45" fmla="*/ 960 h 1016"/>
                    <a:gd name="T46" fmla="*/ 454 w 909"/>
                    <a:gd name="T47" fmla="*/ 1016 h 1016"/>
                    <a:gd name="T48" fmla="*/ 465 w 909"/>
                    <a:gd name="T49" fmla="*/ 986 h 1016"/>
                    <a:gd name="T50" fmla="*/ 492 w 909"/>
                    <a:gd name="T51" fmla="*/ 956 h 1016"/>
                    <a:gd name="T52" fmla="*/ 501 w 909"/>
                    <a:gd name="T53" fmla="*/ 915 h 1016"/>
                    <a:gd name="T54" fmla="*/ 479 w 909"/>
                    <a:gd name="T55" fmla="*/ 891 h 1016"/>
                    <a:gd name="T56" fmla="*/ 477 w 909"/>
                    <a:gd name="T57" fmla="*/ 869 h 1016"/>
                    <a:gd name="T58" fmla="*/ 485 w 909"/>
                    <a:gd name="T59" fmla="*/ 843 h 1016"/>
                    <a:gd name="T60" fmla="*/ 428 w 909"/>
                    <a:gd name="T61" fmla="*/ 788 h 1016"/>
                    <a:gd name="T62" fmla="*/ 380 w 909"/>
                    <a:gd name="T63" fmla="*/ 714 h 1016"/>
                    <a:gd name="T64" fmla="*/ 443 w 909"/>
                    <a:gd name="T65" fmla="*/ 777 h 1016"/>
                    <a:gd name="T66" fmla="*/ 489 w 909"/>
                    <a:gd name="T67" fmla="*/ 808 h 1016"/>
                    <a:gd name="T68" fmla="*/ 518 w 909"/>
                    <a:gd name="T69" fmla="*/ 813 h 1016"/>
                    <a:gd name="T70" fmla="*/ 554 w 909"/>
                    <a:gd name="T71" fmla="*/ 819 h 1016"/>
                    <a:gd name="T72" fmla="*/ 676 w 909"/>
                    <a:gd name="T73" fmla="*/ 706 h 1016"/>
                    <a:gd name="T74" fmla="*/ 614 w 909"/>
                    <a:gd name="T75" fmla="*/ 799 h 1016"/>
                    <a:gd name="T76" fmla="*/ 576 w 909"/>
                    <a:gd name="T77" fmla="*/ 852 h 1016"/>
                    <a:gd name="T78" fmla="*/ 582 w 909"/>
                    <a:gd name="T79" fmla="*/ 878 h 1016"/>
                    <a:gd name="T80" fmla="*/ 662 w 909"/>
                    <a:gd name="T81" fmla="*/ 868 h 1016"/>
                    <a:gd name="T82" fmla="*/ 842 w 909"/>
                    <a:gd name="T83" fmla="*/ 793 h 1016"/>
                    <a:gd name="T84" fmla="*/ 855 w 909"/>
                    <a:gd name="T85" fmla="*/ 742 h 1016"/>
                    <a:gd name="T86" fmla="*/ 758 w 909"/>
                    <a:gd name="T87" fmla="*/ 701 h 1016"/>
                    <a:gd name="T88" fmla="*/ 710 w 909"/>
                    <a:gd name="T89" fmla="*/ 676 h 1016"/>
                    <a:gd name="T90" fmla="*/ 689 w 909"/>
                    <a:gd name="T91" fmla="*/ 655 h 1016"/>
                    <a:gd name="T92" fmla="*/ 679 w 909"/>
                    <a:gd name="T93" fmla="*/ 622 h 1016"/>
                    <a:gd name="T94" fmla="*/ 681 w 909"/>
                    <a:gd name="T95" fmla="*/ 574 h 1016"/>
                    <a:gd name="T96" fmla="*/ 693 w 909"/>
                    <a:gd name="T97" fmla="*/ 552 h 1016"/>
                    <a:gd name="T98" fmla="*/ 703 w 909"/>
                    <a:gd name="T99" fmla="*/ 485 h 1016"/>
                    <a:gd name="T100" fmla="*/ 724 w 909"/>
                    <a:gd name="T101" fmla="*/ 487 h 1016"/>
                    <a:gd name="T102" fmla="*/ 740 w 909"/>
                    <a:gd name="T103" fmla="*/ 432 h 1016"/>
                    <a:gd name="T104" fmla="*/ 750 w 909"/>
                    <a:gd name="T105" fmla="*/ 334 h 1016"/>
                    <a:gd name="T106" fmla="*/ 736 w 909"/>
                    <a:gd name="T107" fmla="*/ 331 h 1016"/>
                    <a:gd name="T108" fmla="*/ 743 w 909"/>
                    <a:gd name="T109" fmla="*/ 301 h 1016"/>
                    <a:gd name="T110" fmla="*/ 752 w 909"/>
                    <a:gd name="T111" fmla="*/ 258 h 1016"/>
                    <a:gd name="T112" fmla="*/ 745 w 909"/>
                    <a:gd name="T113" fmla="*/ 129 h 1016"/>
                    <a:gd name="T114" fmla="*/ 729 w 909"/>
                    <a:gd name="T115" fmla="*/ 79 h 1016"/>
                    <a:gd name="T116" fmla="*/ 701 w 909"/>
                    <a:gd name="T117" fmla="*/ 55 h 1016"/>
                    <a:gd name="T118" fmla="*/ 675 w 909"/>
                    <a:gd name="T119" fmla="*/ 59 h 1016"/>
                    <a:gd name="T120" fmla="*/ 646 w 909"/>
                    <a:gd name="T121" fmla="*/ 29 h 1016"/>
                    <a:gd name="T122" fmla="*/ 602 w 909"/>
                    <a:gd name="T123" fmla="*/ 8 h 1016"/>
                    <a:gd name="T124" fmla="*/ 533 w 909"/>
                    <a:gd name="T125" fmla="*/ 0 h 1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909" h="1016">
                      <a:moveTo>
                        <a:pt x="533" y="0"/>
                      </a:moveTo>
                      <a:lnTo>
                        <a:pt x="516" y="0"/>
                      </a:lnTo>
                      <a:lnTo>
                        <a:pt x="500" y="1"/>
                      </a:lnTo>
                      <a:lnTo>
                        <a:pt x="483" y="4"/>
                      </a:lnTo>
                      <a:lnTo>
                        <a:pt x="466" y="8"/>
                      </a:lnTo>
                      <a:lnTo>
                        <a:pt x="450" y="13"/>
                      </a:lnTo>
                      <a:lnTo>
                        <a:pt x="435" y="20"/>
                      </a:lnTo>
                      <a:lnTo>
                        <a:pt x="428" y="25"/>
                      </a:lnTo>
                      <a:lnTo>
                        <a:pt x="422" y="29"/>
                      </a:lnTo>
                      <a:lnTo>
                        <a:pt x="416" y="35"/>
                      </a:lnTo>
                      <a:lnTo>
                        <a:pt x="409" y="40"/>
                      </a:lnTo>
                      <a:lnTo>
                        <a:pt x="389" y="64"/>
                      </a:lnTo>
                      <a:lnTo>
                        <a:pt x="370" y="87"/>
                      </a:lnTo>
                      <a:lnTo>
                        <a:pt x="362" y="98"/>
                      </a:lnTo>
                      <a:lnTo>
                        <a:pt x="355" y="110"/>
                      </a:lnTo>
                      <a:lnTo>
                        <a:pt x="348" y="122"/>
                      </a:lnTo>
                      <a:lnTo>
                        <a:pt x="343" y="133"/>
                      </a:lnTo>
                      <a:lnTo>
                        <a:pt x="338" y="145"/>
                      </a:lnTo>
                      <a:lnTo>
                        <a:pt x="334" y="158"/>
                      </a:lnTo>
                      <a:lnTo>
                        <a:pt x="330" y="170"/>
                      </a:lnTo>
                      <a:lnTo>
                        <a:pt x="328" y="183"/>
                      </a:lnTo>
                      <a:lnTo>
                        <a:pt x="327" y="196"/>
                      </a:lnTo>
                      <a:lnTo>
                        <a:pt x="327" y="210"/>
                      </a:lnTo>
                      <a:lnTo>
                        <a:pt x="327" y="225"/>
                      </a:lnTo>
                      <a:lnTo>
                        <a:pt x="328" y="239"/>
                      </a:lnTo>
                      <a:lnTo>
                        <a:pt x="336" y="289"/>
                      </a:lnTo>
                      <a:lnTo>
                        <a:pt x="341" y="319"/>
                      </a:lnTo>
                      <a:lnTo>
                        <a:pt x="345" y="334"/>
                      </a:lnTo>
                      <a:lnTo>
                        <a:pt x="346" y="337"/>
                      </a:lnTo>
                      <a:lnTo>
                        <a:pt x="340" y="335"/>
                      </a:lnTo>
                      <a:lnTo>
                        <a:pt x="330" y="330"/>
                      </a:lnTo>
                      <a:lnTo>
                        <a:pt x="327" y="330"/>
                      </a:lnTo>
                      <a:lnTo>
                        <a:pt x="325" y="330"/>
                      </a:lnTo>
                      <a:lnTo>
                        <a:pt x="321" y="331"/>
                      </a:lnTo>
                      <a:lnTo>
                        <a:pt x="319" y="332"/>
                      </a:lnTo>
                      <a:lnTo>
                        <a:pt x="318" y="334"/>
                      </a:lnTo>
                      <a:lnTo>
                        <a:pt x="317" y="336"/>
                      </a:lnTo>
                      <a:lnTo>
                        <a:pt x="315" y="341"/>
                      </a:lnTo>
                      <a:lnTo>
                        <a:pt x="315" y="346"/>
                      </a:lnTo>
                      <a:lnTo>
                        <a:pt x="320" y="383"/>
                      </a:lnTo>
                      <a:lnTo>
                        <a:pt x="328" y="432"/>
                      </a:lnTo>
                      <a:lnTo>
                        <a:pt x="332" y="455"/>
                      </a:lnTo>
                      <a:lnTo>
                        <a:pt x="338" y="474"/>
                      </a:lnTo>
                      <a:lnTo>
                        <a:pt x="341" y="481"/>
                      </a:lnTo>
                      <a:lnTo>
                        <a:pt x="344" y="487"/>
                      </a:lnTo>
                      <a:lnTo>
                        <a:pt x="347" y="489"/>
                      </a:lnTo>
                      <a:lnTo>
                        <a:pt x="349" y="490"/>
                      </a:lnTo>
                      <a:lnTo>
                        <a:pt x="363" y="487"/>
                      </a:lnTo>
                      <a:lnTo>
                        <a:pt x="365" y="485"/>
                      </a:lnTo>
                      <a:lnTo>
                        <a:pt x="366" y="497"/>
                      </a:lnTo>
                      <a:lnTo>
                        <a:pt x="369" y="523"/>
                      </a:lnTo>
                      <a:lnTo>
                        <a:pt x="372" y="538"/>
                      </a:lnTo>
                      <a:lnTo>
                        <a:pt x="375" y="552"/>
                      </a:lnTo>
                      <a:lnTo>
                        <a:pt x="378" y="559"/>
                      </a:lnTo>
                      <a:lnTo>
                        <a:pt x="380" y="564"/>
                      </a:lnTo>
                      <a:lnTo>
                        <a:pt x="383" y="570"/>
                      </a:lnTo>
                      <a:lnTo>
                        <a:pt x="387" y="574"/>
                      </a:lnTo>
                      <a:lnTo>
                        <a:pt x="406" y="594"/>
                      </a:lnTo>
                      <a:lnTo>
                        <a:pt x="411" y="602"/>
                      </a:lnTo>
                      <a:lnTo>
                        <a:pt x="414" y="624"/>
                      </a:lnTo>
                      <a:lnTo>
                        <a:pt x="389" y="622"/>
                      </a:lnTo>
                      <a:lnTo>
                        <a:pt x="388" y="629"/>
                      </a:lnTo>
                      <a:lnTo>
                        <a:pt x="384" y="645"/>
                      </a:lnTo>
                      <a:lnTo>
                        <a:pt x="382" y="650"/>
                      </a:lnTo>
                      <a:lnTo>
                        <a:pt x="379" y="655"/>
                      </a:lnTo>
                      <a:lnTo>
                        <a:pt x="375" y="660"/>
                      </a:lnTo>
                      <a:lnTo>
                        <a:pt x="371" y="666"/>
                      </a:lnTo>
                      <a:lnTo>
                        <a:pt x="365" y="672"/>
                      </a:lnTo>
                      <a:lnTo>
                        <a:pt x="358" y="676"/>
                      </a:lnTo>
                      <a:lnTo>
                        <a:pt x="350" y="682"/>
                      </a:lnTo>
                      <a:lnTo>
                        <a:pt x="341" y="686"/>
                      </a:lnTo>
                      <a:lnTo>
                        <a:pt x="315" y="699"/>
                      </a:lnTo>
                      <a:lnTo>
                        <a:pt x="280" y="714"/>
                      </a:lnTo>
                      <a:lnTo>
                        <a:pt x="240" y="730"/>
                      </a:lnTo>
                      <a:lnTo>
                        <a:pt x="195" y="749"/>
                      </a:lnTo>
                      <a:lnTo>
                        <a:pt x="149" y="768"/>
                      </a:lnTo>
                      <a:lnTo>
                        <a:pt x="108" y="786"/>
                      </a:lnTo>
                      <a:lnTo>
                        <a:pt x="90" y="795"/>
                      </a:lnTo>
                      <a:lnTo>
                        <a:pt x="73" y="803"/>
                      </a:lnTo>
                      <a:lnTo>
                        <a:pt x="59" y="811"/>
                      </a:lnTo>
                      <a:lnTo>
                        <a:pt x="48" y="817"/>
                      </a:lnTo>
                      <a:lnTo>
                        <a:pt x="31" y="830"/>
                      </a:lnTo>
                      <a:lnTo>
                        <a:pt x="19" y="840"/>
                      </a:lnTo>
                      <a:lnTo>
                        <a:pt x="14" y="846"/>
                      </a:lnTo>
                      <a:lnTo>
                        <a:pt x="9" y="851"/>
                      </a:lnTo>
                      <a:lnTo>
                        <a:pt x="7" y="856"/>
                      </a:lnTo>
                      <a:lnTo>
                        <a:pt x="4" y="861"/>
                      </a:lnTo>
                      <a:lnTo>
                        <a:pt x="2" y="874"/>
                      </a:lnTo>
                      <a:lnTo>
                        <a:pt x="0" y="887"/>
                      </a:lnTo>
                      <a:lnTo>
                        <a:pt x="0" y="903"/>
                      </a:lnTo>
                      <a:lnTo>
                        <a:pt x="0" y="922"/>
                      </a:lnTo>
                      <a:lnTo>
                        <a:pt x="3" y="960"/>
                      </a:lnTo>
                      <a:lnTo>
                        <a:pt x="4" y="988"/>
                      </a:lnTo>
                      <a:lnTo>
                        <a:pt x="5" y="1006"/>
                      </a:lnTo>
                      <a:lnTo>
                        <a:pt x="5" y="1013"/>
                      </a:lnTo>
                      <a:lnTo>
                        <a:pt x="454" y="1016"/>
                      </a:lnTo>
                      <a:lnTo>
                        <a:pt x="456" y="1008"/>
                      </a:lnTo>
                      <a:lnTo>
                        <a:pt x="458" y="1000"/>
                      </a:lnTo>
                      <a:lnTo>
                        <a:pt x="461" y="993"/>
                      </a:lnTo>
                      <a:lnTo>
                        <a:pt x="465" y="986"/>
                      </a:lnTo>
                      <a:lnTo>
                        <a:pt x="470" y="979"/>
                      </a:lnTo>
                      <a:lnTo>
                        <a:pt x="476" y="971"/>
                      </a:lnTo>
                      <a:lnTo>
                        <a:pt x="484" y="964"/>
                      </a:lnTo>
                      <a:lnTo>
                        <a:pt x="492" y="956"/>
                      </a:lnTo>
                      <a:lnTo>
                        <a:pt x="494" y="946"/>
                      </a:lnTo>
                      <a:lnTo>
                        <a:pt x="496" y="936"/>
                      </a:lnTo>
                      <a:lnTo>
                        <a:pt x="498" y="925"/>
                      </a:lnTo>
                      <a:lnTo>
                        <a:pt x="501" y="915"/>
                      </a:lnTo>
                      <a:lnTo>
                        <a:pt x="495" y="911"/>
                      </a:lnTo>
                      <a:lnTo>
                        <a:pt x="489" y="906"/>
                      </a:lnTo>
                      <a:lnTo>
                        <a:pt x="484" y="899"/>
                      </a:lnTo>
                      <a:lnTo>
                        <a:pt x="479" y="891"/>
                      </a:lnTo>
                      <a:lnTo>
                        <a:pt x="478" y="885"/>
                      </a:lnTo>
                      <a:lnTo>
                        <a:pt x="477" y="881"/>
                      </a:lnTo>
                      <a:lnTo>
                        <a:pt x="476" y="875"/>
                      </a:lnTo>
                      <a:lnTo>
                        <a:pt x="477" y="869"/>
                      </a:lnTo>
                      <a:lnTo>
                        <a:pt x="477" y="864"/>
                      </a:lnTo>
                      <a:lnTo>
                        <a:pt x="479" y="857"/>
                      </a:lnTo>
                      <a:lnTo>
                        <a:pt x="481" y="850"/>
                      </a:lnTo>
                      <a:lnTo>
                        <a:pt x="485" y="843"/>
                      </a:lnTo>
                      <a:lnTo>
                        <a:pt x="470" y="832"/>
                      </a:lnTo>
                      <a:lnTo>
                        <a:pt x="456" y="820"/>
                      </a:lnTo>
                      <a:lnTo>
                        <a:pt x="442" y="805"/>
                      </a:lnTo>
                      <a:lnTo>
                        <a:pt x="428" y="788"/>
                      </a:lnTo>
                      <a:lnTo>
                        <a:pt x="416" y="771"/>
                      </a:lnTo>
                      <a:lnTo>
                        <a:pt x="404" y="752"/>
                      </a:lnTo>
                      <a:lnTo>
                        <a:pt x="391" y="733"/>
                      </a:lnTo>
                      <a:lnTo>
                        <a:pt x="380" y="714"/>
                      </a:lnTo>
                      <a:lnTo>
                        <a:pt x="396" y="730"/>
                      </a:lnTo>
                      <a:lnTo>
                        <a:pt x="411" y="746"/>
                      </a:lnTo>
                      <a:lnTo>
                        <a:pt x="427" y="762"/>
                      </a:lnTo>
                      <a:lnTo>
                        <a:pt x="443" y="777"/>
                      </a:lnTo>
                      <a:lnTo>
                        <a:pt x="459" y="789"/>
                      </a:lnTo>
                      <a:lnTo>
                        <a:pt x="474" y="801"/>
                      </a:lnTo>
                      <a:lnTo>
                        <a:pt x="481" y="805"/>
                      </a:lnTo>
                      <a:lnTo>
                        <a:pt x="489" y="808"/>
                      </a:lnTo>
                      <a:lnTo>
                        <a:pt x="497" y="812"/>
                      </a:lnTo>
                      <a:lnTo>
                        <a:pt x="505" y="815"/>
                      </a:lnTo>
                      <a:lnTo>
                        <a:pt x="512" y="813"/>
                      </a:lnTo>
                      <a:lnTo>
                        <a:pt x="518" y="813"/>
                      </a:lnTo>
                      <a:lnTo>
                        <a:pt x="523" y="813"/>
                      </a:lnTo>
                      <a:lnTo>
                        <a:pt x="530" y="813"/>
                      </a:lnTo>
                      <a:lnTo>
                        <a:pt x="542" y="815"/>
                      </a:lnTo>
                      <a:lnTo>
                        <a:pt x="554" y="819"/>
                      </a:lnTo>
                      <a:lnTo>
                        <a:pt x="584" y="790"/>
                      </a:lnTo>
                      <a:lnTo>
                        <a:pt x="615" y="762"/>
                      </a:lnTo>
                      <a:lnTo>
                        <a:pt x="645" y="734"/>
                      </a:lnTo>
                      <a:lnTo>
                        <a:pt x="676" y="706"/>
                      </a:lnTo>
                      <a:lnTo>
                        <a:pt x="657" y="737"/>
                      </a:lnTo>
                      <a:lnTo>
                        <a:pt x="641" y="763"/>
                      </a:lnTo>
                      <a:lnTo>
                        <a:pt x="626" y="784"/>
                      </a:lnTo>
                      <a:lnTo>
                        <a:pt x="614" y="799"/>
                      </a:lnTo>
                      <a:lnTo>
                        <a:pt x="591" y="824"/>
                      </a:lnTo>
                      <a:lnTo>
                        <a:pt x="570" y="846"/>
                      </a:lnTo>
                      <a:lnTo>
                        <a:pt x="573" y="849"/>
                      </a:lnTo>
                      <a:lnTo>
                        <a:pt x="576" y="852"/>
                      </a:lnTo>
                      <a:lnTo>
                        <a:pt x="579" y="857"/>
                      </a:lnTo>
                      <a:lnTo>
                        <a:pt x="581" y="863"/>
                      </a:lnTo>
                      <a:lnTo>
                        <a:pt x="582" y="869"/>
                      </a:lnTo>
                      <a:lnTo>
                        <a:pt x="582" y="878"/>
                      </a:lnTo>
                      <a:lnTo>
                        <a:pt x="581" y="891"/>
                      </a:lnTo>
                      <a:lnTo>
                        <a:pt x="580" y="904"/>
                      </a:lnTo>
                      <a:lnTo>
                        <a:pt x="618" y="886"/>
                      </a:lnTo>
                      <a:lnTo>
                        <a:pt x="662" y="868"/>
                      </a:lnTo>
                      <a:lnTo>
                        <a:pt x="707" y="848"/>
                      </a:lnTo>
                      <a:lnTo>
                        <a:pt x="754" y="829"/>
                      </a:lnTo>
                      <a:lnTo>
                        <a:pt x="799" y="811"/>
                      </a:lnTo>
                      <a:lnTo>
                        <a:pt x="842" y="793"/>
                      </a:lnTo>
                      <a:lnTo>
                        <a:pt x="879" y="778"/>
                      </a:lnTo>
                      <a:lnTo>
                        <a:pt x="909" y="764"/>
                      </a:lnTo>
                      <a:lnTo>
                        <a:pt x="882" y="753"/>
                      </a:lnTo>
                      <a:lnTo>
                        <a:pt x="855" y="742"/>
                      </a:lnTo>
                      <a:lnTo>
                        <a:pt x="828" y="730"/>
                      </a:lnTo>
                      <a:lnTo>
                        <a:pt x="803" y="720"/>
                      </a:lnTo>
                      <a:lnTo>
                        <a:pt x="780" y="710"/>
                      </a:lnTo>
                      <a:lnTo>
                        <a:pt x="758" y="701"/>
                      </a:lnTo>
                      <a:lnTo>
                        <a:pt x="740" y="693"/>
                      </a:lnTo>
                      <a:lnTo>
                        <a:pt x="727" y="686"/>
                      </a:lnTo>
                      <a:lnTo>
                        <a:pt x="717" y="682"/>
                      </a:lnTo>
                      <a:lnTo>
                        <a:pt x="710" y="676"/>
                      </a:lnTo>
                      <a:lnTo>
                        <a:pt x="703" y="672"/>
                      </a:lnTo>
                      <a:lnTo>
                        <a:pt x="697" y="666"/>
                      </a:lnTo>
                      <a:lnTo>
                        <a:pt x="693" y="660"/>
                      </a:lnTo>
                      <a:lnTo>
                        <a:pt x="689" y="655"/>
                      </a:lnTo>
                      <a:lnTo>
                        <a:pt x="686" y="650"/>
                      </a:lnTo>
                      <a:lnTo>
                        <a:pt x="684" y="645"/>
                      </a:lnTo>
                      <a:lnTo>
                        <a:pt x="679" y="629"/>
                      </a:lnTo>
                      <a:lnTo>
                        <a:pt x="679" y="622"/>
                      </a:lnTo>
                      <a:lnTo>
                        <a:pt x="654" y="624"/>
                      </a:lnTo>
                      <a:lnTo>
                        <a:pt x="655" y="602"/>
                      </a:lnTo>
                      <a:lnTo>
                        <a:pt x="662" y="594"/>
                      </a:lnTo>
                      <a:lnTo>
                        <a:pt x="681" y="574"/>
                      </a:lnTo>
                      <a:lnTo>
                        <a:pt x="685" y="570"/>
                      </a:lnTo>
                      <a:lnTo>
                        <a:pt x="687" y="564"/>
                      </a:lnTo>
                      <a:lnTo>
                        <a:pt x="690" y="559"/>
                      </a:lnTo>
                      <a:lnTo>
                        <a:pt x="693" y="552"/>
                      </a:lnTo>
                      <a:lnTo>
                        <a:pt x="696" y="538"/>
                      </a:lnTo>
                      <a:lnTo>
                        <a:pt x="698" y="523"/>
                      </a:lnTo>
                      <a:lnTo>
                        <a:pt x="702" y="497"/>
                      </a:lnTo>
                      <a:lnTo>
                        <a:pt x="703" y="485"/>
                      </a:lnTo>
                      <a:lnTo>
                        <a:pt x="705" y="487"/>
                      </a:lnTo>
                      <a:lnTo>
                        <a:pt x="719" y="490"/>
                      </a:lnTo>
                      <a:lnTo>
                        <a:pt x="721" y="489"/>
                      </a:lnTo>
                      <a:lnTo>
                        <a:pt x="724" y="487"/>
                      </a:lnTo>
                      <a:lnTo>
                        <a:pt x="727" y="481"/>
                      </a:lnTo>
                      <a:lnTo>
                        <a:pt x="730" y="474"/>
                      </a:lnTo>
                      <a:lnTo>
                        <a:pt x="734" y="455"/>
                      </a:lnTo>
                      <a:lnTo>
                        <a:pt x="740" y="432"/>
                      </a:lnTo>
                      <a:lnTo>
                        <a:pt x="748" y="383"/>
                      </a:lnTo>
                      <a:lnTo>
                        <a:pt x="752" y="346"/>
                      </a:lnTo>
                      <a:lnTo>
                        <a:pt x="752" y="339"/>
                      </a:lnTo>
                      <a:lnTo>
                        <a:pt x="750" y="334"/>
                      </a:lnTo>
                      <a:lnTo>
                        <a:pt x="748" y="331"/>
                      </a:lnTo>
                      <a:lnTo>
                        <a:pt x="745" y="330"/>
                      </a:lnTo>
                      <a:lnTo>
                        <a:pt x="740" y="330"/>
                      </a:lnTo>
                      <a:lnTo>
                        <a:pt x="736" y="331"/>
                      </a:lnTo>
                      <a:lnTo>
                        <a:pt x="732" y="332"/>
                      </a:lnTo>
                      <a:lnTo>
                        <a:pt x="728" y="334"/>
                      </a:lnTo>
                      <a:lnTo>
                        <a:pt x="736" y="319"/>
                      </a:lnTo>
                      <a:lnTo>
                        <a:pt x="743" y="301"/>
                      </a:lnTo>
                      <a:lnTo>
                        <a:pt x="747" y="293"/>
                      </a:lnTo>
                      <a:lnTo>
                        <a:pt x="749" y="283"/>
                      </a:lnTo>
                      <a:lnTo>
                        <a:pt x="751" y="272"/>
                      </a:lnTo>
                      <a:lnTo>
                        <a:pt x="752" y="258"/>
                      </a:lnTo>
                      <a:lnTo>
                        <a:pt x="754" y="228"/>
                      </a:lnTo>
                      <a:lnTo>
                        <a:pt x="752" y="194"/>
                      </a:lnTo>
                      <a:lnTo>
                        <a:pt x="749" y="160"/>
                      </a:lnTo>
                      <a:lnTo>
                        <a:pt x="745" y="129"/>
                      </a:lnTo>
                      <a:lnTo>
                        <a:pt x="741" y="114"/>
                      </a:lnTo>
                      <a:lnTo>
                        <a:pt x="738" y="100"/>
                      </a:lnTo>
                      <a:lnTo>
                        <a:pt x="733" y="89"/>
                      </a:lnTo>
                      <a:lnTo>
                        <a:pt x="729" y="79"/>
                      </a:lnTo>
                      <a:lnTo>
                        <a:pt x="722" y="69"/>
                      </a:lnTo>
                      <a:lnTo>
                        <a:pt x="715" y="62"/>
                      </a:lnTo>
                      <a:lnTo>
                        <a:pt x="708" y="57"/>
                      </a:lnTo>
                      <a:lnTo>
                        <a:pt x="701" y="55"/>
                      </a:lnTo>
                      <a:lnTo>
                        <a:pt x="694" y="54"/>
                      </a:lnTo>
                      <a:lnTo>
                        <a:pt x="687" y="55"/>
                      </a:lnTo>
                      <a:lnTo>
                        <a:pt x="680" y="56"/>
                      </a:lnTo>
                      <a:lnTo>
                        <a:pt x="675" y="59"/>
                      </a:lnTo>
                      <a:lnTo>
                        <a:pt x="667" y="49"/>
                      </a:lnTo>
                      <a:lnTo>
                        <a:pt x="658" y="40"/>
                      </a:lnTo>
                      <a:lnTo>
                        <a:pt x="652" y="35"/>
                      </a:lnTo>
                      <a:lnTo>
                        <a:pt x="646" y="29"/>
                      </a:lnTo>
                      <a:lnTo>
                        <a:pt x="640" y="25"/>
                      </a:lnTo>
                      <a:lnTo>
                        <a:pt x="633" y="20"/>
                      </a:lnTo>
                      <a:lnTo>
                        <a:pt x="618" y="13"/>
                      </a:lnTo>
                      <a:lnTo>
                        <a:pt x="602" y="8"/>
                      </a:lnTo>
                      <a:lnTo>
                        <a:pt x="585" y="4"/>
                      </a:lnTo>
                      <a:lnTo>
                        <a:pt x="568" y="1"/>
                      </a:lnTo>
                      <a:lnTo>
                        <a:pt x="551" y="0"/>
                      </a:lnTo>
                      <a:lnTo>
                        <a:pt x="53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/>
                </a:p>
              </p:txBody>
            </p:sp>
          </p:grpSp>
          <p:cxnSp>
            <p:nvCxnSpPr>
              <p:cNvPr id="54" name="Straight Connector 53"/>
              <p:cNvCxnSpPr/>
              <p:nvPr/>
            </p:nvCxnSpPr>
            <p:spPr bwMode="auto">
              <a:xfrm flipH="1" flipV="1">
                <a:off x="6219641" y="3156837"/>
                <a:ext cx="0" cy="374207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55" name="Gruppe 956"/>
              <p:cNvGrpSpPr>
                <a:grpSpLocks/>
              </p:cNvGrpSpPr>
              <p:nvPr/>
            </p:nvGrpSpPr>
            <p:grpSpPr bwMode="auto">
              <a:xfrm>
                <a:off x="5794375" y="2840038"/>
                <a:ext cx="700088" cy="869950"/>
                <a:chOff x="215000" y="2687274"/>
                <a:chExt cx="2593295" cy="3223034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2" name="Freeform 814"/>
                <p:cNvSpPr>
                  <a:spLocks noEditPoints="1"/>
                </p:cNvSpPr>
                <p:nvPr/>
              </p:nvSpPr>
              <p:spPr bwMode="auto">
                <a:xfrm flipH="1">
                  <a:off x="215000" y="2969584"/>
                  <a:ext cx="993804" cy="2940724"/>
                </a:xfrm>
                <a:custGeom>
                  <a:avLst/>
                  <a:gdLst>
                    <a:gd name="T0" fmla="*/ 2147483647 w 642"/>
                    <a:gd name="T1" fmla="*/ 2147483647 h 1854"/>
                    <a:gd name="T2" fmla="*/ 2147483647 w 642"/>
                    <a:gd name="T3" fmla="*/ 2147483647 h 1854"/>
                    <a:gd name="T4" fmla="*/ 2147483647 w 642"/>
                    <a:gd name="T5" fmla="*/ 2147483647 h 1854"/>
                    <a:gd name="T6" fmla="*/ 2147483647 w 642"/>
                    <a:gd name="T7" fmla="*/ 2147483647 h 1854"/>
                    <a:gd name="T8" fmla="*/ 2147483647 w 642"/>
                    <a:gd name="T9" fmla="*/ 2147483647 h 1854"/>
                    <a:gd name="T10" fmla="*/ 2147483647 w 642"/>
                    <a:gd name="T11" fmla="*/ 2147483647 h 1854"/>
                    <a:gd name="T12" fmla="*/ 2147483647 w 642"/>
                    <a:gd name="T13" fmla="*/ 2147483647 h 1854"/>
                    <a:gd name="T14" fmla="*/ 2147483647 w 642"/>
                    <a:gd name="T15" fmla="*/ 2147483647 h 1854"/>
                    <a:gd name="T16" fmla="*/ 2147483647 w 642"/>
                    <a:gd name="T17" fmla="*/ 2147483647 h 1854"/>
                    <a:gd name="T18" fmla="*/ 2147483647 w 642"/>
                    <a:gd name="T19" fmla="*/ 2147483647 h 1854"/>
                    <a:gd name="T20" fmla="*/ 2147483647 w 642"/>
                    <a:gd name="T21" fmla="*/ 2147483647 h 1854"/>
                    <a:gd name="T22" fmla="*/ 2147483647 w 642"/>
                    <a:gd name="T23" fmla="*/ 2147483647 h 1854"/>
                    <a:gd name="T24" fmla="*/ 2147483647 w 642"/>
                    <a:gd name="T25" fmla="*/ 2147483647 h 1854"/>
                    <a:gd name="T26" fmla="*/ 2147483647 w 642"/>
                    <a:gd name="T27" fmla="*/ 2147483647 h 1854"/>
                    <a:gd name="T28" fmla="*/ 2147483647 w 642"/>
                    <a:gd name="T29" fmla="*/ 2147483647 h 1854"/>
                    <a:gd name="T30" fmla="*/ 2147483647 w 642"/>
                    <a:gd name="T31" fmla="*/ 2147483647 h 1854"/>
                    <a:gd name="T32" fmla="*/ 2147483647 w 642"/>
                    <a:gd name="T33" fmla="*/ 2147483647 h 1854"/>
                    <a:gd name="T34" fmla="*/ 2147483647 w 642"/>
                    <a:gd name="T35" fmla="*/ 2147483647 h 1854"/>
                    <a:gd name="T36" fmla="*/ 2147483647 w 642"/>
                    <a:gd name="T37" fmla="*/ 2147483647 h 1854"/>
                    <a:gd name="T38" fmla="*/ 2147483647 w 642"/>
                    <a:gd name="T39" fmla="*/ 2147483647 h 1854"/>
                    <a:gd name="T40" fmla="*/ 2147483647 w 642"/>
                    <a:gd name="T41" fmla="*/ 0 h 1854"/>
                    <a:gd name="T42" fmla="*/ 2147483647 w 642"/>
                    <a:gd name="T43" fmla="*/ 2147483647 h 1854"/>
                    <a:gd name="T44" fmla="*/ 2147483647 w 642"/>
                    <a:gd name="T45" fmla="*/ 2147483647 h 1854"/>
                    <a:gd name="T46" fmla="*/ 2147483647 w 642"/>
                    <a:gd name="T47" fmla="*/ 2147483647 h 1854"/>
                    <a:gd name="T48" fmla="*/ 2147483647 w 642"/>
                    <a:gd name="T49" fmla="*/ 2147483647 h 1854"/>
                    <a:gd name="T50" fmla="*/ 2147483647 w 642"/>
                    <a:gd name="T51" fmla="*/ 2147483647 h 1854"/>
                    <a:gd name="T52" fmla="*/ 2147483647 w 642"/>
                    <a:gd name="T53" fmla="*/ 2147483647 h 1854"/>
                    <a:gd name="T54" fmla="*/ 2147483647 w 642"/>
                    <a:gd name="T55" fmla="*/ 2147483647 h 1854"/>
                    <a:gd name="T56" fmla="*/ 2147483647 w 642"/>
                    <a:gd name="T57" fmla="*/ 2147483647 h 1854"/>
                    <a:gd name="T58" fmla="*/ 2147483647 w 642"/>
                    <a:gd name="T59" fmla="*/ 2147483647 h 1854"/>
                    <a:gd name="T60" fmla="*/ 2147483647 w 642"/>
                    <a:gd name="T61" fmla="*/ 2147483647 h 1854"/>
                    <a:gd name="T62" fmla="*/ 2147483647 w 642"/>
                    <a:gd name="T63" fmla="*/ 2147483647 h 1854"/>
                    <a:gd name="T64" fmla="*/ 2147483647 w 642"/>
                    <a:gd name="T65" fmla="*/ 2147483647 h 1854"/>
                    <a:gd name="T66" fmla="*/ 0 w 642"/>
                    <a:gd name="T67" fmla="*/ 2147483647 h 1854"/>
                    <a:gd name="T68" fmla="*/ 2147483647 w 642"/>
                    <a:gd name="T69" fmla="*/ 2147483647 h 1854"/>
                    <a:gd name="T70" fmla="*/ 2147483647 w 642"/>
                    <a:gd name="T71" fmla="*/ 2147483647 h 1854"/>
                    <a:gd name="T72" fmla="*/ 2147483647 w 642"/>
                    <a:gd name="T73" fmla="*/ 2147483647 h 1854"/>
                    <a:gd name="T74" fmla="*/ 2147483647 w 642"/>
                    <a:gd name="T75" fmla="*/ 2147483647 h 1854"/>
                    <a:gd name="T76" fmla="*/ 2147483647 w 642"/>
                    <a:gd name="T77" fmla="*/ 2147483647 h 1854"/>
                    <a:gd name="T78" fmla="*/ 2147483647 w 642"/>
                    <a:gd name="T79" fmla="*/ 2147483647 h 1854"/>
                    <a:gd name="T80" fmla="*/ 2147483647 w 642"/>
                    <a:gd name="T81" fmla="*/ 2147483647 h 1854"/>
                    <a:gd name="T82" fmla="*/ 2147483647 w 642"/>
                    <a:gd name="T83" fmla="*/ 2147483647 h 1854"/>
                    <a:gd name="T84" fmla="*/ 2147483647 w 642"/>
                    <a:gd name="T85" fmla="*/ 2147483647 h 1854"/>
                    <a:gd name="T86" fmla="*/ 2147483647 w 642"/>
                    <a:gd name="T87" fmla="*/ 2147483647 h 1854"/>
                    <a:gd name="T88" fmla="*/ 2147483647 w 642"/>
                    <a:gd name="T89" fmla="*/ 2147483647 h 1854"/>
                    <a:gd name="T90" fmla="*/ 2147483647 w 642"/>
                    <a:gd name="T91" fmla="*/ 2147483647 h 1854"/>
                    <a:gd name="T92" fmla="*/ 2147483647 w 642"/>
                    <a:gd name="T93" fmla="*/ 2147483647 h 1854"/>
                    <a:gd name="T94" fmla="*/ 2147483647 w 642"/>
                    <a:gd name="T95" fmla="*/ 2147483647 h 1854"/>
                    <a:gd name="T96" fmla="*/ 2147483647 w 642"/>
                    <a:gd name="T97" fmla="*/ 2147483647 h 1854"/>
                    <a:gd name="T98" fmla="*/ 2147483647 w 642"/>
                    <a:gd name="T99" fmla="*/ 2147483647 h 1854"/>
                    <a:gd name="T100" fmla="*/ 2147483647 w 642"/>
                    <a:gd name="T101" fmla="*/ 2147483647 h 1854"/>
                    <a:gd name="T102" fmla="*/ 2147483647 w 642"/>
                    <a:gd name="T103" fmla="*/ 2147483647 h 1854"/>
                    <a:gd name="T104" fmla="*/ 2147483647 w 642"/>
                    <a:gd name="T105" fmla="*/ 2147483647 h 1854"/>
                    <a:gd name="T106" fmla="*/ 2147483647 w 642"/>
                    <a:gd name="T107" fmla="*/ 2147483647 h 1854"/>
                    <a:gd name="T108" fmla="*/ 2147483647 w 642"/>
                    <a:gd name="T109" fmla="*/ 2147483647 h 1854"/>
                    <a:gd name="T110" fmla="*/ 2147483647 w 642"/>
                    <a:gd name="T111" fmla="*/ 2147483647 h 1854"/>
                    <a:gd name="T112" fmla="*/ 2147483647 w 642"/>
                    <a:gd name="T113" fmla="*/ 2147483647 h 1854"/>
                    <a:gd name="T114" fmla="*/ 2147483647 w 642"/>
                    <a:gd name="T115" fmla="*/ 2147483647 h 1854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642"/>
                    <a:gd name="T175" fmla="*/ 0 h 1854"/>
                    <a:gd name="T176" fmla="*/ 642 w 642"/>
                    <a:gd name="T177" fmla="*/ 1854 h 1854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642" h="1854">
                      <a:moveTo>
                        <a:pt x="642" y="1559"/>
                      </a:moveTo>
                      <a:lnTo>
                        <a:pt x="638" y="1547"/>
                      </a:lnTo>
                      <a:lnTo>
                        <a:pt x="613" y="1535"/>
                      </a:lnTo>
                      <a:lnTo>
                        <a:pt x="593" y="1518"/>
                      </a:lnTo>
                      <a:lnTo>
                        <a:pt x="568" y="1493"/>
                      </a:lnTo>
                      <a:lnTo>
                        <a:pt x="564" y="1489"/>
                      </a:lnTo>
                      <a:lnTo>
                        <a:pt x="555" y="1489"/>
                      </a:lnTo>
                      <a:lnTo>
                        <a:pt x="535" y="1489"/>
                      </a:lnTo>
                      <a:lnTo>
                        <a:pt x="506" y="1493"/>
                      </a:lnTo>
                      <a:lnTo>
                        <a:pt x="481" y="1472"/>
                      </a:lnTo>
                      <a:lnTo>
                        <a:pt x="456" y="1447"/>
                      </a:lnTo>
                      <a:lnTo>
                        <a:pt x="423" y="1402"/>
                      </a:lnTo>
                      <a:lnTo>
                        <a:pt x="402" y="1365"/>
                      </a:lnTo>
                      <a:lnTo>
                        <a:pt x="398" y="1356"/>
                      </a:lnTo>
                      <a:lnTo>
                        <a:pt x="402" y="1356"/>
                      </a:lnTo>
                      <a:lnTo>
                        <a:pt x="406" y="1356"/>
                      </a:lnTo>
                      <a:lnTo>
                        <a:pt x="414" y="1352"/>
                      </a:lnTo>
                      <a:lnTo>
                        <a:pt x="431" y="1340"/>
                      </a:lnTo>
                      <a:lnTo>
                        <a:pt x="456" y="1311"/>
                      </a:lnTo>
                      <a:lnTo>
                        <a:pt x="456" y="1294"/>
                      </a:lnTo>
                      <a:lnTo>
                        <a:pt x="460" y="1244"/>
                      </a:lnTo>
                      <a:lnTo>
                        <a:pt x="464" y="1099"/>
                      </a:lnTo>
                      <a:lnTo>
                        <a:pt x="472" y="888"/>
                      </a:lnTo>
                      <a:lnTo>
                        <a:pt x="468" y="867"/>
                      </a:lnTo>
                      <a:lnTo>
                        <a:pt x="468" y="850"/>
                      </a:lnTo>
                      <a:lnTo>
                        <a:pt x="472" y="842"/>
                      </a:lnTo>
                      <a:lnTo>
                        <a:pt x="477" y="854"/>
                      </a:lnTo>
                      <a:lnTo>
                        <a:pt x="477" y="871"/>
                      </a:lnTo>
                      <a:lnTo>
                        <a:pt x="477" y="900"/>
                      </a:lnTo>
                      <a:lnTo>
                        <a:pt x="477" y="933"/>
                      </a:lnTo>
                      <a:lnTo>
                        <a:pt x="485" y="946"/>
                      </a:lnTo>
                      <a:lnTo>
                        <a:pt x="493" y="946"/>
                      </a:lnTo>
                      <a:lnTo>
                        <a:pt x="506" y="946"/>
                      </a:lnTo>
                      <a:lnTo>
                        <a:pt x="514" y="950"/>
                      </a:lnTo>
                      <a:lnTo>
                        <a:pt x="518" y="946"/>
                      </a:lnTo>
                      <a:lnTo>
                        <a:pt x="526" y="946"/>
                      </a:lnTo>
                      <a:lnTo>
                        <a:pt x="530" y="946"/>
                      </a:lnTo>
                      <a:lnTo>
                        <a:pt x="535" y="946"/>
                      </a:lnTo>
                      <a:lnTo>
                        <a:pt x="539" y="946"/>
                      </a:lnTo>
                      <a:lnTo>
                        <a:pt x="547" y="937"/>
                      </a:lnTo>
                      <a:lnTo>
                        <a:pt x="547" y="921"/>
                      </a:lnTo>
                      <a:lnTo>
                        <a:pt x="547" y="912"/>
                      </a:lnTo>
                      <a:lnTo>
                        <a:pt x="547" y="883"/>
                      </a:lnTo>
                      <a:lnTo>
                        <a:pt x="543" y="875"/>
                      </a:lnTo>
                      <a:lnTo>
                        <a:pt x="539" y="871"/>
                      </a:lnTo>
                      <a:lnTo>
                        <a:pt x="539" y="867"/>
                      </a:lnTo>
                      <a:lnTo>
                        <a:pt x="535" y="854"/>
                      </a:lnTo>
                      <a:lnTo>
                        <a:pt x="535" y="821"/>
                      </a:lnTo>
                      <a:lnTo>
                        <a:pt x="539" y="767"/>
                      </a:lnTo>
                      <a:lnTo>
                        <a:pt x="539" y="738"/>
                      </a:lnTo>
                      <a:lnTo>
                        <a:pt x="518" y="647"/>
                      </a:lnTo>
                      <a:lnTo>
                        <a:pt x="497" y="539"/>
                      </a:lnTo>
                      <a:lnTo>
                        <a:pt x="485" y="444"/>
                      </a:lnTo>
                      <a:lnTo>
                        <a:pt x="456" y="336"/>
                      </a:lnTo>
                      <a:lnTo>
                        <a:pt x="443" y="307"/>
                      </a:lnTo>
                      <a:lnTo>
                        <a:pt x="431" y="286"/>
                      </a:lnTo>
                      <a:lnTo>
                        <a:pt x="414" y="274"/>
                      </a:lnTo>
                      <a:lnTo>
                        <a:pt x="394" y="270"/>
                      </a:lnTo>
                      <a:lnTo>
                        <a:pt x="381" y="265"/>
                      </a:lnTo>
                      <a:lnTo>
                        <a:pt x="365" y="265"/>
                      </a:lnTo>
                      <a:lnTo>
                        <a:pt x="352" y="270"/>
                      </a:lnTo>
                      <a:lnTo>
                        <a:pt x="340" y="270"/>
                      </a:lnTo>
                      <a:lnTo>
                        <a:pt x="336" y="257"/>
                      </a:lnTo>
                      <a:lnTo>
                        <a:pt x="331" y="245"/>
                      </a:lnTo>
                      <a:lnTo>
                        <a:pt x="331" y="228"/>
                      </a:lnTo>
                      <a:lnTo>
                        <a:pt x="331" y="203"/>
                      </a:lnTo>
                      <a:lnTo>
                        <a:pt x="331" y="174"/>
                      </a:lnTo>
                      <a:lnTo>
                        <a:pt x="331" y="145"/>
                      </a:lnTo>
                      <a:lnTo>
                        <a:pt x="331" y="116"/>
                      </a:lnTo>
                      <a:lnTo>
                        <a:pt x="319" y="83"/>
                      </a:lnTo>
                      <a:lnTo>
                        <a:pt x="315" y="66"/>
                      </a:lnTo>
                      <a:lnTo>
                        <a:pt x="302" y="50"/>
                      </a:lnTo>
                      <a:lnTo>
                        <a:pt x="290" y="37"/>
                      </a:lnTo>
                      <a:lnTo>
                        <a:pt x="277" y="25"/>
                      </a:lnTo>
                      <a:lnTo>
                        <a:pt x="248" y="8"/>
                      </a:lnTo>
                      <a:lnTo>
                        <a:pt x="224" y="0"/>
                      </a:lnTo>
                      <a:lnTo>
                        <a:pt x="190" y="0"/>
                      </a:lnTo>
                      <a:lnTo>
                        <a:pt x="157" y="8"/>
                      </a:lnTo>
                      <a:lnTo>
                        <a:pt x="124" y="17"/>
                      </a:lnTo>
                      <a:lnTo>
                        <a:pt x="107" y="25"/>
                      </a:lnTo>
                      <a:lnTo>
                        <a:pt x="95" y="33"/>
                      </a:lnTo>
                      <a:lnTo>
                        <a:pt x="87" y="46"/>
                      </a:lnTo>
                      <a:lnTo>
                        <a:pt x="87" y="54"/>
                      </a:lnTo>
                      <a:lnTo>
                        <a:pt x="87" y="62"/>
                      </a:lnTo>
                      <a:lnTo>
                        <a:pt x="91" y="71"/>
                      </a:lnTo>
                      <a:lnTo>
                        <a:pt x="87" y="87"/>
                      </a:lnTo>
                      <a:lnTo>
                        <a:pt x="87" y="120"/>
                      </a:lnTo>
                      <a:lnTo>
                        <a:pt x="87" y="133"/>
                      </a:lnTo>
                      <a:lnTo>
                        <a:pt x="91" y="137"/>
                      </a:lnTo>
                      <a:lnTo>
                        <a:pt x="95" y="141"/>
                      </a:lnTo>
                      <a:lnTo>
                        <a:pt x="103" y="149"/>
                      </a:lnTo>
                      <a:lnTo>
                        <a:pt x="95" y="170"/>
                      </a:lnTo>
                      <a:lnTo>
                        <a:pt x="91" y="191"/>
                      </a:lnTo>
                      <a:lnTo>
                        <a:pt x="99" y="195"/>
                      </a:lnTo>
                      <a:lnTo>
                        <a:pt x="107" y="195"/>
                      </a:lnTo>
                      <a:lnTo>
                        <a:pt x="112" y="203"/>
                      </a:lnTo>
                      <a:lnTo>
                        <a:pt x="112" y="207"/>
                      </a:lnTo>
                      <a:lnTo>
                        <a:pt x="116" y="212"/>
                      </a:lnTo>
                      <a:lnTo>
                        <a:pt x="116" y="220"/>
                      </a:lnTo>
                      <a:lnTo>
                        <a:pt x="120" y="224"/>
                      </a:lnTo>
                      <a:lnTo>
                        <a:pt x="124" y="228"/>
                      </a:lnTo>
                      <a:lnTo>
                        <a:pt x="128" y="241"/>
                      </a:lnTo>
                      <a:lnTo>
                        <a:pt x="128" y="249"/>
                      </a:lnTo>
                      <a:lnTo>
                        <a:pt x="132" y="253"/>
                      </a:lnTo>
                      <a:lnTo>
                        <a:pt x="141" y="253"/>
                      </a:lnTo>
                      <a:lnTo>
                        <a:pt x="165" y="253"/>
                      </a:lnTo>
                      <a:lnTo>
                        <a:pt x="174" y="253"/>
                      </a:lnTo>
                      <a:lnTo>
                        <a:pt x="178" y="257"/>
                      </a:lnTo>
                      <a:lnTo>
                        <a:pt x="182" y="265"/>
                      </a:lnTo>
                      <a:lnTo>
                        <a:pt x="182" y="270"/>
                      </a:lnTo>
                      <a:lnTo>
                        <a:pt x="182" y="278"/>
                      </a:lnTo>
                      <a:lnTo>
                        <a:pt x="78" y="394"/>
                      </a:lnTo>
                      <a:lnTo>
                        <a:pt x="70" y="406"/>
                      </a:lnTo>
                      <a:lnTo>
                        <a:pt x="70" y="419"/>
                      </a:lnTo>
                      <a:lnTo>
                        <a:pt x="74" y="448"/>
                      </a:lnTo>
                      <a:lnTo>
                        <a:pt x="70" y="518"/>
                      </a:lnTo>
                      <a:lnTo>
                        <a:pt x="62" y="610"/>
                      </a:lnTo>
                      <a:lnTo>
                        <a:pt x="49" y="713"/>
                      </a:lnTo>
                      <a:lnTo>
                        <a:pt x="16" y="713"/>
                      </a:lnTo>
                      <a:lnTo>
                        <a:pt x="0" y="971"/>
                      </a:lnTo>
                      <a:lnTo>
                        <a:pt x="78" y="971"/>
                      </a:lnTo>
                      <a:lnTo>
                        <a:pt x="83" y="979"/>
                      </a:lnTo>
                      <a:lnTo>
                        <a:pt x="87" y="983"/>
                      </a:lnTo>
                      <a:lnTo>
                        <a:pt x="107" y="987"/>
                      </a:lnTo>
                      <a:lnTo>
                        <a:pt x="128" y="987"/>
                      </a:lnTo>
                      <a:lnTo>
                        <a:pt x="132" y="1016"/>
                      </a:lnTo>
                      <a:lnTo>
                        <a:pt x="136" y="1058"/>
                      </a:lnTo>
                      <a:lnTo>
                        <a:pt x="149" y="1165"/>
                      </a:lnTo>
                      <a:lnTo>
                        <a:pt x="157" y="1261"/>
                      </a:lnTo>
                      <a:lnTo>
                        <a:pt x="165" y="1356"/>
                      </a:lnTo>
                      <a:lnTo>
                        <a:pt x="211" y="1356"/>
                      </a:lnTo>
                      <a:lnTo>
                        <a:pt x="224" y="1373"/>
                      </a:lnTo>
                      <a:lnTo>
                        <a:pt x="257" y="1398"/>
                      </a:lnTo>
                      <a:lnTo>
                        <a:pt x="298" y="1439"/>
                      </a:lnTo>
                      <a:lnTo>
                        <a:pt x="302" y="1539"/>
                      </a:lnTo>
                      <a:lnTo>
                        <a:pt x="307" y="1613"/>
                      </a:lnTo>
                      <a:lnTo>
                        <a:pt x="307" y="1659"/>
                      </a:lnTo>
                      <a:lnTo>
                        <a:pt x="298" y="1688"/>
                      </a:lnTo>
                      <a:lnTo>
                        <a:pt x="294" y="1700"/>
                      </a:lnTo>
                      <a:lnTo>
                        <a:pt x="282" y="1734"/>
                      </a:lnTo>
                      <a:lnTo>
                        <a:pt x="265" y="1759"/>
                      </a:lnTo>
                      <a:lnTo>
                        <a:pt x="244" y="1788"/>
                      </a:lnTo>
                      <a:lnTo>
                        <a:pt x="232" y="1792"/>
                      </a:lnTo>
                      <a:lnTo>
                        <a:pt x="203" y="1804"/>
                      </a:lnTo>
                      <a:lnTo>
                        <a:pt x="174" y="1812"/>
                      </a:lnTo>
                      <a:lnTo>
                        <a:pt x="157" y="1821"/>
                      </a:lnTo>
                      <a:lnTo>
                        <a:pt x="153" y="1825"/>
                      </a:lnTo>
                      <a:lnTo>
                        <a:pt x="153" y="1829"/>
                      </a:lnTo>
                      <a:lnTo>
                        <a:pt x="157" y="1833"/>
                      </a:lnTo>
                      <a:lnTo>
                        <a:pt x="170" y="1841"/>
                      </a:lnTo>
                      <a:lnTo>
                        <a:pt x="178" y="1841"/>
                      </a:lnTo>
                      <a:lnTo>
                        <a:pt x="265" y="1850"/>
                      </a:lnTo>
                      <a:lnTo>
                        <a:pt x="286" y="1850"/>
                      </a:lnTo>
                      <a:lnTo>
                        <a:pt x="307" y="1833"/>
                      </a:lnTo>
                      <a:lnTo>
                        <a:pt x="331" y="1812"/>
                      </a:lnTo>
                      <a:lnTo>
                        <a:pt x="352" y="1796"/>
                      </a:lnTo>
                      <a:lnTo>
                        <a:pt x="356" y="1796"/>
                      </a:lnTo>
                      <a:lnTo>
                        <a:pt x="365" y="1796"/>
                      </a:lnTo>
                      <a:lnTo>
                        <a:pt x="369" y="1800"/>
                      </a:lnTo>
                      <a:lnTo>
                        <a:pt x="365" y="1854"/>
                      </a:lnTo>
                      <a:lnTo>
                        <a:pt x="369" y="1854"/>
                      </a:lnTo>
                      <a:lnTo>
                        <a:pt x="377" y="1854"/>
                      </a:lnTo>
                      <a:lnTo>
                        <a:pt x="381" y="1825"/>
                      </a:lnTo>
                      <a:lnTo>
                        <a:pt x="385" y="1800"/>
                      </a:lnTo>
                      <a:lnTo>
                        <a:pt x="394" y="1779"/>
                      </a:lnTo>
                      <a:lnTo>
                        <a:pt x="402" y="1763"/>
                      </a:lnTo>
                      <a:lnTo>
                        <a:pt x="398" y="1750"/>
                      </a:lnTo>
                      <a:lnTo>
                        <a:pt x="389" y="1734"/>
                      </a:lnTo>
                      <a:lnTo>
                        <a:pt x="381" y="1709"/>
                      </a:lnTo>
                      <a:lnTo>
                        <a:pt x="377" y="1676"/>
                      </a:lnTo>
                      <a:lnTo>
                        <a:pt x="377" y="1651"/>
                      </a:lnTo>
                      <a:lnTo>
                        <a:pt x="381" y="1626"/>
                      </a:lnTo>
                      <a:lnTo>
                        <a:pt x="385" y="1601"/>
                      </a:lnTo>
                      <a:lnTo>
                        <a:pt x="398" y="1547"/>
                      </a:lnTo>
                      <a:lnTo>
                        <a:pt x="402" y="1510"/>
                      </a:lnTo>
                      <a:lnTo>
                        <a:pt x="435" y="1530"/>
                      </a:lnTo>
                      <a:lnTo>
                        <a:pt x="468" y="1551"/>
                      </a:lnTo>
                      <a:lnTo>
                        <a:pt x="501" y="1584"/>
                      </a:lnTo>
                      <a:lnTo>
                        <a:pt x="547" y="1642"/>
                      </a:lnTo>
                      <a:lnTo>
                        <a:pt x="555" y="1647"/>
                      </a:lnTo>
                      <a:lnTo>
                        <a:pt x="564" y="1659"/>
                      </a:lnTo>
                      <a:lnTo>
                        <a:pt x="572" y="1688"/>
                      </a:lnTo>
                      <a:lnTo>
                        <a:pt x="576" y="1734"/>
                      </a:lnTo>
                      <a:lnTo>
                        <a:pt x="576" y="1767"/>
                      </a:lnTo>
                      <a:lnTo>
                        <a:pt x="580" y="1775"/>
                      </a:lnTo>
                      <a:lnTo>
                        <a:pt x="589" y="1775"/>
                      </a:lnTo>
                      <a:lnTo>
                        <a:pt x="589" y="1771"/>
                      </a:lnTo>
                      <a:lnTo>
                        <a:pt x="605" y="1746"/>
                      </a:lnTo>
                      <a:lnTo>
                        <a:pt x="626" y="1709"/>
                      </a:lnTo>
                      <a:lnTo>
                        <a:pt x="630" y="1692"/>
                      </a:lnTo>
                      <a:lnTo>
                        <a:pt x="634" y="1671"/>
                      </a:lnTo>
                      <a:lnTo>
                        <a:pt x="626" y="1647"/>
                      </a:lnTo>
                      <a:lnTo>
                        <a:pt x="613" y="1622"/>
                      </a:lnTo>
                      <a:lnTo>
                        <a:pt x="597" y="1593"/>
                      </a:lnTo>
                      <a:lnTo>
                        <a:pt x="589" y="1568"/>
                      </a:lnTo>
                      <a:lnTo>
                        <a:pt x="589" y="1543"/>
                      </a:lnTo>
                      <a:lnTo>
                        <a:pt x="642" y="1559"/>
                      </a:lnTo>
                      <a:close/>
                      <a:moveTo>
                        <a:pt x="373" y="635"/>
                      </a:moveTo>
                      <a:lnTo>
                        <a:pt x="373" y="635"/>
                      </a:lnTo>
                      <a:lnTo>
                        <a:pt x="381" y="614"/>
                      </a:lnTo>
                      <a:lnTo>
                        <a:pt x="389" y="597"/>
                      </a:lnTo>
                      <a:lnTo>
                        <a:pt x="394" y="597"/>
                      </a:lnTo>
                      <a:lnTo>
                        <a:pt x="398" y="610"/>
                      </a:lnTo>
                      <a:lnTo>
                        <a:pt x="406" y="630"/>
                      </a:lnTo>
                      <a:lnTo>
                        <a:pt x="414" y="676"/>
                      </a:lnTo>
                      <a:lnTo>
                        <a:pt x="414" y="701"/>
                      </a:lnTo>
                      <a:lnTo>
                        <a:pt x="394" y="668"/>
                      </a:lnTo>
                      <a:lnTo>
                        <a:pt x="373" y="6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grpSp>
              <p:nvGrpSpPr>
                <p:cNvPr id="73" name="Gruppe 955"/>
                <p:cNvGrpSpPr>
                  <a:grpSpLocks/>
                </p:cNvGrpSpPr>
                <p:nvPr/>
              </p:nvGrpSpPr>
              <p:grpSpPr bwMode="auto">
                <a:xfrm>
                  <a:off x="1397000" y="2687274"/>
                  <a:ext cx="1411295" cy="3138853"/>
                  <a:chOff x="1397000" y="2687274"/>
                  <a:chExt cx="1411295" cy="3138852"/>
                </a:xfrm>
                <a:grpFill/>
              </p:grpSpPr>
              <p:sp>
                <p:nvSpPr>
                  <p:cNvPr id="74" name="Freeform 810"/>
                  <p:cNvSpPr>
                    <a:spLocks/>
                  </p:cNvSpPr>
                  <p:nvPr/>
                </p:nvSpPr>
                <p:spPr bwMode="auto">
                  <a:xfrm>
                    <a:off x="1396978" y="2687274"/>
                    <a:ext cx="1411317" cy="3140693"/>
                  </a:xfrm>
                  <a:custGeom>
                    <a:avLst/>
                    <a:gdLst>
                      <a:gd name="T0" fmla="*/ 2147483647 w 772"/>
                      <a:gd name="T1" fmla="*/ 2147483647 h 1717"/>
                      <a:gd name="T2" fmla="*/ 2147483647 w 772"/>
                      <a:gd name="T3" fmla="*/ 2147483647 h 1717"/>
                      <a:gd name="T4" fmla="*/ 2147483647 w 772"/>
                      <a:gd name="T5" fmla="*/ 2147483647 h 1717"/>
                      <a:gd name="T6" fmla="*/ 2147483647 w 772"/>
                      <a:gd name="T7" fmla="*/ 2147483647 h 1717"/>
                      <a:gd name="T8" fmla="*/ 2147483647 w 772"/>
                      <a:gd name="T9" fmla="*/ 2147483647 h 1717"/>
                      <a:gd name="T10" fmla="*/ 2147483647 w 772"/>
                      <a:gd name="T11" fmla="*/ 2147483647 h 1717"/>
                      <a:gd name="T12" fmla="*/ 2147483647 w 772"/>
                      <a:gd name="T13" fmla="*/ 2147483647 h 1717"/>
                      <a:gd name="T14" fmla="*/ 2147483647 w 772"/>
                      <a:gd name="T15" fmla="*/ 2147483647 h 1717"/>
                      <a:gd name="T16" fmla="*/ 2147483647 w 772"/>
                      <a:gd name="T17" fmla="*/ 2147483647 h 1717"/>
                      <a:gd name="T18" fmla="*/ 2147483647 w 772"/>
                      <a:gd name="T19" fmla="*/ 2147483647 h 1717"/>
                      <a:gd name="T20" fmla="*/ 2147483647 w 772"/>
                      <a:gd name="T21" fmla="*/ 2147483647 h 1717"/>
                      <a:gd name="T22" fmla="*/ 2147483647 w 772"/>
                      <a:gd name="T23" fmla="*/ 2147483647 h 1717"/>
                      <a:gd name="T24" fmla="*/ 2147483647 w 772"/>
                      <a:gd name="T25" fmla="*/ 2147483647 h 1717"/>
                      <a:gd name="T26" fmla="*/ 2147483647 w 772"/>
                      <a:gd name="T27" fmla="*/ 2147483647 h 1717"/>
                      <a:gd name="T28" fmla="*/ 2147483647 w 772"/>
                      <a:gd name="T29" fmla="*/ 2147483647 h 1717"/>
                      <a:gd name="T30" fmla="*/ 2147483647 w 772"/>
                      <a:gd name="T31" fmla="*/ 2147483647 h 1717"/>
                      <a:gd name="T32" fmla="*/ 2147483647 w 772"/>
                      <a:gd name="T33" fmla="*/ 2147483647 h 1717"/>
                      <a:gd name="T34" fmla="*/ 2147483647 w 772"/>
                      <a:gd name="T35" fmla="*/ 2147483647 h 1717"/>
                      <a:gd name="T36" fmla="*/ 2147483647 w 772"/>
                      <a:gd name="T37" fmla="*/ 2147483647 h 1717"/>
                      <a:gd name="T38" fmla="*/ 2147483647 w 772"/>
                      <a:gd name="T39" fmla="*/ 2147483647 h 1717"/>
                      <a:gd name="T40" fmla="*/ 2147483647 w 772"/>
                      <a:gd name="T41" fmla="*/ 2147483647 h 1717"/>
                      <a:gd name="T42" fmla="*/ 2147483647 w 772"/>
                      <a:gd name="T43" fmla="*/ 2147483647 h 1717"/>
                      <a:gd name="T44" fmla="*/ 2147483647 w 772"/>
                      <a:gd name="T45" fmla="*/ 2147483647 h 1717"/>
                      <a:gd name="T46" fmla="*/ 2147483647 w 772"/>
                      <a:gd name="T47" fmla="*/ 2147483647 h 1717"/>
                      <a:gd name="T48" fmla="*/ 2147483647 w 772"/>
                      <a:gd name="T49" fmla="*/ 2147483647 h 1717"/>
                      <a:gd name="T50" fmla="*/ 2147483647 w 772"/>
                      <a:gd name="T51" fmla="*/ 2147483647 h 1717"/>
                      <a:gd name="T52" fmla="*/ 2147483647 w 772"/>
                      <a:gd name="T53" fmla="*/ 2147483647 h 1717"/>
                      <a:gd name="T54" fmla="*/ 2147483647 w 772"/>
                      <a:gd name="T55" fmla="*/ 2147483647 h 1717"/>
                      <a:gd name="T56" fmla="*/ 2147483647 w 772"/>
                      <a:gd name="T57" fmla="*/ 2147483647 h 1717"/>
                      <a:gd name="T58" fmla="*/ 2147483647 w 772"/>
                      <a:gd name="T59" fmla="*/ 2147483647 h 1717"/>
                      <a:gd name="T60" fmla="*/ 2147483647 w 772"/>
                      <a:gd name="T61" fmla="*/ 2147483647 h 1717"/>
                      <a:gd name="T62" fmla="*/ 2147483647 w 772"/>
                      <a:gd name="T63" fmla="*/ 2147483647 h 1717"/>
                      <a:gd name="T64" fmla="*/ 2147483647 w 772"/>
                      <a:gd name="T65" fmla="*/ 2147483647 h 1717"/>
                      <a:gd name="T66" fmla="*/ 2147483647 w 772"/>
                      <a:gd name="T67" fmla="*/ 2147483647 h 1717"/>
                      <a:gd name="T68" fmla="*/ 2147483647 w 772"/>
                      <a:gd name="T69" fmla="*/ 2147483647 h 1717"/>
                      <a:gd name="T70" fmla="*/ 2147483647 w 772"/>
                      <a:gd name="T71" fmla="*/ 2147483647 h 1717"/>
                      <a:gd name="T72" fmla="*/ 2147483647 w 772"/>
                      <a:gd name="T73" fmla="*/ 2147483647 h 1717"/>
                      <a:gd name="T74" fmla="*/ 2147483647 w 772"/>
                      <a:gd name="T75" fmla="*/ 2147483647 h 1717"/>
                      <a:gd name="T76" fmla="*/ 2147483647 w 772"/>
                      <a:gd name="T77" fmla="*/ 2147483647 h 1717"/>
                      <a:gd name="T78" fmla="*/ 2147483647 w 772"/>
                      <a:gd name="T79" fmla="*/ 2147483647 h 1717"/>
                      <a:gd name="T80" fmla="*/ 2147483647 w 772"/>
                      <a:gd name="T81" fmla="*/ 2147483647 h 1717"/>
                      <a:gd name="T82" fmla="*/ 2147483647 w 772"/>
                      <a:gd name="T83" fmla="*/ 2147483647 h 1717"/>
                      <a:gd name="T84" fmla="*/ 2147483647 w 772"/>
                      <a:gd name="T85" fmla="*/ 2147483647 h 1717"/>
                      <a:gd name="T86" fmla="*/ 2147483647 w 772"/>
                      <a:gd name="T87" fmla="*/ 2147483647 h 1717"/>
                      <a:gd name="T88" fmla="*/ 2147483647 w 772"/>
                      <a:gd name="T89" fmla="*/ 2147483647 h 1717"/>
                      <a:gd name="T90" fmla="*/ 2147483647 w 772"/>
                      <a:gd name="T91" fmla="*/ 2147483647 h 1717"/>
                      <a:gd name="T92" fmla="*/ 2147483647 w 772"/>
                      <a:gd name="T93" fmla="*/ 2147483647 h 1717"/>
                      <a:gd name="T94" fmla="*/ 2147483647 w 772"/>
                      <a:gd name="T95" fmla="*/ 2147483647 h 1717"/>
                      <a:gd name="T96" fmla="*/ 2147483647 w 772"/>
                      <a:gd name="T97" fmla="*/ 2147483647 h 1717"/>
                      <a:gd name="T98" fmla="*/ 2147483647 w 772"/>
                      <a:gd name="T99" fmla="*/ 2147483647 h 1717"/>
                      <a:gd name="T100" fmla="*/ 2147483647 w 772"/>
                      <a:gd name="T101" fmla="*/ 2147483647 h 1717"/>
                      <a:gd name="T102" fmla="*/ 2147483647 w 772"/>
                      <a:gd name="T103" fmla="*/ 2147483647 h 1717"/>
                      <a:gd name="T104" fmla="*/ 2147483647 w 772"/>
                      <a:gd name="T105" fmla="*/ 2147483647 h 1717"/>
                      <a:gd name="T106" fmla="*/ 2147483647 w 772"/>
                      <a:gd name="T107" fmla="*/ 2147483647 h 1717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772"/>
                      <a:gd name="T163" fmla="*/ 0 h 1717"/>
                      <a:gd name="T164" fmla="*/ 772 w 772"/>
                      <a:gd name="T165" fmla="*/ 1717 h 1717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772" h="1717">
                        <a:moveTo>
                          <a:pt x="498" y="502"/>
                        </a:moveTo>
                        <a:lnTo>
                          <a:pt x="498" y="502"/>
                        </a:lnTo>
                        <a:lnTo>
                          <a:pt x="502" y="535"/>
                        </a:lnTo>
                        <a:lnTo>
                          <a:pt x="502" y="551"/>
                        </a:lnTo>
                        <a:lnTo>
                          <a:pt x="498" y="576"/>
                        </a:lnTo>
                        <a:lnTo>
                          <a:pt x="477" y="639"/>
                        </a:lnTo>
                        <a:lnTo>
                          <a:pt x="465" y="663"/>
                        </a:lnTo>
                        <a:lnTo>
                          <a:pt x="457" y="680"/>
                        </a:lnTo>
                        <a:lnTo>
                          <a:pt x="452" y="692"/>
                        </a:lnTo>
                        <a:lnTo>
                          <a:pt x="444" y="713"/>
                        </a:lnTo>
                        <a:lnTo>
                          <a:pt x="440" y="742"/>
                        </a:lnTo>
                        <a:lnTo>
                          <a:pt x="440" y="755"/>
                        </a:lnTo>
                        <a:lnTo>
                          <a:pt x="440" y="771"/>
                        </a:lnTo>
                        <a:lnTo>
                          <a:pt x="428" y="788"/>
                        </a:lnTo>
                        <a:lnTo>
                          <a:pt x="423" y="796"/>
                        </a:lnTo>
                        <a:lnTo>
                          <a:pt x="423" y="809"/>
                        </a:lnTo>
                        <a:lnTo>
                          <a:pt x="423" y="892"/>
                        </a:lnTo>
                        <a:lnTo>
                          <a:pt x="415" y="900"/>
                        </a:lnTo>
                        <a:lnTo>
                          <a:pt x="411" y="908"/>
                        </a:lnTo>
                        <a:lnTo>
                          <a:pt x="436" y="904"/>
                        </a:lnTo>
                        <a:lnTo>
                          <a:pt x="440" y="904"/>
                        </a:lnTo>
                        <a:lnTo>
                          <a:pt x="448" y="908"/>
                        </a:lnTo>
                        <a:lnTo>
                          <a:pt x="457" y="912"/>
                        </a:lnTo>
                        <a:lnTo>
                          <a:pt x="610" y="1099"/>
                        </a:lnTo>
                        <a:lnTo>
                          <a:pt x="614" y="1103"/>
                        </a:lnTo>
                        <a:lnTo>
                          <a:pt x="622" y="1120"/>
                        </a:lnTo>
                        <a:lnTo>
                          <a:pt x="627" y="1128"/>
                        </a:lnTo>
                        <a:lnTo>
                          <a:pt x="627" y="1140"/>
                        </a:lnTo>
                        <a:lnTo>
                          <a:pt x="627" y="1149"/>
                        </a:lnTo>
                        <a:lnTo>
                          <a:pt x="614" y="1161"/>
                        </a:lnTo>
                        <a:lnTo>
                          <a:pt x="552" y="1227"/>
                        </a:lnTo>
                        <a:lnTo>
                          <a:pt x="585" y="1269"/>
                        </a:lnTo>
                        <a:lnTo>
                          <a:pt x="618" y="1302"/>
                        </a:lnTo>
                        <a:lnTo>
                          <a:pt x="631" y="1315"/>
                        </a:lnTo>
                        <a:lnTo>
                          <a:pt x="647" y="1319"/>
                        </a:lnTo>
                        <a:lnTo>
                          <a:pt x="660" y="1327"/>
                        </a:lnTo>
                        <a:lnTo>
                          <a:pt x="668" y="1339"/>
                        </a:lnTo>
                        <a:lnTo>
                          <a:pt x="676" y="1348"/>
                        </a:lnTo>
                        <a:lnTo>
                          <a:pt x="681" y="1360"/>
                        </a:lnTo>
                        <a:lnTo>
                          <a:pt x="693" y="1360"/>
                        </a:lnTo>
                        <a:lnTo>
                          <a:pt x="701" y="1360"/>
                        </a:lnTo>
                        <a:lnTo>
                          <a:pt x="730" y="1364"/>
                        </a:lnTo>
                        <a:lnTo>
                          <a:pt x="747" y="1373"/>
                        </a:lnTo>
                        <a:lnTo>
                          <a:pt x="755" y="1381"/>
                        </a:lnTo>
                        <a:lnTo>
                          <a:pt x="755" y="1385"/>
                        </a:lnTo>
                        <a:lnTo>
                          <a:pt x="759" y="1422"/>
                        </a:lnTo>
                        <a:lnTo>
                          <a:pt x="764" y="1443"/>
                        </a:lnTo>
                        <a:lnTo>
                          <a:pt x="751" y="1443"/>
                        </a:lnTo>
                        <a:lnTo>
                          <a:pt x="755" y="1472"/>
                        </a:lnTo>
                        <a:lnTo>
                          <a:pt x="764" y="1497"/>
                        </a:lnTo>
                        <a:lnTo>
                          <a:pt x="768" y="1514"/>
                        </a:lnTo>
                        <a:lnTo>
                          <a:pt x="772" y="1534"/>
                        </a:lnTo>
                        <a:lnTo>
                          <a:pt x="768" y="1555"/>
                        </a:lnTo>
                        <a:lnTo>
                          <a:pt x="759" y="1597"/>
                        </a:lnTo>
                        <a:lnTo>
                          <a:pt x="747" y="1630"/>
                        </a:lnTo>
                        <a:lnTo>
                          <a:pt x="739" y="1646"/>
                        </a:lnTo>
                        <a:lnTo>
                          <a:pt x="739" y="1651"/>
                        </a:lnTo>
                        <a:lnTo>
                          <a:pt x="726" y="1663"/>
                        </a:lnTo>
                        <a:lnTo>
                          <a:pt x="722" y="1667"/>
                        </a:lnTo>
                        <a:lnTo>
                          <a:pt x="714" y="1671"/>
                        </a:lnTo>
                        <a:lnTo>
                          <a:pt x="701" y="1671"/>
                        </a:lnTo>
                        <a:lnTo>
                          <a:pt x="689" y="1671"/>
                        </a:lnTo>
                        <a:lnTo>
                          <a:pt x="681" y="1659"/>
                        </a:lnTo>
                        <a:lnTo>
                          <a:pt x="676" y="1642"/>
                        </a:lnTo>
                        <a:lnTo>
                          <a:pt x="672" y="1622"/>
                        </a:lnTo>
                        <a:lnTo>
                          <a:pt x="664" y="1580"/>
                        </a:lnTo>
                        <a:lnTo>
                          <a:pt x="660" y="1563"/>
                        </a:lnTo>
                        <a:lnTo>
                          <a:pt x="660" y="1551"/>
                        </a:lnTo>
                        <a:lnTo>
                          <a:pt x="656" y="1510"/>
                        </a:lnTo>
                        <a:lnTo>
                          <a:pt x="652" y="1501"/>
                        </a:lnTo>
                        <a:lnTo>
                          <a:pt x="647" y="1497"/>
                        </a:lnTo>
                        <a:lnTo>
                          <a:pt x="643" y="1493"/>
                        </a:lnTo>
                        <a:lnTo>
                          <a:pt x="635" y="1493"/>
                        </a:lnTo>
                        <a:lnTo>
                          <a:pt x="627" y="1493"/>
                        </a:lnTo>
                        <a:lnTo>
                          <a:pt x="614" y="1489"/>
                        </a:lnTo>
                        <a:lnTo>
                          <a:pt x="598" y="1472"/>
                        </a:lnTo>
                        <a:lnTo>
                          <a:pt x="548" y="1427"/>
                        </a:lnTo>
                        <a:lnTo>
                          <a:pt x="511" y="1398"/>
                        </a:lnTo>
                        <a:lnTo>
                          <a:pt x="432" y="1331"/>
                        </a:lnTo>
                        <a:lnTo>
                          <a:pt x="378" y="1393"/>
                        </a:lnTo>
                        <a:lnTo>
                          <a:pt x="369" y="1398"/>
                        </a:lnTo>
                        <a:lnTo>
                          <a:pt x="357" y="1402"/>
                        </a:lnTo>
                        <a:lnTo>
                          <a:pt x="349" y="1402"/>
                        </a:lnTo>
                        <a:lnTo>
                          <a:pt x="336" y="1398"/>
                        </a:lnTo>
                        <a:lnTo>
                          <a:pt x="324" y="1393"/>
                        </a:lnTo>
                        <a:lnTo>
                          <a:pt x="307" y="1381"/>
                        </a:lnTo>
                        <a:lnTo>
                          <a:pt x="274" y="1344"/>
                        </a:lnTo>
                        <a:lnTo>
                          <a:pt x="287" y="1451"/>
                        </a:lnTo>
                        <a:lnTo>
                          <a:pt x="295" y="1526"/>
                        </a:lnTo>
                        <a:lnTo>
                          <a:pt x="303" y="1563"/>
                        </a:lnTo>
                        <a:lnTo>
                          <a:pt x="307" y="1580"/>
                        </a:lnTo>
                        <a:lnTo>
                          <a:pt x="311" y="1609"/>
                        </a:lnTo>
                        <a:lnTo>
                          <a:pt x="316" y="1646"/>
                        </a:lnTo>
                        <a:lnTo>
                          <a:pt x="316" y="1713"/>
                        </a:lnTo>
                        <a:lnTo>
                          <a:pt x="237" y="1713"/>
                        </a:lnTo>
                        <a:lnTo>
                          <a:pt x="237" y="1696"/>
                        </a:lnTo>
                        <a:lnTo>
                          <a:pt x="224" y="1696"/>
                        </a:lnTo>
                        <a:lnTo>
                          <a:pt x="199" y="1700"/>
                        </a:lnTo>
                        <a:lnTo>
                          <a:pt x="183" y="1709"/>
                        </a:lnTo>
                        <a:lnTo>
                          <a:pt x="179" y="1713"/>
                        </a:lnTo>
                        <a:lnTo>
                          <a:pt x="170" y="1717"/>
                        </a:lnTo>
                        <a:lnTo>
                          <a:pt x="92" y="1717"/>
                        </a:lnTo>
                        <a:lnTo>
                          <a:pt x="38" y="1717"/>
                        </a:lnTo>
                        <a:lnTo>
                          <a:pt x="17" y="1717"/>
                        </a:lnTo>
                        <a:lnTo>
                          <a:pt x="9" y="1713"/>
                        </a:lnTo>
                        <a:lnTo>
                          <a:pt x="4" y="1709"/>
                        </a:lnTo>
                        <a:lnTo>
                          <a:pt x="0" y="1696"/>
                        </a:lnTo>
                        <a:lnTo>
                          <a:pt x="4" y="1684"/>
                        </a:lnTo>
                        <a:lnTo>
                          <a:pt x="9" y="1680"/>
                        </a:lnTo>
                        <a:lnTo>
                          <a:pt x="29" y="1675"/>
                        </a:lnTo>
                        <a:lnTo>
                          <a:pt x="58" y="1671"/>
                        </a:lnTo>
                        <a:lnTo>
                          <a:pt x="75" y="1667"/>
                        </a:lnTo>
                        <a:lnTo>
                          <a:pt x="104" y="1659"/>
                        </a:lnTo>
                        <a:lnTo>
                          <a:pt x="125" y="1646"/>
                        </a:lnTo>
                        <a:lnTo>
                          <a:pt x="133" y="1638"/>
                        </a:lnTo>
                        <a:lnTo>
                          <a:pt x="137" y="1630"/>
                        </a:lnTo>
                        <a:lnTo>
                          <a:pt x="137" y="1609"/>
                        </a:lnTo>
                        <a:lnTo>
                          <a:pt x="137" y="1588"/>
                        </a:lnTo>
                        <a:lnTo>
                          <a:pt x="133" y="1572"/>
                        </a:lnTo>
                        <a:lnTo>
                          <a:pt x="129" y="1480"/>
                        </a:lnTo>
                        <a:lnTo>
                          <a:pt x="125" y="1431"/>
                        </a:lnTo>
                        <a:lnTo>
                          <a:pt x="116" y="1406"/>
                        </a:lnTo>
                        <a:lnTo>
                          <a:pt x="108" y="1389"/>
                        </a:lnTo>
                        <a:lnTo>
                          <a:pt x="108" y="1381"/>
                        </a:lnTo>
                        <a:lnTo>
                          <a:pt x="104" y="1369"/>
                        </a:lnTo>
                        <a:lnTo>
                          <a:pt x="100" y="1335"/>
                        </a:lnTo>
                        <a:lnTo>
                          <a:pt x="100" y="1269"/>
                        </a:lnTo>
                        <a:lnTo>
                          <a:pt x="96" y="1232"/>
                        </a:lnTo>
                        <a:lnTo>
                          <a:pt x="96" y="1207"/>
                        </a:lnTo>
                        <a:lnTo>
                          <a:pt x="92" y="1132"/>
                        </a:lnTo>
                        <a:lnTo>
                          <a:pt x="92" y="1066"/>
                        </a:lnTo>
                        <a:lnTo>
                          <a:pt x="92" y="1033"/>
                        </a:lnTo>
                        <a:lnTo>
                          <a:pt x="96" y="995"/>
                        </a:lnTo>
                        <a:lnTo>
                          <a:pt x="100" y="970"/>
                        </a:lnTo>
                        <a:lnTo>
                          <a:pt x="100" y="954"/>
                        </a:lnTo>
                        <a:lnTo>
                          <a:pt x="96" y="945"/>
                        </a:lnTo>
                        <a:lnTo>
                          <a:pt x="87" y="937"/>
                        </a:lnTo>
                        <a:lnTo>
                          <a:pt x="79" y="933"/>
                        </a:lnTo>
                        <a:lnTo>
                          <a:pt x="87" y="871"/>
                        </a:lnTo>
                        <a:lnTo>
                          <a:pt x="100" y="821"/>
                        </a:lnTo>
                        <a:lnTo>
                          <a:pt x="112" y="775"/>
                        </a:lnTo>
                        <a:lnTo>
                          <a:pt x="116" y="759"/>
                        </a:lnTo>
                        <a:lnTo>
                          <a:pt x="121" y="738"/>
                        </a:lnTo>
                        <a:lnTo>
                          <a:pt x="125" y="697"/>
                        </a:lnTo>
                        <a:lnTo>
                          <a:pt x="125" y="643"/>
                        </a:lnTo>
                        <a:lnTo>
                          <a:pt x="129" y="572"/>
                        </a:lnTo>
                        <a:lnTo>
                          <a:pt x="112" y="493"/>
                        </a:lnTo>
                        <a:lnTo>
                          <a:pt x="100" y="406"/>
                        </a:lnTo>
                        <a:lnTo>
                          <a:pt x="104" y="398"/>
                        </a:lnTo>
                        <a:lnTo>
                          <a:pt x="112" y="386"/>
                        </a:lnTo>
                        <a:lnTo>
                          <a:pt x="146" y="348"/>
                        </a:lnTo>
                        <a:lnTo>
                          <a:pt x="187" y="298"/>
                        </a:lnTo>
                        <a:lnTo>
                          <a:pt x="179" y="265"/>
                        </a:lnTo>
                        <a:lnTo>
                          <a:pt x="170" y="245"/>
                        </a:lnTo>
                        <a:lnTo>
                          <a:pt x="166" y="236"/>
                        </a:lnTo>
                        <a:lnTo>
                          <a:pt x="150" y="240"/>
                        </a:lnTo>
                        <a:lnTo>
                          <a:pt x="141" y="240"/>
                        </a:lnTo>
                        <a:lnTo>
                          <a:pt x="133" y="240"/>
                        </a:lnTo>
                        <a:lnTo>
                          <a:pt x="129" y="232"/>
                        </a:lnTo>
                        <a:lnTo>
                          <a:pt x="108" y="199"/>
                        </a:lnTo>
                        <a:lnTo>
                          <a:pt x="96" y="166"/>
                        </a:lnTo>
                        <a:lnTo>
                          <a:pt x="92" y="157"/>
                        </a:lnTo>
                        <a:lnTo>
                          <a:pt x="92" y="137"/>
                        </a:lnTo>
                        <a:lnTo>
                          <a:pt x="87" y="128"/>
                        </a:lnTo>
                        <a:lnTo>
                          <a:pt x="87" y="124"/>
                        </a:lnTo>
                        <a:lnTo>
                          <a:pt x="79" y="116"/>
                        </a:lnTo>
                        <a:lnTo>
                          <a:pt x="79" y="91"/>
                        </a:lnTo>
                        <a:lnTo>
                          <a:pt x="79" y="70"/>
                        </a:lnTo>
                        <a:lnTo>
                          <a:pt x="79" y="58"/>
                        </a:lnTo>
                        <a:lnTo>
                          <a:pt x="87" y="41"/>
                        </a:lnTo>
                        <a:lnTo>
                          <a:pt x="87" y="37"/>
                        </a:lnTo>
                        <a:lnTo>
                          <a:pt x="92" y="25"/>
                        </a:lnTo>
                        <a:lnTo>
                          <a:pt x="96" y="21"/>
                        </a:lnTo>
                        <a:lnTo>
                          <a:pt x="104" y="12"/>
                        </a:lnTo>
                        <a:lnTo>
                          <a:pt x="112" y="8"/>
                        </a:lnTo>
                        <a:lnTo>
                          <a:pt x="129" y="4"/>
                        </a:lnTo>
                        <a:lnTo>
                          <a:pt x="154" y="0"/>
                        </a:lnTo>
                        <a:lnTo>
                          <a:pt x="191" y="0"/>
                        </a:lnTo>
                        <a:lnTo>
                          <a:pt x="208" y="0"/>
                        </a:lnTo>
                        <a:lnTo>
                          <a:pt x="224" y="8"/>
                        </a:lnTo>
                        <a:lnTo>
                          <a:pt x="237" y="16"/>
                        </a:lnTo>
                        <a:lnTo>
                          <a:pt x="249" y="33"/>
                        </a:lnTo>
                        <a:lnTo>
                          <a:pt x="262" y="62"/>
                        </a:lnTo>
                        <a:lnTo>
                          <a:pt x="270" y="91"/>
                        </a:lnTo>
                        <a:lnTo>
                          <a:pt x="274" y="112"/>
                        </a:lnTo>
                        <a:lnTo>
                          <a:pt x="270" y="124"/>
                        </a:lnTo>
                        <a:lnTo>
                          <a:pt x="266" y="137"/>
                        </a:lnTo>
                        <a:lnTo>
                          <a:pt x="262" y="157"/>
                        </a:lnTo>
                        <a:lnTo>
                          <a:pt x="262" y="178"/>
                        </a:lnTo>
                        <a:lnTo>
                          <a:pt x="266" y="186"/>
                        </a:lnTo>
                        <a:lnTo>
                          <a:pt x="274" y="195"/>
                        </a:lnTo>
                        <a:lnTo>
                          <a:pt x="287" y="203"/>
                        </a:lnTo>
                        <a:lnTo>
                          <a:pt x="299" y="211"/>
                        </a:lnTo>
                        <a:lnTo>
                          <a:pt x="311" y="220"/>
                        </a:lnTo>
                        <a:lnTo>
                          <a:pt x="361" y="228"/>
                        </a:lnTo>
                        <a:lnTo>
                          <a:pt x="382" y="232"/>
                        </a:lnTo>
                        <a:lnTo>
                          <a:pt x="399" y="236"/>
                        </a:lnTo>
                        <a:lnTo>
                          <a:pt x="415" y="249"/>
                        </a:lnTo>
                        <a:lnTo>
                          <a:pt x="428" y="269"/>
                        </a:lnTo>
                        <a:lnTo>
                          <a:pt x="440" y="294"/>
                        </a:lnTo>
                        <a:lnTo>
                          <a:pt x="452" y="319"/>
                        </a:lnTo>
                        <a:lnTo>
                          <a:pt x="457" y="340"/>
                        </a:lnTo>
                        <a:lnTo>
                          <a:pt x="461" y="365"/>
                        </a:lnTo>
                        <a:lnTo>
                          <a:pt x="469" y="402"/>
                        </a:lnTo>
                        <a:lnTo>
                          <a:pt x="486" y="448"/>
                        </a:lnTo>
                        <a:lnTo>
                          <a:pt x="498" y="50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Calibri" charset="0"/>
                      <a:ea typeface="ＭＳ Ｐゴシック" charset="0"/>
                      <a:cs typeface="ＭＳ Ｐゴシック" charset="0"/>
                    </a:endParaRPr>
                  </a:p>
                </p:txBody>
              </p:sp>
              <p:sp>
                <p:nvSpPr>
                  <p:cNvPr id="75" name="Freeform 813"/>
                  <p:cNvSpPr>
                    <a:spLocks/>
                  </p:cNvSpPr>
                  <p:nvPr/>
                </p:nvSpPr>
                <p:spPr bwMode="auto">
                  <a:xfrm>
                    <a:off x="1660525" y="3389313"/>
                    <a:ext cx="177800" cy="376238"/>
                  </a:xfrm>
                  <a:custGeom>
                    <a:avLst/>
                    <a:gdLst>
                      <a:gd name="T0" fmla="*/ 0 w 112"/>
                      <a:gd name="T1" fmla="*/ 2147483647 h 237"/>
                      <a:gd name="T2" fmla="*/ 0 w 112"/>
                      <a:gd name="T3" fmla="*/ 2147483647 h 237"/>
                      <a:gd name="T4" fmla="*/ 2147483647 w 112"/>
                      <a:gd name="T5" fmla="*/ 2147483647 h 237"/>
                      <a:gd name="T6" fmla="*/ 0 w 112"/>
                      <a:gd name="T7" fmla="*/ 2147483647 h 237"/>
                      <a:gd name="T8" fmla="*/ 0 w 112"/>
                      <a:gd name="T9" fmla="*/ 2147483647 h 237"/>
                      <a:gd name="T10" fmla="*/ 0 w 112"/>
                      <a:gd name="T11" fmla="*/ 2147483647 h 237"/>
                      <a:gd name="T12" fmla="*/ 2147483647 w 112"/>
                      <a:gd name="T13" fmla="*/ 2147483647 h 237"/>
                      <a:gd name="T14" fmla="*/ 2147483647 w 112"/>
                      <a:gd name="T15" fmla="*/ 2147483647 h 237"/>
                      <a:gd name="T16" fmla="*/ 2147483647 w 112"/>
                      <a:gd name="T17" fmla="*/ 2147483647 h 237"/>
                      <a:gd name="T18" fmla="*/ 2147483647 w 112"/>
                      <a:gd name="T19" fmla="*/ 2147483647 h 237"/>
                      <a:gd name="T20" fmla="*/ 2147483647 w 112"/>
                      <a:gd name="T21" fmla="*/ 0 h 237"/>
                      <a:gd name="T22" fmla="*/ 2147483647 w 112"/>
                      <a:gd name="T23" fmla="*/ 0 h 237"/>
                      <a:gd name="T24" fmla="*/ 2147483647 w 112"/>
                      <a:gd name="T25" fmla="*/ 2147483647 h 237"/>
                      <a:gd name="T26" fmla="*/ 2147483647 w 112"/>
                      <a:gd name="T27" fmla="*/ 2147483647 h 237"/>
                      <a:gd name="T28" fmla="*/ 2147483647 w 112"/>
                      <a:gd name="T29" fmla="*/ 2147483647 h 237"/>
                      <a:gd name="T30" fmla="*/ 2147483647 w 112"/>
                      <a:gd name="T31" fmla="*/ 2147483647 h 237"/>
                      <a:gd name="T32" fmla="*/ 2147483647 w 112"/>
                      <a:gd name="T33" fmla="*/ 2147483647 h 237"/>
                      <a:gd name="T34" fmla="*/ 2147483647 w 112"/>
                      <a:gd name="T35" fmla="*/ 2147483647 h 237"/>
                      <a:gd name="T36" fmla="*/ 0 w 112"/>
                      <a:gd name="T37" fmla="*/ 2147483647 h 237"/>
                      <a:gd name="T38" fmla="*/ 0 w 112"/>
                      <a:gd name="T39" fmla="*/ 2147483647 h 237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12"/>
                      <a:gd name="T61" fmla="*/ 0 h 237"/>
                      <a:gd name="T62" fmla="*/ 112 w 112"/>
                      <a:gd name="T63" fmla="*/ 237 h 237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12" h="237">
                        <a:moveTo>
                          <a:pt x="0" y="71"/>
                        </a:moveTo>
                        <a:lnTo>
                          <a:pt x="0" y="71"/>
                        </a:lnTo>
                        <a:lnTo>
                          <a:pt x="4" y="112"/>
                        </a:lnTo>
                        <a:lnTo>
                          <a:pt x="0" y="166"/>
                        </a:lnTo>
                        <a:lnTo>
                          <a:pt x="0" y="237"/>
                        </a:lnTo>
                        <a:lnTo>
                          <a:pt x="42" y="141"/>
                        </a:lnTo>
                        <a:lnTo>
                          <a:pt x="79" y="67"/>
                        </a:lnTo>
                        <a:lnTo>
                          <a:pt x="96" y="34"/>
                        </a:lnTo>
                        <a:lnTo>
                          <a:pt x="112" y="17"/>
                        </a:lnTo>
                        <a:lnTo>
                          <a:pt x="104" y="0"/>
                        </a:lnTo>
                        <a:lnTo>
                          <a:pt x="67" y="34"/>
                        </a:lnTo>
                        <a:lnTo>
                          <a:pt x="42" y="54"/>
                        </a:lnTo>
                        <a:lnTo>
                          <a:pt x="25" y="67"/>
                        </a:lnTo>
                        <a:lnTo>
                          <a:pt x="17" y="67"/>
                        </a:lnTo>
                        <a:lnTo>
                          <a:pt x="0" y="7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Calibri" charset="0"/>
                      <a:ea typeface="ＭＳ Ｐゴシック" charset="0"/>
                      <a:cs typeface="ＭＳ Ｐゴシック" charset="0"/>
                    </a:endParaRPr>
                  </a:p>
                </p:txBody>
              </p:sp>
              <p:sp>
                <p:nvSpPr>
                  <p:cNvPr id="76" name="Freeform 817"/>
                  <p:cNvSpPr>
                    <a:spLocks/>
                  </p:cNvSpPr>
                  <p:nvPr/>
                </p:nvSpPr>
                <p:spPr bwMode="auto">
                  <a:xfrm>
                    <a:off x="1641475" y="3502026"/>
                    <a:ext cx="92075" cy="282575"/>
                  </a:xfrm>
                  <a:custGeom>
                    <a:avLst/>
                    <a:gdLst>
                      <a:gd name="T0" fmla="*/ 2147483647 w 58"/>
                      <a:gd name="T1" fmla="*/ 0 h 178"/>
                      <a:gd name="T2" fmla="*/ 2147483647 w 58"/>
                      <a:gd name="T3" fmla="*/ 2147483647 h 178"/>
                      <a:gd name="T4" fmla="*/ 2147483647 w 58"/>
                      <a:gd name="T5" fmla="*/ 2147483647 h 178"/>
                      <a:gd name="T6" fmla="*/ 0 w 58"/>
                      <a:gd name="T7" fmla="*/ 2147483647 h 178"/>
                      <a:gd name="T8" fmla="*/ 2147483647 w 58"/>
                      <a:gd name="T9" fmla="*/ 2147483647 h 178"/>
                      <a:gd name="T10" fmla="*/ 2147483647 w 58"/>
                      <a:gd name="T11" fmla="*/ 2147483647 h 178"/>
                      <a:gd name="T12" fmla="*/ 2147483647 w 58"/>
                      <a:gd name="T13" fmla="*/ 2147483647 h 178"/>
                      <a:gd name="T14" fmla="*/ 2147483647 w 58"/>
                      <a:gd name="T15" fmla="*/ 2147483647 h 178"/>
                      <a:gd name="T16" fmla="*/ 2147483647 w 58"/>
                      <a:gd name="T17" fmla="*/ 2147483647 h 178"/>
                      <a:gd name="T18" fmla="*/ 2147483647 w 58"/>
                      <a:gd name="T19" fmla="*/ 0 h 178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58"/>
                      <a:gd name="T31" fmla="*/ 0 h 178"/>
                      <a:gd name="T32" fmla="*/ 58 w 58"/>
                      <a:gd name="T33" fmla="*/ 178 h 178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58" h="178">
                        <a:moveTo>
                          <a:pt x="33" y="0"/>
                        </a:moveTo>
                        <a:lnTo>
                          <a:pt x="21" y="29"/>
                        </a:lnTo>
                        <a:lnTo>
                          <a:pt x="29" y="45"/>
                        </a:lnTo>
                        <a:lnTo>
                          <a:pt x="0" y="133"/>
                        </a:lnTo>
                        <a:lnTo>
                          <a:pt x="12" y="178"/>
                        </a:lnTo>
                        <a:lnTo>
                          <a:pt x="21" y="170"/>
                        </a:lnTo>
                        <a:lnTo>
                          <a:pt x="58" y="79"/>
                        </a:lnTo>
                        <a:lnTo>
                          <a:pt x="33" y="45"/>
                        </a:lnTo>
                        <a:lnTo>
                          <a:pt x="41" y="33"/>
                        </a:lnTo>
                        <a:lnTo>
                          <a:pt x="33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Calibri" charset="0"/>
                      <a:ea typeface="ＭＳ Ｐゴシック" charset="0"/>
                      <a:cs typeface="ＭＳ Ｐゴシック" charset="0"/>
                    </a:endParaRPr>
                  </a:p>
                </p:txBody>
              </p:sp>
            </p:grpSp>
          </p:grpSp>
          <p:grpSp>
            <p:nvGrpSpPr>
              <p:cNvPr id="56" name="Group 7"/>
              <p:cNvGrpSpPr>
                <a:grpSpLocks/>
              </p:cNvGrpSpPr>
              <p:nvPr/>
            </p:nvGrpSpPr>
            <p:grpSpPr bwMode="auto">
              <a:xfrm>
                <a:off x="5715000" y="4430713"/>
                <a:ext cx="777875" cy="781050"/>
                <a:chOff x="820738" y="1870075"/>
                <a:chExt cx="3594100" cy="3609976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0" name="Freeform 353"/>
                <p:cNvSpPr>
                  <a:spLocks/>
                </p:cNvSpPr>
                <p:nvPr/>
              </p:nvSpPr>
              <p:spPr bwMode="auto">
                <a:xfrm>
                  <a:off x="820738" y="1870075"/>
                  <a:ext cx="3594100" cy="3597274"/>
                </a:xfrm>
                <a:custGeom>
                  <a:avLst/>
                  <a:gdLst>
                    <a:gd name="T0" fmla="*/ 2147483647 w 2264"/>
                    <a:gd name="T1" fmla="*/ 2147483647 h 2266"/>
                    <a:gd name="T2" fmla="*/ 2147483647 w 2264"/>
                    <a:gd name="T3" fmla="*/ 2147483647 h 2266"/>
                    <a:gd name="T4" fmla="*/ 2147483647 w 2264"/>
                    <a:gd name="T5" fmla="*/ 2147483647 h 2266"/>
                    <a:gd name="T6" fmla="*/ 2147483647 w 2264"/>
                    <a:gd name="T7" fmla="*/ 2147483647 h 2266"/>
                    <a:gd name="T8" fmla="*/ 2147483647 w 2264"/>
                    <a:gd name="T9" fmla="*/ 2147483647 h 2266"/>
                    <a:gd name="T10" fmla="*/ 2147483647 w 2264"/>
                    <a:gd name="T11" fmla="*/ 2147483647 h 2266"/>
                    <a:gd name="T12" fmla="*/ 2147483647 w 2264"/>
                    <a:gd name="T13" fmla="*/ 2147483647 h 2266"/>
                    <a:gd name="T14" fmla="*/ 2147483647 w 2264"/>
                    <a:gd name="T15" fmla="*/ 2147483647 h 2266"/>
                    <a:gd name="T16" fmla="*/ 2147483647 w 2264"/>
                    <a:gd name="T17" fmla="*/ 2147483647 h 2266"/>
                    <a:gd name="T18" fmla="*/ 2147483647 w 2264"/>
                    <a:gd name="T19" fmla="*/ 2147483647 h 2266"/>
                    <a:gd name="T20" fmla="*/ 2147483647 w 2264"/>
                    <a:gd name="T21" fmla="*/ 2147483647 h 2266"/>
                    <a:gd name="T22" fmla="*/ 2147483647 w 2264"/>
                    <a:gd name="T23" fmla="*/ 2147483647 h 2266"/>
                    <a:gd name="T24" fmla="*/ 2147483647 w 2264"/>
                    <a:gd name="T25" fmla="*/ 2147483647 h 2266"/>
                    <a:gd name="T26" fmla="*/ 2147483647 w 2264"/>
                    <a:gd name="T27" fmla="*/ 2147483647 h 2266"/>
                    <a:gd name="T28" fmla="*/ 2147483647 w 2264"/>
                    <a:gd name="T29" fmla="*/ 2147483647 h 2266"/>
                    <a:gd name="T30" fmla="*/ 2147483647 w 2264"/>
                    <a:gd name="T31" fmla="*/ 2147483647 h 2266"/>
                    <a:gd name="T32" fmla="*/ 2147483647 w 2264"/>
                    <a:gd name="T33" fmla="*/ 2147483647 h 2266"/>
                    <a:gd name="T34" fmla="*/ 2147483647 w 2264"/>
                    <a:gd name="T35" fmla="*/ 2147483647 h 2266"/>
                    <a:gd name="T36" fmla="*/ 2147483647 w 2264"/>
                    <a:gd name="T37" fmla="*/ 2147483647 h 2266"/>
                    <a:gd name="T38" fmla="*/ 2147483647 w 2264"/>
                    <a:gd name="T39" fmla="*/ 2147483647 h 2266"/>
                    <a:gd name="T40" fmla="*/ 2147483647 w 2264"/>
                    <a:gd name="T41" fmla="*/ 2147483647 h 2266"/>
                    <a:gd name="T42" fmla="*/ 0 w 2264"/>
                    <a:gd name="T43" fmla="*/ 2147483647 h 2266"/>
                    <a:gd name="T44" fmla="*/ 2147483647 w 2264"/>
                    <a:gd name="T45" fmla="*/ 2147483647 h 2266"/>
                    <a:gd name="T46" fmla="*/ 2147483647 w 2264"/>
                    <a:gd name="T47" fmla="*/ 2147483647 h 2266"/>
                    <a:gd name="T48" fmla="*/ 2147483647 w 2264"/>
                    <a:gd name="T49" fmla="*/ 2147483647 h 2266"/>
                    <a:gd name="T50" fmla="*/ 2147483647 w 2264"/>
                    <a:gd name="T51" fmla="*/ 2147483647 h 2266"/>
                    <a:gd name="T52" fmla="*/ 2147483647 w 2264"/>
                    <a:gd name="T53" fmla="*/ 2147483647 h 2266"/>
                    <a:gd name="T54" fmla="*/ 2147483647 w 2264"/>
                    <a:gd name="T55" fmla="*/ 2147483647 h 2266"/>
                    <a:gd name="T56" fmla="*/ 2147483647 w 2264"/>
                    <a:gd name="T57" fmla="*/ 2147483647 h 2266"/>
                    <a:gd name="T58" fmla="*/ 2147483647 w 2264"/>
                    <a:gd name="T59" fmla="*/ 2147483647 h 2266"/>
                    <a:gd name="T60" fmla="*/ 2147483647 w 2264"/>
                    <a:gd name="T61" fmla="*/ 2147483647 h 2266"/>
                    <a:gd name="T62" fmla="*/ 2147483647 w 2264"/>
                    <a:gd name="T63" fmla="*/ 2147483647 h 2266"/>
                    <a:gd name="T64" fmla="*/ 2147483647 w 2264"/>
                    <a:gd name="T65" fmla="*/ 2147483647 h 2266"/>
                    <a:gd name="T66" fmla="*/ 2147483647 w 2264"/>
                    <a:gd name="T67" fmla="*/ 2147483647 h 2266"/>
                    <a:gd name="T68" fmla="*/ 2147483647 w 2264"/>
                    <a:gd name="T69" fmla="*/ 2147483647 h 2266"/>
                    <a:gd name="T70" fmla="*/ 2147483647 w 2264"/>
                    <a:gd name="T71" fmla="*/ 2147483647 h 2266"/>
                    <a:gd name="T72" fmla="*/ 2147483647 w 2264"/>
                    <a:gd name="T73" fmla="*/ 2147483647 h 2266"/>
                    <a:gd name="T74" fmla="*/ 2147483647 w 2264"/>
                    <a:gd name="T75" fmla="*/ 2147483647 h 2266"/>
                    <a:gd name="T76" fmla="*/ 2147483647 w 2264"/>
                    <a:gd name="T77" fmla="*/ 2147483647 h 2266"/>
                    <a:gd name="T78" fmla="*/ 2147483647 w 2264"/>
                    <a:gd name="T79" fmla="*/ 2147483647 h 2266"/>
                    <a:gd name="T80" fmla="*/ 2147483647 w 2264"/>
                    <a:gd name="T81" fmla="*/ 2147483647 h 2266"/>
                    <a:gd name="T82" fmla="*/ 2147483647 w 2264"/>
                    <a:gd name="T83" fmla="*/ 2147483647 h 2266"/>
                    <a:gd name="T84" fmla="*/ 2147483647 w 2264"/>
                    <a:gd name="T85" fmla="*/ 2147483647 h 226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264"/>
                    <a:gd name="T130" fmla="*/ 0 h 2266"/>
                    <a:gd name="T131" fmla="*/ 2264 w 2264"/>
                    <a:gd name="T132" fmla="*/ 2266 h 226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264" h="2266">
                      <a:moveTo>
                        <a:pt x="2264" y="1133"/>
                      </a:moveTo>
                      <a:lnTo>
                        <a:pt x="2264" y="1191"/>
                      </a:lnTo>
                      <a:lnTo>
                        <a:pt x="2259" y="1249"/>
                      </a:lnTo>
                      <a:lnTo>
                        <a:pt x="2251" y="1304"/>
                      </a:lnTo>
                      <a:lnTo>
                        <a:pt x="2243" y="1360"/>
                      </a:lnTo>
                      <a:lnTo>
                        <a:pt x="2230" y="1415"/>
                      </a:lnTo>
                      <a:lnTo>
                        <a:pt x="2214" y="1468"/>
                      </a:lnTo>
                      <a:lnTo>
                        <a:pt x="2195" y="1521"/>
                      </a:lnTo>
                      <a:lnTo>
                        <a:pt x="2177" y="1574"/>
                      </a:lnTo>
                      <a:lnTo>
                        <a:pt x="2153" y="1624"/>
                      </a:lnTo>
                      <a:lnTo>
                        <a:pt x="2129" y="1672"/>
                      </a:lnTo>
                      <a:lnTo>
                        <a:pt x="2100" y="1719"/>
                      </a:lnTo>
                      <a:lnTo>
                        <a:pt x="2071" y="1767"/>
                      </a:lnTo>
                      <a:lnTo>
                        <a:pt x="2039" y="1809"/>
                      </a:lnTo>
                      <a:lnTo>
                        <a:pt x="2005" y="1854"/>
                      </a:lnTo>
                      <a:lnTo>
                        <a:pt x="1971" y="1893"/>
                      </a:lnTo>
                      <a:lnTo>
                        <a:pt x="1934" y="1933"/>
                      </a:lnTo>
                      <a:lnTo>
                        <a:pt x="1894" y="1970"/>
                      </a:lnTo>
                      <a:lnTo>
                        <a:pt x="1852" y="2007"/>
                      </a:lnTo>
                      <a:lnTo>
                        <a:pt x="1809" y="2041"/>
                      </a:lnTo>
                      <a:lnTo>
                        <a:pt x="1765" y="2073"/>
                      </a:lnTo>
                      <a:lnTo>
                        <a:pt x="1720" y="2102"/>
                      </a:lnTo>
                      <a:lnTo>
                        <a:pt x="1672" y="2128"/>
                      </a:lnTo>
                      <a:lnTo>
                        <a:pt x="1622" y="2152"/>
                      </a:lnTo>
                      <a:lnTo>
                        <a:pt x="1572" y="2176"/>
                      </a:lnTo>
                      <a:lnTo>
                        <a:pt x="1521" y="2197"/>
                      </a:lnTo>
                      <a:lnTo>
                        <a:pt x="1469" y="2213"/>
                      </a:lnTo>
                      <a:lnTo>
                        <a:pt x="1416" y="2229"/>
                      </a:lnTo>
                      <a:lnTo>
                        <a:pt x="1360" y="2242"/>
                      </a:lnTo>
                      <a:lnTo>
                        <a:pt x="1305" y="2253"/>
                      </a:lnTo>
                      <a:lnTo>
                        <a:pt x="1247" y="2260"/>
                      </a:lnTo>
                      <a:lnTo>
                        <a:pt x="1191" y="2263"/>
                      </a:lnTo>
                      <a:lnTo>
                        <a:pt x="1130" y="2266"/>
                      </a:lnTo>
                      <a:lnTo>
                        <a:pt x="1072" y="2263"/>
                      </a:lnTo>
                      <a:lnTo>
                        <a:pt x="1017" y="2260"/>
                      </a:lnTo>
                      <a:lnTo>
                        <a:pt x="959" y="2253"/>
                      </a:lnTo>
                      <a:lnTo>
                        <a:pt x="903" y="2242"/>
                      </a:lnTo>
                      <a:lnTo>
                        <a:pt x="848" y="2229"/>
                      </a:lnTo>
                      <a:lnTo>
                        <a:pt x="795" y="2213"/>
                      </a:lnTo>
                      <a:lnTo>
                        <a:pt x="742" y="2197"/>
                      </a:lnTo>
                      <a:lnTo>
                        <a:pt x="692" y="2176"/>
                      </a:lnTo>
                      <a:lnTo>
                        <a:pt x="642" y="2152"/>
                      </a:lnTo>
                      <a:lnTo>
                        <a:pt x="591" y="2128"/>
                      </a:lnTo>
                      <a:lnTo>
                        <a:pt x="544" y="2102"/>
                      </a:lnTo>
                      <a:lnTo>
                        <a:pt x="499" y="2073"/>
                      </a:lnTo>
                      <a:lnTo>
                        <a:pt x="454" y="2041"/>
                      </a:lnTo>
                      <a:lnTo>
                        <a:pt x="412" y="2007"/>
                      </a:lnTo>
                      <a:lnTo>
                        <a:pt x="369" y="1970"/>
                      </a:lnTo>
                      <a:lnTo>
                        <a:pt x="330" y="1933"/>
                      </a:lnTo>
                      <a:lnTo>
                        <a:pt x="293" y="1893"/>
                      </a:lnTo>
                      <a:lnTo>
                        <a:pt x="258" y="1854"/>
                      </a:lnTo>
                      <a:lnTo>
                        <a:pt x="224" y="1809"/>
                      </a:lnTo>
                      <a:lnTo>
                        <a:pt x="192" y="1767"/>
                      </a:lnTo>
                      <a:lnTo>
                        <a:pt x="163" y="1719"/>
                      </a:lnTo>
                      <a:lnTo>
                        <a:pt x="134" y="1672"/>
                      </a:lnTo>
                      <a:lnTo>
                        <a:pt x="111" y="1624"/>
                      </a:lnTo>
                      <a:lnTo>
                        <a:pt x="87" y="1574"/>
                      </a:lnTo>
                      <a:lnTo>
                        <a:pt x="68" y="1521"/>
                      </a:lnTo>
                      <a:lnTo>
                        <a:pt x="50" y="1468"/>
                      </a:lnTo>
                      <a:lnTo>
                        <a:pt x="34" y="1415"/>
                      </a:lnTo>
                      <a:lnTo>
                        <a:pt x="21" y="1360"/>
                      </a:lnTo>
                      <a:lnTo>
                        <a:pt x="13" y="1304"/>
                      </a:lnTo>
                      <a:lnTo>
                        <a:pt x="5" y="1249"/>
                      </a:lnTo>
                      <a:lnTo>
                        <a:pt x="0" y="1191"/>
                      </a:lnTo>
                      <a:lnTo>
                        <a:pt x="0" y="1133"/>
                      </a:lnTo>
                      <a:lnTo>
                        <a:pt x="0" y="1075"/>
                      </a:lnTo>
                      <a:lnTo>
                        <a:pt x="5" y="1017"/>
                      </a:lnTo>
                      <a:lnTo>
                        <a:pt x="13" y="961"/>
                      </a:lnTo>
                      <a:lnTo>
                        <a:pt x="21" y="903"/>
                      </a:lnTo>
                      <a:lnTo>
                        <a:pt x="34" y="850"/>
                      </a:lnTo>
                      <a:lnTo>
                        <a:pt x="50" y="795"/>
                      </a:lnTo>
                      <a:lnTo>
                        <a:pt x="68" y="742"/>
                      </a:lnTo>
                      <a:lnTo>
                        <a:pt x="87" y="692"/>
                      </a:lnTo>
                      <a:lnTo>
                        <a:pt x="111" y="642"/>
                      </a:lnTo>
                      <a:lnTo>
                        <a:pt x="134" y="591"/>
                      </a:lnTo>
                      <a:lnTo>
                        <a:pt x="163" y="544"/>
                      </a:lnTo>
                      <a:lnTo>
                        <a:pt x="192" y="499"/>
                      </a:lnTo>
                      <a:lnTo>
                        <a:pt x="224" y="454"/>
                      </a:lnTo>
                      <a:lnTo>
                        <a:pt x="258" y="412"/>
                      </a:lnTo>
                      <a:lnTo>
                        <a:pt x="293" y="370"/>
                      </a:lnTo>
                      <a:lnTo>
                        <a:pt x="330" y="333"/>
                      </a:lnTo>
                      <a:lnTo>
                        <a:pt x="369" y="293"/>
                      </a:lnTo>
                      <a:lnTo>
                        <a:pt x="412" y="259"/>
                      </a:lnTo>
                      <a:lnTo>
                        <a:pt x="454" y="224"/>
                      </a:lnTo>
                      <a:lnTo>
                        <a:pt x="499" y="193"/>
                      </a:lnTo>
                      <a:lnTo>
                        <a:pt x="544" y="164"/>
                      </a:lnTo>
                      <a:lnTo>
                        <a:pt x="591" y="137"/>
                      </a:lnTo>
                      <a:lnTo>
                        <a:pt x="642" y="111"/>
                      </a:lnTo>
                      <a:lnTo>
                        <a:pt x="692" y="90"/>
                      </a:lnTo>
                      <a:lnTo>
                        <a:pt x="742" y="69"/>
                      </a:lnTo>
                      <a:lnTo>
                        <a:pt x="795" y="50"/>
                      </a:lnTo>
                      <a:lnTo>
                        <a:pt x="848" y="34"/>
                      </a:lnTo>
                      <a:lnTo>
                        <a:pt x="903" y="24"/>
                      </a:lnTo>
                      <a:lnTo>
                        <a:pt x="959" y="13"/>
                      </a:lnTo>
                      <a:lnTo>
                        <a:pt x="1017" y="5"/>
                      </a:lnTo>
                      <a:lnTo>
                        <a:pt x="1072" y="3"/>
                      </a:lnTo>
                      <a:lnTo>
                        <a:pt x="1130" y="0"/>
                      </a:lnTo>
                      <a:lnTo>
                        <a:pt x="1191" y="3"/>
                      </a:lnTo>
                      <a:lnTo>
                        <a:pt x="1247" y="5"/>
                      </a:lnTo>
                      <a:lnTo>
                        <a:pt x="1305" y="13"/>
                      </a:lnTo>
                      <a:lnTo>
                        <a:pt x="1360" y="24"/>
                      </a:lnTo>
                      <a:lnTo>
                        <a:pt x="1416" y="34"/>
                      </a:lnTo>
                      <a:lnTo>
                        <a:pt x="1469" y="50"/>
                      </a:lnTo>
                      <a:lnTo>
                        <a:pt x="1521" y="69"/>
                      </a:lnTo>
                      <a:lnTo>
                        <a:pt x="1572" y="90"/>
                      </a:lnTo>
                      <a:lnTo>
                        <a:pt x="1622" y="111"/>
                      </a:lnTo>
                      <a:lnTo>
                        <a:pt x="1672" y="137"/>
                      </a:lnTo>
                      <a:lnTo>
                        <a:pt x="1720" y="164"/>
                      </a:lnTo>
                      <a:lnTo>
                        <a:pt x="1765" y="193"/>
                      </a:lnTo>
                      <a:lnTo>
                        <a:pt x="1809" y="224"/>
                      </a:lnTo>
                      <a:lnTo>
                        <a:pt x="1852" y="259"/>
                      </a:lnTo>
                      <a:lnTo>
                        <a:pt x="1894" y="293"/>
                      </a:lnTo>
                      <a:lnTo>
                        <a:pt x="1934" y="333"/>
                      </a:lnTo>
                      <a:lnTo>
                        <a:pt x="1971" y="370"/>
                      </a:lnTo>
                      <a:lnTo>
                        <a:pt x="2005" y="412"/>
                      </a:lnTo>
                      <a:lnTo>
                        <a:pt x="2039" y="454"/>
                      </a:lnTo>
                      <a:lnTo>
                        <a:pt x="2071" y="499"/>
                      </a:lnTo>
                      <a:lnTo>
                        <a:pt x="2100" y="544"/>
                      </a:lnTo>
                      <a:lnTo>
                        <a:pt x="2129" y="591"/>
                      </a:lnTo>
                      <a:lnTo>
                        <a:pt x="2153" y="642"/>
                      </a:lnTo>
                      <a:lnTo>
                        <a:pt x="2177" y="692"/>
                      </a:lnTo>
                      <a:lnTo>
                        <a:pt x="2195" y="742"/>
                      </a:lnTo>
                      <a:lnTo>
                        <a:pt x="2214" y="795"/>
                      </a:lnTo>
                      <a:lnTo>
                        <a:pt x="2230" y="850"/>
                      </a:lnTo>
                      <a:lnTo>
                        <a:pt x="2243" y="903"/>
                      </a:lnTo>
                      <a:lnTo>
                        <a:pt x="2251" y="961"/>
                      </a:lnTo>
                      <a:lnTo>
                        <a:pt x="2259" y="1017"/>
                      </a:lnTo>
                      <a:lnTo>
                        <a:pt x="2264" y="1075"/>
                      </a:lnTo>
                      <a:lnTo>
                        <a:pt x="2264" y="11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71" name="Freeform 354"/>
                <p:cNvSpPr>
                  <a:spLocks/>
                </p:cNvSpPr>
                <p:nvPr/>
              </p:nvSpPr>
              <p:spPr bwMode="auto">
                <a:xfrm>
                  <a:off x="1508126" y="1941512"/>
                  <a:ext cx="2620962" cy="3538539"/>
                </a:xfrm>
                <a:custGeom>
                  <a:avLst/>
                  <a:gdLst>
                    <a:gd name="T0" fmla="*/ 2147483647 w 1651"/>
                    <a:gd name="T1" fmla="*/ 2147483647 h 2229"/>
                    <a:gd name="T2" fmla="*/ 2147483647 w 1651"/>
                    <a:gd name="T3" fmla="*/ 2147483647 h 2229"/>
                    <a:gd name="T4" fmla="*/ 2147483647 w 1651"/>
                    <a:gd name="T5" fmla="*/ 2147483647 h 2229"/>
                    <a:gd name="T6" fmla="*/ 2147483647 w 1651"/>
                    <a:gd name="T7" fmla="*/ 2147483647 h 2229"/>
                    <a:gd name="T8" fmla="*/ 2147483647 w 1651"/>
                    <a:gd name="T9" fmla="*/ 2147483647 h 2229"/>
                    <a:gd name="T10" fmla="*/ 2147483647 w 1651"/>
                    <a:gd name="T11" fmla="*/ 2147483647 h 2229"/>
                    <a:gd name="T12" fmla="*/ 2147483647 w 1651"/>
                    <a:gd name="T13" fmla="*/ 2147483647 h 2229"/>
                    <a:gd name="T14" fmla="*/ 2147483647 w 1651"/>
                    <a:gd name="T15" fmla="*/ 2147483647 h 2229"/>
                    <a:gd name="T16" fmla="*/ 2147483647 w 1651"/>
                    <a:gd name="T17" fmla="*/ 2147483647 h 2229"/>
                    <a:gd name="T18" fmla="*/ 2147483647 w 1651"/>
                    <a:gd name="T19" fmla="*/ 2147483647 h 2229"/>
                    <a:gd name="T20" fmla="*/ 2147483647 w 1651"/>
                    <a:gd name="T21" fmla="*/ 2147483647 h 2229"/>
                    <a:gd name="T22" fmla="*/ 2147483647 w 1651"/>
                    <a:gd name="T23" fmla="*/ 2147483647 h 2229"/>
                    <a:gd name="T24" fmla="*/ 2147483647 w 1651"/>
                    <a:gd name="T25" fmla="*/ 2147483647 h 2229"/>
                    <a:gd name="T26" fmla="*/ 2147483647 w 1651"/>
                    <a:gd name="T27" fmla="*/ 2147483647 h 2229"/>
                    <a:gd name="T28" fmla="*/ 2147483647 w 1651"/>
                    <a:gd name="T29" fmla="*/ 2147483647 h 2229"/>
                    <a:gd name="T30" fmla="*/ 2147483647 w 1651"/>
                    <a:gd name="T31" fmla="*/ 2147483647 h 2229"/>
                    <a:gd name="T32" fmla="*/ 2147483647 w 1651"/>
                    <a:gd name="T33" fmla="*/ 2147483647 h 2229"/>
                    <a:gd name="T34" fmla="*/ 2147483647 w 1651"/>
                    <a:gd name="T35" fmla="*/ 2147483647 h 2229"/>
                    <a:gd name="T36" fmla="*/ 2147483647 w 1651"/>
                    <a:gd name="T37" fmla="*/ 2147483647 h 2229"/>
                    <a:gd name="T38" fmla="*/ 2147483647 w 1651"/>
                    <a:gd name="T39" fmla="*/ 2147483647 h 2229"/>
                    <a:gd name="T40" fmla="*/ 2147483647 w 1651"/>
                    <a:gd name="T41" fmla="*/ 2147483647 h 2229"/>
                    <a:gd name="T42" fmla="*/ 2147483647 w 1651"/>
                    <a:gd name="T43" fmla="*/ 2147483647 h 2229"/>
                    <a:gd name="T44" fmla="*/ 2147483647 w 1651"/>
                    <a:gd name="T45" fmla="*/ 2147483647 h 2229"/>
                    <a:gd name="T46" fmla="*/ 2147483647 w 1651"/>
                    <a:gd name="T47" fmla="*/ 2147483647 h 2229"/>
                    <a:gd name="T48" fmla="*/ 2147483647 w 1651"/>
                    <a:gd name="T49" fmla="*/ 2147483647 h 2229"/>
                    <a:gd name="T50" fmla="*/ 2147483647 w 1651"/>
                    <a:gd name="T51" fmla="*/ 2147483647 h 2229"/>
                    <a:gd name="T52" fmla="*/ 2147483647 w 1651"/>
                    <a:gd name="T53" fmla="*/ 2147483647 h 2229"/>
                    <a:gd name="T54" fmla="*/ 2147483647 w 1651"/>
                    <a:gd name="T55" fmla="*/ 2147483647 h 2229"/>
                    <a:gd name="T56" fmla="*/ 2147483647 w 1651"/>
                    <a:gd name="T57" fmla="*/ 2147483647 h 2229"/>
                    <a:gd name="T58" fmla="*/ 2147483647 w 1651"/>
                    <a:gd name="T59" fmla="*/ 2147483647 h 2229"/>
                    <a:gd name="T60" fmla="*/ 2147483647 w 1651"/>
                    <a:gd name="T61" fmla="*/ 2147483647 h 2229"/>
                    <a:gd name="T62" fmla="*/ 2147483647 w 1651"/>
                    <a:gd name="T63" fmla="*/ 2147483647 h 2229"/>
                    <a:gd name="T64" fmla="*/ 2147483647 w 1651"/>
                    <a:gd name="T65" fmla="*/ 2147483647 h 2229"/>
                    <a:gd name="T66" fmla="*/ 2147483647 w 1651"/>
                    <a:gd name="T67" fmla="*/ 2147483647 h 2229"/>
                    <a:gd name="T68" fmla="*/ 2147483647 w 1651"/>
                    <a:gd name="T69" fmla="*/ 2147483647 h 2229"/>
                    <a:gd name="T70" fmla="*/ 2147483647 w 1651"/>
                    <a:gd name="T71" fmla="*/ 2147483647 h 2229"/>
                    <a:gd name="T72" fmla="*/ 0 w 1651"/>
                    <a:gd name="T73" fmla="*/ 2147483647 h 2229"/>
                    <a:gd name="T74" fmla="*/ 2147483647 w 1651"/>
                    <a:gd name="T75" fmla="*/ 2147483647 h 2229"/>
                    <a:gd name="T76" fmla="*/ 2147483647 w 1651"/>
                    <a:gd name="T77" fmla="*/ 2147483647 h 2229"/>
                    <a:gd name="T78" fmla="*/ 2147483647 w 1651"/>
                    <a:gd name="T79" fmla="*/ 2147483647 h 2229"/>
                    <a:gd name="T80" fmla="*/ 2147483647 w 1651"/>
                    <a:gd name="T81" fmla="*/ 2147483647 h 2229"/>
                    <a:gd name="T82" fmla="*/ 2147483647 w 1651"/>
                    <a:gd name="T83" fmla="*/ 2147483647 h 2229"/>
                    <a:gd name="T84" fmla="*/ 2147483647 w 1651"/>
                    <a:gd name="T85" fmla="*/ 2147483647 h 2229"/>
                    <a:gd name="T86" fmla="*/ 2147483647 w 1651"/>
                    <a:gd name="T87" fmla="*/ 2147483647 h 2229"/>
                    <a:gd name="T88" fmla="*/ 2147483647 w 1651"/>
                    <a:gd name="T89" fmla="*/ 2147483647 h 2229"/>
                    <a:gd name="T90" fmla="*/ 2147483647 w 1651"/>
                    <a:gd name="T91" fmla="*/ 2147483647 h 2229"/>
                    <a:gd name="T92" fmla="*/ 2147483647 w 1651"/>
                    <a:gd name="T93" fmla="*/ 2147483647 h 2229"/>
                    <a:gd name="T94" fmla="*/ 2147483647 w 1651"/>
                    <a:gd name="T95" fmla="*/ 2147483647 h 2229"/>
                    <a:gd name="T96" fmla="*/ 2147483647 w 1651"/>
                    <a:gd name="T97" fmla="*/ 2147483647 h 2229"/>
                    <a:gd name="T98" fmla="*/ 2147483647 w 1651"/>
                    <a:gd name="T99" fmla="*/ 2147483647 h 2229"/>
                    <a:gd name="T100" fmla="*/ 2147483647 w 1651"/>
                    <a:gd name="T101" fmla="*/ 2147483647 h 2229"/>
                    <a:gd name="T102" fmla="*/ 2147483647 w 1651"/>
                    <a:gd name="T103" fmla="*/ 2147483647 h 2229"/>
                    <a:gd name="T104" fmla="*/ 2147483647 w 1651"/>
                    <a:gd name="T105" fmla="*/ 2147483647 h 2229"/>
                    <a:gd name="T106" fmla="*/ 2147483647 w 1651"/>
                    <a:gd name="T107" fmla="*/ 2147483647 h 2229"/>
                    <a:gd name="T108" fmla="*/ 2147483647 w 1651"/>
                    <a:gd name="T109" fmla="*/ 2147483647 h 2229"/>
                    <a:gd name="T110" fmla="*/ 2147483647 w 1651"/>
                    <a:gd name="T111" fmla="*/ 2147483647 h 2229"/>
                    <a:gd name="T112" fmla="*/ 2147483647 w 1651"/>
                    <a:gd name="T113" fmla="*/ 2147483647 h 2229"/>
                    <a:gd name="T114" fmla="*/ 2147483647 w 1651"/>
                    <a:gd name="T115" fmla="*/ 2147483647 h 2229"/>
                    <a:gd name="T116" fmla="*/ 2147483647 w 1651"/>
                    <a:gd name="T117" fmla="*/ 2147483647 h 2229"/>
                    <a:gd name="T118" fmla="*/ 2147483647 w 1651"/>
                    <a:gd name="T119" fmla="*/ 2147483647 h 2229"/>
                    <a:gd name="T120" fmla="*/ 2147483647 w 1651"/>
                    <a:gd name="T121" fmla="*/ 2147483647 h 2229"/>
                    <a:gd name="T122" fmla="*/ 2147483647 w 1651"/>
                    <a:gd name="T123" fmla="*/ 2147483647 h 222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51"/>
                    <a:gd name="T187" fmla="*/ 0 h 2229"/>
                    <a:gd name="T188" fmla="*/ 1651 w 1651"/>
                    <a:gd name="T189" fmla="*/ 2229 h 222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51" h="2229">
                      <a:moveTo>
                        <a:pt x="716" y="877"/>
                      </a:moveTo>
                      <a:lnTo>
                        <a:pt x="719" y="869"/>
                      </a:lnTo>
                      <a:lnTo>
                        <a:pt x="719" y="863"/>
                      </a:lnTo>
                      <a:lnTo>
                        <a:pt x="713" y="863"/>
                      </a:lnTo>
                      <a:lnTo>
                        <a:pt x="711" y="863"/>
                      </a:lnTo>
                      <a:lnTo>
                        <a:pt x="708" y="863"/>
                      </a:lnTo>
                      <a:lnTo>
                        <a:pt x="700" y="848"/>
                      </a:lnTo>
                      <a:lnTo>
                        <a:pt x="700" y="840"/>
                      </a:lnTo>
                      <a:lnTo>
                        <a:pt x="700" y="834"/>
                      </a:lnTo>
                      <a:lnTo>
                        <a:pt x="697" y="826"/>
                      </a:lnTo>
                      <a:lnTo>
                        <a:pt x="695" y="816"/>
                      </a:lnTo>
                      <a:lnTo>
                        <a:pt x="689" y="811"/>
                      </a:lnTo>
                      <a:lnTo>
                        <a:pt x="684" y="808"/>
                      </a:lnTo>
                      <a:lnTo>
                        <a:pt x="674" y="808"/>
                      </a:lnTo>
                      <a:lnTo>
                        <a:pt x="660" y="813"/>
                      </a:lnTo>
                      <a:lnTo>
                        <a:pt x="650" y="818"/>
                      </a:lnTo>
                      <a:lnTo>
                        <a:pt x="642" y="818"/>
                      </a:lnTo>
                      <a:lnTo>
                        <a:pt x="639" y="816"/>
                      </a:lnTo>
                      <a:lnTo>
                        <a:pt x="639" y="811"/>
                      </a:lnTo>
                      <a:lnTo>
                        <a:pt x="639" y="797"/>
                      </a:lnTo>
                      <a:lnTo>
                        <a:pt x="642" y="789"/>
                      </a:lnTo>
                      <a:lnTo>
                        <a:pt x="642" y="784"/>
                      </a:lnTo>
                      <a:lnTo>
                        <a:pt x="637" y="782"/>
                      </a:lnTo>
                      <a:lnTo>
                        <a:pt x="626" y="779"/>
                      </a:lnTo>
                      <a:lnTo>
                        <a:pt x="600" y="784"/>
                      </a:lnTo>
                      <a:lnTo>
                        <a:pt x="563" y="792"/>
                      </a:lnTo>
                      <a:lnTo>
                        <a:pt x="568" y="797"/>
                      </a:lnTo>
                      <a:lnTo>
                        <a:pt x="576" y="808"/>
                      </a:lnTo>
                      <a:lnTo>
                        <a:pt x="581" y="816"/>
                      </a:lnTo>
                      <a:lnTo>
                        <a:pt x="581" y="821"/>
                      </a:lnTo>
                      <a:lnTo>
                        <a:pt x="578" y="826"/>
                      </a:lnTo>
                      <a:lnTo>
                        <a:pt x="571" y="829"/>
                      </a:lnTo>
                      <a:lnTo>
                        <a:pt x="557" y="829"/>
                      </a:lnTo>
                      <a:lnTo>
                        <a:pt x="544" y="824"/>
                      </a:lnTo>
                      <a:lnTo>
                        <a:pt x="542" y="824"/>
                      </a:lnTo>
                      <a:lnTo>
                        <a:pt x="542" y="821"/>
                      </a:lnTo>
                      <a:lnTo>
                        <a:pt x="542" y="818"/>
                      </a:lnTo>
                      <a:lnTo>
                        <a:pt x="528" y="816"/>
                      </a:lnTo>
                      <a:lnTo>
                        <a:pt x="518" y="816"/>
                      </a:lnTo>
                      <a:lnTo>
                        <a:pt x="518" y="813"/>
                      </a:lnTo>
                      <a:lnTo>
                        <a:pt x="518" y="811"/>
                      </a:lnTo>
                      <a:lnTo>
                        <a:pt x="520" y="808"/>
                      </a:lnTo>
                      <a:lnTo>
                        <a:pt x="510" y="800"/>
                      </a:lnTo>
                      <a:lnTo>
                        <a:pt x="505" y="797"/>
                      </a:lnTo>
                      <a:lnTo>
                        <a:pt x="494" y="795"/>
                      </a:lnTo>
                      <a:lnTo>
                        <a:pt x="475" y="800"/>
                      </a:lnTo>
                      <a:lnTo>
                        <a:pt x="452" y="805"/>
                      </a:lnTo>
                      <a:lnTo>
                        <a:pt x="431" y="813"/>
                      </a:lnTo>
                      <a:lnTo>
                        <a:pt x="428" y="816"/>
                      </a:lnTo>
                      <a:lnTo>
                        <a:pt x="428" y="821"/>
                      </a:lnTo>
                      <a:lnTo>
                        <a:pt x="420" y="821"/>
                      </a:lnTo>
                      <a:lnTo>
                        <a:pt x="415" y="821"/>
                      </a:lnTo>
                      <a:lnTo>
                        <a:pt x="404" y="826"/>
                      </a:lnTo>
                      <a:lnTo>
                        <a:pt x="399" y="834"/>
                      </a:lnTo>
                      <a:lnTo>
                        <a:pt x="399" y="848"/>
                      </a:lnTo>
                      <a:lnTo>
                        <a:pt x="399" y="861"/>
                      </a:lnTo>
                      <a:lnTo>
                        <a:pt x="399" y="877"/>
                      </a:lnTo>
                      <a:lnTo>
                        <a:pt x="396" y="892"/>
                      </a:lnTo>
                      <a:lnTo>
                        <a:pt x="394" y="903"/>
                      </a:lnTo>
                      <a:lnTo>
                        <a:pt x="391" y="914"/>
                      </a:lnTo>
                      <a:lnTo>
                        <a:pt x="388" y="914"/>
                      </a:lnTo>
                      <a:lnTo>
                        <a:pt x="386" y="911"/>
                      </a:lnTo>
                      <a:lnTo>
                        <a:pt x="383" y="914"/>
                      </a:lnTo>
                      <a:lnTo>
                        <a:pt x="378" y="921"/>
                      </a:lnTo>
                      <a:lnTo>
                        <a:pt x="372" y="935"/>
                      </a:lnTo>
                      <a:lnTo>
                        <a:pt x="372" y="937"/>
                      </a:lnTo>
                      <a:lnTo>
                        <a:pt x="372" y="943"/>
                      </a:lnTo>
                      <a:lnTo>
                        <a:pt x="375" y="953"/>
                      </a:lnTo>
                      <a:lnTo>
                        <a:pt x="372" y="956"/>
                      </a:lnTo>
                      <a:lnTo>
                        <a:pt x="367" y="961"/>
                      </a:lnTo>
                      <a:lnTo>
                        <a:pt x="367" y="982"/>
                      </a:lnTo>
                      <a:lnTo>
                        <a:pt x="370" y="1006"/>
                      </a:lnTo>
                      <a:lnTo>
                        <a:pt x="375" y="1027"/>
                      </a:lnTo>
                      <a:lnTo>
                        <a:pt x="386" y="1048"/>
                      </a:lnTo>
                      <a:lnTo>
                        <a:pt x="396" y="1067"/>
                      </a:lnTo>
                      <a:lnTo>
                        <a:pt x="409" y="1080"/>
                      </a:lnTo>
                      <a:lnTo>
                        <a:pt x="417" y="1085"/>
                      </a:lnTo>
                      <a:lnTo>
                        <a:pt x="428" y="1090"/>
                      </a:lnTo>
                      <a:lnTo>
                        <a:pt x="438" y="1090"/>
                      </a:lnTo>
                      <a:lnTo>
                        <a:pt x="449" y="1090"/>
                      </a:lnTo>
                      <a:lnTo>
                        <a:pt x="462" y="1088"/>
                      </a:lnTo>
                      <a:lnTo>
                        <a:pt x="489" y="1083"/>
                      </a:lnTo>
                      <a:lnTo>
                        <a:pt x="505" y="1075"/>
                      </a:lnTo>
                      <a:lnTo>
                        <a:pt x="518" y="1064"/>
                      </a:lnTo>
                      <a:lnTo>
                        <a:pt x="528" y="1054"/>
                      </a:lnTo>
                      <a:lnTo>
                        <a:pt x="531" y="1046"/>
                      </a:lnTo>
                      <a:lnTo>
                        <a:pt x="534" y="1038"/>
                      </a:lnTo>
                      <a:lnTo>
                        <a:pt x="534" y="1027"/>
                      </a:lnTo>
                      <a:lnTo>
                        <a:pt x="539" y="1022"/>
                      </a:lnTo>
                      <a:lnTo>
                        <a:pt x="544" y="1017"/>
                      </a:lnTo>
                      <a:lnTo>
                        <a:pt x="549" y="1011"/>
                      </a:lnTo>
                      <a:lnTo>
                        <a:pt x="565" y="1009"/>
                      </a:lnTo>
                      <a:lnTo>
                        <a:pt x="581" y="1009"/>
                      </a:lnTo>
                      <a:lnTo>
                        <a:pt x="592" y="1009"/>
                      </a:lnTo>
                      <a:lnTo>
                        <a:pt x="613" y="1011"/>
                      </a:lnTo>
                      <a:lnTo>
                        <a:pt x="610" y="1024"/>
                      </a:lnTo>
                      <a:lnTo>
                        <a:pt x="608" y="1027"/>
                      </a:lnTo>
                      <a:lnTo>
                        <a:pt x="605" y="1027"/>
                      </a:lnTo>
                      <a:lnTo>
                        <a:pt x="602" y="1027"/>
                      </a:lnTo>
                      <a:lnTo>
                        <a:pt x="600" y="1030"/>
                      </a:lnTo>
                      <a:lnTo>
                        <a:pt x="600" y="1040"/>
                      </a:lnTo>
                      <a:lnTo>
                        <a:pt x="600" y="1048"/>
                      </a:lnTo>
                      <a:lnTo>
                        <a:pt x="592" y="1056"/>
                      </a:lnTo>
                      <a:lnTo>
                        <a:pt x="592" y="1061"/>
                      </a:lnTo>
                      <a:lnTo>
                        <a:pt x="592" y="1067"/>
                      </a:lnTo>
                      <a:lnTo>
                        <a:pt x="586" y="1077"/>
                      </a:lnTo>
                      <a:lnTo>
                        <a:pt x="586" y="1088"/>
                      </a:lnTo>
                      <a:lnTo>
                        <a:pt x="589" y="1114"/>
                      </a:lnTo>
                      <a:lnTo>
                        <a:pt x="592" y="1117"/>
                      </a:lnTo>
                      <a:lnTo>
                        <a:pt x="597" y="1120"/>
                      </a:lnTo>
                      <a:lnTo>
                        <a:pt x="594" y="1125"/>
                      </a:lnTo>
                      <a:lnTo>
                        <a:pt x="592" y="1130"/>
                      </a:lnTo>
                      <a:lnTo>
                        <a:pt x="589" y="1141"/>
                      </a:lnTo>
                      <a:lnTo>
                        <a:pt x="586" y="1146"/>
                      </a:lnTo>
                      <a:lnTo>
                        <a:pt x="584" y="1149"/>
                      </a:lnTo>
                      <a:lnTo>
                        <a:pt x="613" y="1143"/>
                      </a:lnTo>
                      <a:lnTo>
                        <a:pt x="615" y="1146"/>
                      </a:lnTo>
                      <a:lnTo>
                        <a:pt x="615" y="1149"/>
                      </a:lnTo>
                      <a:lnTo>
                        <a:pt x="615" y="1151"/>
                      </a:lnTo>
                      <a:lnTo>
                        <a:pt x="626" y="1146"/>
                      </a:lnTo>
                      <a:lnTo>
                        <a:pt x="637" y="1143"/>
                      </a:lnTo>
                      <a:lnTo>
                        <a:pt x="639" y="1143"/>
                      </a:lnTo>
                      <a:lnTo>
                        <a:pt x="645" y="1146"/>
                      </a:lnTo>
                      <a:lnTo>
                        <a:pt x="652" y="1141"/>
                      </a:lnTo>
                      <a:lnTo>
                        <a:pt x="655" y="1138"/>
                      </a:lnTo>
                      <a:lnTo>
                        <a:pt x="658" y="1141"/>
                      </a:lnTo>
                      <a:lnTo>
                        <a:pt x="655" y="1146"/>
                      </a:lnTo>
                      <a:lnTo>
                        <a:pt x="658" y="1149"/>
                      </a:lnTo>
                      <a:lnTo>
                        <a:pt x="671" y="1151"/>
                      </a:lnTo>
                      <a:lnTo>
                        <a:pt x="684" y="1154"/>
                      </a:lnTo>
                      <a:lnTo>
                        <a:pt x="697" y="1159"/>
                      </a:lnTo>
                      <a:lnTo>
                        <a:pt x="705" y="1170"/>
                      </a:lnTo>
                      <a:lnTo>
                        <a:pt x="705" y="1175"/>
                      </a:lnTo>
                      <a:lnTo>
                        <a:pt x="708" y="1183"/>
                      </a:lnTo>
                      <a:lnTo>
                        <a:pt x="705" y="1201"/>
                      </a:lnTo>
                      <a:lnTo>
                        <a:pt x="703" y="1217"/>
                      </a:lnTo>
                      <a:lnTo>
                        <a:pt x="695" y="1236"/>
                      </a:lnTo>
                      <a:lnTo>
                        <a:pt x="692" y="1244"/>
                      </a:lnTo>
                      <a:lnTo>
                        <a:pt x="689" y="1252"/>
                      </a:lnTo>
                      <a:lnTo>
                        <a:pt x="689" y="1262"/>
                      </a:lnTo>
                      <a:lnTo>
                        <a:pt x="689" y="1278"/>
                      </a:lnTo>
                      <a:lnTo>
                        <a:pt x="705" y="1291"/>
                      </a:lnTo>
                      <a:lnTo>
                        <a:pt x="711" y="1302"/>
                      </a:lnTo>
                      <a:lnTo>
                        <a:pt x="719" y="1310"/>
                      </a:lnTo>
                      <a:lnTo>
                        <a:pt x="724" y="1312"/>
                      </a:lnTo>
                      <a:lnTo>
                        <a:pt x="729" y="1312"/>
                      </a:lnTo>
                      <a:lnTo>
                        <a:pt x="734" y="1323"/>
                      </a:lnTo>
                      <a:lnTo>
                        <a:pt x="740" y="1331"/>
                      </a:lnTo>
                      <a:lnTo>
                        <a:pt x="745" y="1331"/>
                      </a:lnTo>
                      <a:lnTo>
                        <a:pt x="748" y="1328"/>
                      </a:lnTo>
                      <a:lnTo>
                        <a:pt x="753" y="1323"/>
                      </a:lnTo>
                      <a:lnTo>
                        <a:pt x="758" y="1320"/>
                      </a:lnTo>
                      <a:lnTo>
                        <a:pt x="777" y="1307"/>
                      </a:lnTo>
                      <a:lnTo>
                        <a:pt x="787" y="1299"/>
                      </a:lnTo>
                      <a:lnTo>
                        <a:pt x="790" y="1302"/>
                      </a:lnTo>
                      <a:lnTo>
                        <a:pt x="795" y="1302"/>
                      </a:lnTo>
                      <a:lnTo>
                        <a:pt x="806" y="1299"/>
                      </a:lnTo>
                      <a:lnTo>
                        <a:pt x="816" y="1296"/>
                      </a:lnTo>
                      <a:lnTo>
                        <a:pt x="827" y="1299"/>
                      </a:lnTo>
                      <a:lnTo>
                        <a:pt x="840" y="1304"/>
                      </a:lnTo>
                      <a:lnTo>
                        <a:pt x="840" y="1312"/>
                      </a:lnTo>
                      <a:lnTo>
                        <a:pt x="840" y="1318"/>
                      </a:lnTo>
                      <a:lnTo>
                        <a:pt x="845" y="1320"/>
                      </a:lnTo>
                      <a:lnTo>
                        <a:pt x="848" y="1320"/>
                      </a:lnTo>
                      <a:lnTo>
                        <a:pt x="853" y="1320"/>
                      </a:lnTo>
                      <a:lnTo>
                        <a:pt x="856" y="1323"/>
                      </a:lnTo>
                      <a:lnTo>
                        <a:pt x="864" y="1315"/>
                      </a:lnTo>
                      <a:lnTo>
                        <a:pt x="872" y="1304"/>
                      </a:lnTo>
                      <a:lnTo>
                        <a:pt x="874" y="1302"/>
                      </a:lnTo>
                      <a:lnTo>
                        <a:pt x="903" y="1265"/>
                      </a:lnTo>
                      <a:lnTo>
                        <a:pt x="909" y="1259"/>
                      </a:lnTo>
                      <a:lnTo>
                        <a:pt x="919" y="1254"/>
                      </a:lnTo>
                      <a:lnTo>
                        <a:pt x="943" y="1244"/>
                      </a:lnTo>
                      <a:lnTo>
                        <a:pt x="967" y="1233"/>
                      </a:lnTo>
                      <a:lnTo>
                        <a:pt x="975" y="1228"/>
                      </a:lnTo>
                      <a:lnTo>
                        <a:pt x="983" y="1225"/>
                      </a:lnTo>
                      <a:lnTo>
                        <a:pt x="985" y="1228"/>
                      </a:lnTo>
                      <a:lnTo>
                        <a:pt x="993" y="1236"/>
                      </a:lnTo>
                      <a:lnTo>
                        <a:pt x="996" y="1241"/>
                      </a:lnTo>
                      <a:lnTo>
                        <a:pt x="996" y="1249"/>
                      </a:lnTo>
                      <a:lnTo>
                        <a:pt x="993" y="1257"/>
                      </a:lnTo>
                      <a:lnTo>
                        <a:pt x="985" y="1265"/>
                      </a:lnTo>
                      <a:lnTo>
                        <a:pt x="972" y="1283"/>
                      </a:lnTo>
                      <a:lnTo>
                        <a:pt x="964" y="1299"/>
                      </a:lnTo>
                      <a:lnTo>
                        <a:pt x="964" y="1307"/>
                      </a:lnTo>
                      <a:lnTo>
                        <a:pt x="964" y="1312"/>
                      </a:lnTo>
                      <a:lnTo>
                        <a:pt x="967" y="1315"/>
                      </a:lnTo>
                      <a:lnTo>
                        <a:pt x="972" y="1315"/>
                      </a:lnTo>
                      <a:lnTo>
                        <a:pt x="980" y="1312"/>
                      </a:lnTo>
                      <a:lnTo>
                        <a:pt x="985" y="1304"/>
                      </a:lnTo>
                      <a:lnTo>
                        <a:pt x="999" y="1283"/>
                      </a:lnTo>
                      <a:lnTo>
                        <a:pt x="1020" y="1236"/>
                      </a:lnTo>
                      <a:lnTo>
                        <a:pt x="1025" y="1228"/>
                      </a:lnTo>
                      <a:lnTo>
                        <a:pt x="1030" y="1225"/>
                      </a:lnTo>
                      <a:lnTo>
                        <a:pt x="1036" y="1228"/>
                      </a:lnTo>
                      <a:lnTo>
                        <a:pt x="1041" y="1230"/>
                      </a:lnTo>
                      <a:lnTo>
                        <a:pt x="1049" y="1236"/>
                      </a:lnTo>
                      <a:lnTo>
                        <a:pt x="1065" y="1257"/>
                      </a:lnTo>
                      <a:lnTo>
                        <a:pt x="1073" y="1265"/>
                      </a:lnTo>
                      <a:lnTo>
                        <a:pt x="1078" y="1270"/>
                      </a:lnTo>
                      <a:lnTo>
                        <a:pt x="1086" y="1273"/>
                      </a:lnTo>
                      <a:lnTo>
                        <a:pt x="1094" y="1275"/>
                      </a:lnTo>
                      <a:lnTo>
                        <a:pt x="1110" y="1273"/>
                      </a:lnTo>
                      <a:lnTo>
                        <a:pt x="1123" y="1267"/>
                      </a:lnTo>
                      <a:lnTo>
                        <a:pt x="1128" y="1267"/>
                      </a:lnTo>
                      <a:lnTo>
                        <a:pt x="1136" y="1267"/>
                      </a:lnTo>
                      <a:lnTo>
                        <a:pt x="1147" y="1270"/>
                      </a:lnTo>
                      <a:lnTo>
                        <a:pt x="1144" y="1262"/>
                      </a:lnTo>
                      <a:lnTo>
                        <a:pt x="1147" y="1257"/>
                      </a:lnTo>
                      <a:lnTo>
                        <a:pt x="1152" y="1252"/>
                      </a:lnTo>
                      <a:lnTo>
                        <a:pt x="1154" y="1252"/>
                      </a:lnTo>
                      <a:lnTo>
                        <a:pt x="1162" y="1254"/>
                      </a:lnTo>
                      <a:lnTo>
                        <a:pt x="1168" y="1254"/>
                      </a:lnTo>
                      <a:lnTo>
                        <a:pt x="1173" y="1254"/>
                      </a:lnTo>
                      <a:lnTo>
                        <a:pt x="1194" y="1246"/>
                      </a:lnTo>
                      <a:lnTo>
                        <a:pt x="1202" y="1244"/>
                      </a:lnTo>
                      <a:lnTo>
                        <a:pt x="1210" y="1244"/>
                      </a:lnTo>
                      <a:lnTo>
                        <a:pt x="1236" y="1262"/>
                      </a:lnTo>
                      <a:lnTo>
                        <a:pt x="1271" y="1289"/>
                      </a:lnTo>
                      <a:lnTo>
                        <a:pt x="1276" y="1291"/>
                      </a:lnTo>
                      <a:lnTo>
                        <a:pt x="1287" y="1291"/>
                      </a:lnTo>
                      <a:lnTo>
                        <a:pt x="1295" y="1291"/>
                      </a:lnTo>
                      <a:lnTo>
                        <a:pt x="1300" y="1294"/>
                      </a:lnTo>
                      <a:lnTo>
                        <a:pt x="1300" y="1296"/>
                      </a:lnTo>
                      <a:lnTo>
                        <a:pt x="1297" y="1302"/>
                      </a:lnTo>
                      <a:lnTo>
                        <a:pt x="1295" y="1304"/>
                      </a:lnTo>
                      <a:lnTo>
                        <a:pt x="1295" y="1307"/>
                      </a:lnTo>
                      <a:lnTo>
                        <a:pt x="1313" y="1323"/>
                      </a:lnTo>
                      <a:lnTo>
                        <a:pt x="1326" y="1323"/>
                      </a:lnTo>
                      <a:lnTo>
                        <a:pt x="1355" y="1320"/>
                      </a:lnTo>
                      <a:lnTo>
                        <a:pt x="1387" y="1320"/>
                      </a:lnTo>
                      <a:lnTo>
                        <a:pt x="1398" y="1323"/>
                      </a:lnTo>
                      <a:lnTo>
                        <a:pt x="1400" y="1326"/>
                      </a:lnTo>
                      <a:lnTo>
                        <a:pt x="1403" y="1328"/>
                      </a:lnTo>
                      <a:lnTo>
                        <a:pt x="1405" y="1344"/>
                      </a:lnTo>
                      <a:lnTo>
                        <a:pt x="1408" y="1344"/>
                      </a:lnTo>
                      <a:lnTo>
                        <a:pt x="1413" y="1347"/>
                      </a:lnTo>
                      <a:lnTo>
                        <a:pt x="1416" y="1352"/>
                      </a:lnTo>
                      <a:lnTo>
                        <a:pt x="1419" y="1357"/>
                      </a:lnTo>
                      <a:lnTo>
                        <a:pt x="1421" y="1365"/>
                      </a:lnTo>
                      <a:lnTo>
                        <a:pt x="1421" y="1378"/>
                      </a:lnTo>
                      <a:lnTo>
                        <a:pt x="1427" y="1378"/>
                      </a:lnTo>
                      <a:lnTo>
                        <a:pt x="1432" y="1378"/>
                      </a:lnTo>
                      <a:lnTo>
                        <a:pt x="1437" y="1381"/>
                      </a:lnTo>
                      <a:lnTo>
                        <a:pt x="1445" y="1386"/>
                      </a:lnTo>
                      <a:lnTo>
                        <a:pt x="1448" y="1394"/>
                      </a:lnTo>
                      <a:lnTo>
                        <a:pt x="1450" y="1407"/>
                      </a:lnTo>
                      <a:lnTo>
                        <a:pt x="1450" y="1423"/>
                      </a:lnTo>
                      <a:lnTo>
                        <a:pt x="1456" y="1421"/>
                      </a:lnTo>
                      <a:lnTo>
                        <a:pt x="1461" y="1418"/>
                      </a:lnTo>
                      <a:lnTo>
                        <a:pt x="1472" y="1418"/>
                      </a:lnTo>
                      <a:lnTo>
                        <a:pt x="1474" y="1421"/>
                      </a:lnTo>
                      <a:lnTo>
                        <a:pt x="1477" y="1423"/>
                      </a:lnTo>
                      <a:lnTo>
                        <a:pt x="1477" y="1426"/>
                      </a:lnTo>
                      <a:lnTo>
                        <a:pt x="1479" y="1428"/>
                      </a:lnTo>
                      <a:lnTo>
                        <a:pt x="1495" y="1436"/>
                      </a:lnTo>
                      <a:lnTo>
                        <a:pt x="1511" y="1442"/>
                      </a:lnTo>
                      <a:lnTo>
                        <a:pt x="1519" y="1442"/>
                      </a:lnTo>
                      <a:lnTo>
                        <a:pt x="1524" y="1436"/>
                      </a:lnTo>
                      <a:lnTo>
                        <a:pt x="1527" y="1434"/>
                      </a:lnTo>
                      <a:lnTo>
                        <a:pt x="1530" y="1431"/>
                      </a:lnTo>
                      <a:lnTo>
                        <a:pt x="1546" y="1439"/>
                      </a:lnTo>
                      <a:lnTo>
                        <a:pt x="1567" y="1450"/>
                      </a:lnTo>
                      <a:lnTo>
                        <a:pt x="1588" y="1455"/>
                      </a:lnTo>
                      <a:lnTo>
                        <a:pt x="1598" y="1455"/>
                      </a:lnTo>
                      <a:lnTo>
                        <a:pt x="1606" y="1452"/>
                      </a:lnTo>
                      <a:lnTo>
                        <a:pt x="1612" y="1452"/>
                      </a:lnTo>
                      <a:lnTo>
                        <a:pt x="1620" y="1452"/>
                      </a:lnTo>
                      <a:lnTo>
                        <a:pt x="1635" y="1460"/>
                      </a:lnTo>
                      <a:lnTo>
                        <a:pt x="1646" y="1468"/>
                      </a:lnTo>
                      <a:lnTo>
                        <a:pt x="1651" y="1473"/>
                      </a:lnTo>
                      <a:lnTo>
                        <a:pt x="1641" y="1505"/>
                      </a:lnTo>
                      <a:lnTo>
                        <a:pt x="1630" y="1537"/>
                      </a:lnTo>
                      <a:lnTo>
                        <a:pt x="1617" y="1576"/>
                      </a:lnTo>
                      <a:lnTo>
                        <a:pt x="1604" y="1598"/>
                      </a:lnTo>
                      <a:lnTo>
                        <a:pt x="1590" y="1621"/>
                      </a:lnTo>
                      <a:lnTo>
                        <a:pt x="1588" y="1629"/>
                      </a:lnTo>
                      <a:lnTo>
                        <a:pt x="1585" y="1637"/>
                      </a:lnTo>
                      <a:lnTo>
                        <a:pt x="1575" y="1653"/>
                      </a:lnTo>
                      <a:lnTo>
                        <a:pt x="1572" y="1653"/>
                      </a:lnTo>
                      <a:lnTo>
                        <a:pt x="1569" y="1650"/>
                      </a:lnTo>
                      <a:lnTo>
                        <a:pt x="1564" y="1664"/>
                      </a:lnTo>
                      <a:lnTo>
                        <a:pt x="1559" y="1674"/>
                      </a:lnTo>
                      <a:lnTo>
                        <a:pt x="1561" y="1685"/>
                      </a:lnTo>
                      <a:lnTo>
                        <a:pt x="1561" y="1695"/>
                      </a:lnTo>
                      <a:lnTo>
                        <a:pt x="1556" y="1714"/>
                      </a:lnTo>
                      <a:lnTo>
                        <a:pt x="1553" y="1714"/>
                      </a:lnTo>
                      <a:lnTo>
                        <a:pt x="1551" y="1711"/>
                      </a:lnTo>
                      <a:lnTo>
                        <a:pt x="1548" y="1714"/>
                      </a:lnTo>
                      <a:lnTo>
                        <a:pt x="1548" y="1727"/>
                      </a:lnTo>
                      <a:lnTo>
                        <a:pt x="1546" y="1740"/>
                      </a:lnTo>
                      <a:lnTo>
                        <a:pt x="1543" y="1745"/>
                      </a:lnTo>
                      <a:lnTo>
                        <a:pt x="1540" y="1753"/>
                      </a:lnTo>
                      <a:lnTo>
                        <a:pt x="1532" y="1764"/>
                      </a:lnTo>
                      <a:lnTo>
                        <a:pt x="1522" y="1772"/>
                      </a:lnTo>
                      <a:lnTo>
                        <a:pt x="1490" y="1811"/>
                      </a:lnTo>
                      <a:lnTo>
                        <a:pt x="1466" y="1835"/>
                      </a:lnTo>
                      <a:lnTo>
                        <a:pt x="1448" y="1848"/>
                      </a:lnTo>
                      <a:lnTo>
                        <a:pt x="1440" y="1854"/>
                      </a:lnTo>
                      <a:lnTo>
                        <a:pt x="1432" y="1856"/>
                      </a:lnTo>
                      <a:lnTo>
                        <a:pt x="1419" y="1859"/>
                      </a:lnTo>
                      <a:lnTo>
                        <a:pt x="1405" y="1864"/>
                      </a:lnTo>
                      <a:lnTo>
                        <a:pt x="1390" y="1872"/>
                      </a:lnTo>
                      <a:lnTo>
                        <a:pt x="1374" y="1883"/>
                      </a:lnTo>
                      <a:lnTo>
                        <a:pt x="1358" y="1896"/>
                      </a:lnTo>
                      <a:lnTo>
                        <a:pt x="1345" y="1912"/>
                      </a:lnTo>
                      <a:lnTo>
                        <a:pt x="1334" y="1925"/>
                      </a:lnTo>
                      <a:lnTo>
                        <a:pt x="1326" y="1943"/>
                      </a:lnTo>
                      <a:lnTo>
                        <a:pt x="1321" y="1957"/>
                      </a:lnTo>
                      <a:lnTo>
                        <a:pt x="1318" y="1957"/>
                      </a:lnTo>
                      <a:lnTo>
                        <a:pt x="1316" y="1957"/>
                      </a:lnTo>
                      <a:lnTo>
                        <a:pt x="1316" y="1954"/>
                      </a:lnTo>
                      <a:lnTo>
                        <a:pt x="1313" y="1954"/>
                      </a:lnTo>
                      <a:lnTo>
                        <a:pt x="1310" y="1970"/>
                      </a:lnTo>
                      <a:lnTo>
                        <a:pt x="1287" y="1994"/>
                      </a:lnTo>
                      <a:lnTo>
                        <a:pt x="1276" y="2004"/>
                      </a:lnTo>
                      <a:lnTo>
                        <a:pt x="1265" y="2015"/>
                      </a:lnTo>
                      <a:lnTo>
                        <a:pt x="1255" y="2017"/>
                      </a:lnTo>
                      <a:lnTo>
                        <a:pt x="1247" y="2020"/>
                      </a:lnTo>
                      <a:lnTo>
                        <a:pt x="1242" y="2025"/>
                      </a:lnTo>
                      <a:lnTo>
                        <a:pt x="1234" y="2033"/>
                      </a:lnTo>
                      <a:lnTo>
                        <a:pt x="1228" y="2036"/>
                      </a:lnTo>
                      <a:lnTo>
                        <a:pt x="1226" y="2036"/>
                      </a:lnTo>
                      <a:lnTo>
                        <a:pt x="1223" y="2033"/>
                      </a:lnTo>
                      <a:lnTo>
                        <a:pt x="1221" y="2033"/>
                      </a:lnTo>
                      <a:lnTo>
                        <a:pt x="1218" y="2036"/>
                      </a:lnTo>
                      <a:lnTo>
                        <a:pt x="1213" y="2041"/>
                      </a:lnTo>
                      <a:lnTo>
                        <a:pt x="1197" y="2052"/>
                      </a:lnTo>
                      <a:lnTo>
                        <a:pt x="1149" y="2052"/>
                      </a:lnTo>
                      <a:lnTo>
                        <a:pt x="1149" y="2054"/>
                      </a:lnTo>
                      <a:lnTo>
                        <a:pt x="1147" y="2068"/>
                      </a:lnTo>
                      <a:lnTo>
                        <a:pt x="1144" y="2078"/>
                      </a:lnTo>
                      <a:lnTo>
                        <a:pt x="1139" y="2083"/>
                      </a:lnTo>
                      <a:lnTo>
                        <a:pt x="1131" y="2089"/>
                      </a:lnTo>
                      <a:lnTo>
                        <a:pt x="1110" y="2099"/>
                      </a:lnTo>
                      <a:lnTo>
                        <a:pt x="1078" y="2118"/>
                      </a:lnTo>
                      <a:lnTo>
                        <a:pt x="1012" y="2155"/>
                      </a:lnTo>
                      <a:lnTo>
                        <a:pt x="980" y="2171"/>
                      </a:lnTo>
                      <a:lnTo>
                        <a:pt x="954" y="2186"/>
                      </a:lnTo>
                      <a:lnTo>
                        <a:pt x="927" y="2205"/>
                      </a:lnTo>
                      <a:lnTo>
                        <a:pt x="898" y="2215"/>
                      </a:lnTo>
                      <a:lnTo>
                        <a:pt x="795" y="2229"/>
                      </a:lnTo>
                      <a:lnTo>
                        <a:pt x="885" y="2160"/>
                      </a:lnTo>
                      <a:lnTo>
                        <a:pt x="896" y="2149"/>
                      </a:lnTo>
                      <a:lnTo>
                        <a:pt x="919" y="2126"/>
                      </a:lnTo>
                      <a:lnTo>
                        <a:pt x="930" y="2110"/>
                      </a:lnTo>
                      <a:lnTo>
                        <a:pt x="940" y="2094"/>
                      </a:lnTo>
                      <a:lnTo>
                        <a:pt x="946" y="2078"/>
                      </a:lnTo>
                      <a:lnTo>
                        <a:pt x="948" y="2062"/>
                      </a:lnTo>
                      <a:lnTo>
                        <a:pt x="948" y="2049"/>
                      </a:lnTo>
                      <a:lnTo>
                        <a:pt x="954" y="2033"/>
                      </a:lnTo>
                      <a:lnTo>
                        <a:pt x="959" y="2017"/>
                      </a:lnTo>
                      <a:lnTo>
                        <a:pt x="967" y="2002"/>
                      </a:lnTo>
                      <a:lnTo>
                        <a:pt x="983" y="1978"/>
                      </a:lnTo>
                      <a:lnTo>
                        <a:pt x="991" y="1967"/>
                      </a:lnTo>
                      <a:lnTo>
                        <a:pt x="1001" y="1938"/>
                      </a:lnTo>
                      <a:lnTo>
                        <a:pt x="1004" y="1936"/>
                      </a:lnTo>
                      <a:lnTo>
                        <a:pt x="1012" y="1930"/>
                      </a:lnTo>
                      <a:lnTo>
                        <a:pt x="1020" y="1928"/>
                      </a:lnTo>
                      <a:lnTo>
                        <a:pt x="1022" y="1922"/>
                      </a:lnTo>
                      <a:lnTo>
                        <a:pt x="1020" y="1920"/>
                      </a:lnTo>
                      <a:lnTo>
                        <a:pt x="1014" y="1917"/>
                      </a:lnTo>
                      <a:lnTo>
                        <a:pt x="1012" y="1917"/>
                      </a:lnTo>
                      <a:lnTo>
                        <a:pt x="1009" y="1914"/>
                      </a:lnTo>
                      <a:lnTo>
                        <a:pt x="1014" y="1891"/>
                      </a:lnTo>
                      <a:lnTo>
                        <a:pt x="1014" y="1872"/>
                      </a:lnTo>
                      <a:lnTo>
                        <a:pt x="1014" y="1862"/>
                      </a:lnTo>
                      <a:lnTo>
                        <a:pt x="1012" y="1856"/>
                      </a:lnTo>
                      <a:lnTo>
                        <a:pt x="1007" y="1851"/>
                      </a:lnTo>
                      <a:lnTo>
                        <a:pt x="999" y="1848"/>
                      </a:lnTo>
                      <a:lnTo>
                        <a:pt x="985" y="1851"/>
                      </a:lnTo>
                      <a:lnTo>
                        <a:pt x="977" y="1851"/>
                      </a:lnTo>
                      <a:lnTo>
                        <a:pt x="970" y="1851"/>
                      </a:lnTo>
                      <a:lnTo>
                        <a:pt x="967" y="1848"/>
                      </a:lnTo>
                      <a:lnTo>
                        <a:pt x="962" y="1843"/>
                      </a:lnTo>
                      <a:lnTo>
                        <a:pt x="954" y="1838"/>
                      </a:lnTo>
                      <a:lnTo>
                        <a:pt x="948" y="1838"/>
                      </a:lnTo>
                      <a:lnTo>
                        <a:pt x="946" y="1838"/>
                      </a:lnTo>
                      <a:lnTo>
                        <a:pt x="943" y="1840"/>
                      </a:lnTo>
                      <a:lnTo>
                        <a:pt x="940" y="1840"/>
                      </a:lnTo>
                      <a:lnTo>
                        <a:pt x="919" y="1830"/>
                      </a:lnTo>
                      <a:lnTo>
                        <a:pt x="898" y="1819"/>
                      </a:lnTo>
                      <a:lnTo>
                        <a:pt x="882" y="1806"/>
                      </a:lnTo>
                      <a:lnTo>
                        <a:pt x="861" y="1764"/>
                      </a:lnTo>
                      <a:lnTo>
                        <a:pt x="845" y="1748"/>
                      </a:lnTo>
                      <a:lnTo>
                        <a:pt x="843" y="1719"/>
                      </a:lnTo>
                      <a:lnTo>
                        <a:pt x="827" y="1727"/>
                      </a:lnTo>
                      <a:lnTo>
                        <a:pt x="766" y="1661"/>
                      </a:lnTo>
                      <a:lnTo>
                        <a:pt x="763" y="1653"/>
                      </a:lnTo>
                      <a:lnTo>
                        <a:pt x="761" y="1640"/>
                      </a:lnTo>
                      <a:lnTo>
                        <a:pt x="761" y="1632"/>
                      </a:lnTo>
                      <a:lnTo>
                        <a:pt x="763" y="1621"/>
                      </a:lnTo>
                      <a:lnTo>
                        <a:pt x="771" y="1613"/>
                      </a:lnTo>
                      <a:lnTo>
                        <a:pt x="782" y="1605"/>
                      </a:lnTo>
                      <a:lnTo>
                        <a:pt x="782" y="1590"/>
                      </a:lnTo>
                      <a:lnTo>
                        <a:pt x="779" y="1579"/>
                      </a:lnTo>
                      <a:lnTo>
                        <a:pt x="777" y="1574"/>
                      </a:lnTo>
                      <a:lnTo>
                        <a:pt x="774" y="1568"/>
                      </a:lnTo>
                      <a:lnTo>
                        <a:pt x="769" y="1563"/>
                      </a:lnTo>
                      <a:lnTo>
                        <a:pt x="766" y="1555"/>
                      </a:lnTo>
                      <a:lnTo>
                        <a:pt x="769" y="1553"/>
                      </a:lnTo>
                      <a:lnTo>
                        <a:pt x="771" y="1547"/>
                      </a:lnTo>
                      <a:lnTo>
                        <a:pt x="779" y="1542"/>
                      </a:lnTo>
                      <a:lnTo>
                        <a:pt x="777" y="1539"/>
                      </a:lnTo>
                      <a:lnTo>
                        <a:pt x="771" y="1537"/>
                      </a:lnTo>
                      <a:lnTo>
                        <a:pt x="766" y="1534"/>
                      </a:lnTo>
                      <a:lnTo>
                        <a:pt x="766" y="1531"/>
                      </a:lnTo>
                      <a:lnTo>
                        <a:pt x="769" y="1521"/>
                      </a:lnTo>
                      <a:lnTo>
                        <a:pt x="774" y="1508"/>
                      </a:lnTo>
                      <a:lnTo>
                        <a:pt x="785" y="1497"/>
                      </a:lnTo>
                      <a:lnTo>
                        <a:pt x="790" y="1495"/>
                      </a:lnTo>
                      <a:lnTo>
                        <a:pt x="795" y="1492"/>
                      </a:lnTo>
                      <a:lnTo>
                        <a:pt x="800" y="1492"/>
                      </a:lnTo>
                      <a:lnTo>
                        <a:pt x="803" y="1492"/>
                      </a:lnTo>
                      <a:lnTo>
                        <a:pt x="806" y="1495"/>
                      </a:lnTo>
                      <a:lnTo>
                        <a:pt x="808" y="1492"/>
                      </a:lnTo>
                      <a:lnTo>
                        <a:pt x="822" y="1489"/>
                      </a:lnTo>
                      <a:lnTo>
                        <a:pt x="837" y="1481"/>
                      </a:lnTo>
                      <a:lnTo>
                        <a:pt x="837" y="1479"/>
                      </a:lnTo>
                      <a:lnTo>
                        <a:pt x="835" y="1479"/>
                      </a:lnTo>
                      <a:lnTo>
                        <a:pt x="832" y="1476"/>
                      </a:lnTo>
                      <a:lnTo>
                        <a:pt x="832" y="1473"/>
                      </a:lnTo>
                      <a:lnTo>
                        <a:pt x="845" y="1452"/>
                      </a:lnTo>
                      <a:lnTo>
                        <a:pt x="853" y="1431"/>
                      </a:lnTo>
                      <a:lnTo>
                        <a:pt x="856" y="1407"/>
                      </a:lnTo>
                      <a:lnTo>
                        <a:pt x="856" y="1397"/>
                      </a:lnTo>
                      <a:lnTo>
                        <a:pt x="853" y="1386"/>
                      </a:lnTo>
                      <a:lnTo>
                        <a:pt x="851" y="1378"/>
                      </a:lnTo>
                      <a:lnTo>
                        <a:pt x="845" y="1357"/>
                      </a:lnTo>
                      <a:lnTo>
                        <a:pt x="843" y="1357"/>
                      </a:lnTo>
                      <a:lnTo>
                        <a:pt x="840" y="1357"/>
                      </a:lnTo>
                      <a:lnTo>
                        <a:pt x="837" y="1352"/>
                      </a:lnTo>
                      <a:lnTo>
                        <a:pt x="840" y="1344"/>
                      </a:lnTo>
                      <a:lnTo>
                        <a:pt x="840" y="1339"/>
                      </a:lnTo>
                      <a:lnTo>
                        <a:pt x="837" y="1339"/>
                      </a:lnTo>
                      <a:lnTo>
                        <a:pt x="835" y="1339"/>
                      </a:lnTo>
                      <a:lnTo>
                        <a:pt x="832" y="1339"/>
                      </a:lnTo>
                      <a:lnTo>
                        <a:pt x="822" y="1323"/>
                      </a:lnTo>
                      <a:lnTo>
                        <a:pt x="816" y="1318"/>
                      </a:lnTo>
                      <a:lnTo>
                        <a:pt x="811" y="1318"/>
                      </a:lnTo>
                      <a:lnTo>
                        <a:pt x="803" y="1318"/>
                      </a:lnTo>
                      <a:lnTo>
                        <a:pt x="798" y="1318"/>
                      </a:lnTo>
                      <a:lnTo>
                        <a:pt x="795" y="1320"/>
                      </a:lnTo>
                      <a:lnTo>
                        <a:pt x="795" y="1328"/>
                      </a:lnTo>
                      <a:lnTo>
                        <a:pt x="795" y="1336"/>
                      </a:lnTo>
                      <a:lnTo>
                        <a:pt x="793" y="1339"/>
                      </a:lnTo>
                      <a:lnTo>
                        <a:pt x="790" y="1339"/>
                      </a:lnTo>
                      <a:lnTo>
                        <a:pt x="790" y="1341"/>
                      </a:lnTo>
                      <a:lnTo>
                        <a:pt x="790" y="1349"/>
                      </a:lnTo>
                      <a:lnTo>
                        <a:pt x="790" y="1357"/>
                      </a:lnTo>
                      <a:lnTo>
                        <a:pt x="787" y="1362"/>
                      </a:lnTo>
                      <a:lnTo>
                        <a:pt x="785" y="1368"/>
                      </a:lnTo>
                      <a:lnTo>
                        <a:pt x="779" y="1373"/>
                      </a:lnTo>
                      <a:lnTo>
                        <a:pt x="774" y="1373"/>
                      </a:lnTo>
                      <a:lnTo>
                        <a:pt x="763" y="1373"/>
                      </a:lnTo>
                      <a:lnTo>
                        <a:pt x="756" y="1370"/>
                      </a:lnTo>
                      <a:lnTo>
                        <a:pt x="742" y="1360"/>
                      </a:lnTo>
                      <a:lnTo>
                        <a:pt x="732" y="1349"/>
                      </a:lnTo>
                      <a:lnTo>
                        <a:pt x="729" y="1344"/>
                      </a:lnTo>
                      <a:lnTo>
                        <a:pt x="721" y="1339"/>
                      </a:lnTo>
                      <a:lnTo>
                        <a:pt x="705" y="1323"/>
                      </a:lnTo>
                      <a:lnTo>
                        <a:pt x="684" y="1310"/>
                      </a:lnTo>
                      <a:lnTo>
                        <a:pt x="674" y="1304"/>
                      </a:lnTo>
                      <a:lnTo>
                        <a:pt x="660" y="1302"/>
                      </a:lnTo>
                      <a:lnTo>
                        <a:pt x="652" y="1302"/>
                      </a:lnTo>
                      <a:lnTo>
                        <a:pt x="645" y="1299"/>
                      </a:lnTo>
                      <a:lnTo>
                        <a:pt x="639" y="1294"/>
                      </a:lnTo>
                      <a:lnTo>
                        <a:pt x="637" y="1286"/>
                      </a:lnTo>
                      <a:lnTo>
                        <a:pt x="634" y="1273"/>
                      </a:lnTo>
                      <a:lnTo>
                        <a:pt x="637" y="1262"/>
                      </a:lnTo>
                      <a:lnTo>
                        <a:pt x="637" y="1257"/>
                      </a:lnTo>
                      <a:lnTo>
                        <a:pt x="631" y="1249"/>
                      </a:lnTo>
                      <a:lnTo>
                        <a:pt x="615" y="1233"/>
                      </a:lnTo>
                      <a:lnTo>
                        <a:pt x="592" y="1217"/>
                      </a:lnTo>
                      <a:lnTo>
                        <a:pt x="581" y="1212"/>
                      </a:lnTo>
                      <a:lnTo>
                        <a:pt x="571" y="1212"/>
                      </a:lnTo>
                      <a:lnTo>
                        <a:pt x="549" y="1212"/>
                      </a:lnTo>
                      <a:lnTo>
                        <a:pt x="539" y="1209"/>
                      </a:lnTo>
                      <a:lnTo>
                        <a:pt x="526" y="1204"/>
                      </a:lnTo>
                      <a:lnTo>
                        <a:pt x="512" y="1196"/>
                      </a:lnTo>
                      <a:lnTo>
                        <a:pt x="499" y="1188"/>
                      </a:lnTo>
                      <a:lnTo>
                        <a:pt x="483" y="1172"/>
                      </a:lnTo>
                      <a:lnTo>
                        <a:pt x="468" y="1154"/>
                      </a:lnTo>
                      <a:lnTo>
                        <a:pt x="465" y="1149"/>
                      </a:lnTo>
                      <a:lnTo>
                        <a:pt x="460" y="1143"/>
                      </a:lnTo>
                      <a:lnTo>
                        <a:pt x="454" y="1138"/>
                      </a:lnTo>
                      <a:lnTo>
                        <a:pt x="449" y="1135"/>
                      </a:lnTo>
                      <a:lnTo>
                        <a:pt x="441" y="1135"/>
                      </a:lnTo>
                      <a:lnTo>
                        <a:pt x="431" y="1138"/>
                      </a:lnTo>
                      <a:lnTo>
                        <a:pt x="417" y="1146"/>
                      </a:lnTo>
                      <a:lnTo>
                        <a:pt x="412" y="1146"/>
                      </a:lnTo>
                      <a:lnTo>
                        <a:pt x="394" y="1146"/>
                      </a:lnTo>
                      <a:lnTo>
                        <a:pt x="378" y="1141"/>
                      </a:lnTo>
                      <a:lnTo>
                        <a:pt x="357" y="1135"/>
                      </a:lnTo>
                      <a:lnTo>
                        <a:pt x="330" y="1125"/>
                      </a:lnTo>
                      <a:lnTo>
                        <a:pt x="296" y="1109"/>
                      </a:lnTo>
                      <a:lnTo>
                        <a:pt x="291" y="1101"/>
                      </a:lnTo>
                      <a:lnTo>
                        <a:pt x="275" y="1085"/>
                      </a:lnTo>
                      <a:lnTo>
                        <a:pt x="251" y="1069"/>
                      </a:lnTo>
                      <a:lnTo>
                        <a:pt x="240" y="1064"/>
                      </a:lnTo>
                      <a:lnTo>
                        <a:pt x="230" y="1061"/>
                      </a:lnTo>
                      <a:lnTo>
                        <a:pt x="219" y="1061"/>
                      </a:lnTo>
                      <a:lnTo>
                        <a:pt x="209" y="1056"/>
                      </a:lnTo>
                      <a:lnTo>
                        <a:pt x="201" y="1051"/>
                      </a:lnTo>
                      <a:lnTo>
                        <a:pt x="193" y="1046"/>
                      </a:lnTo>
                      <a:lnTo>
                        <a:pt x="190" y="1035"/>
                      </a:lnTo>
                      <a:lnTo>
                        <a:pt x="187" y="1027"/>
                      </a:lnTo>
                      <a:lnTo>
                        <a:pt x="190" y="1017"/>
                      </a:lnTo>
                      <a:lnTo>
                        <a:pt x="195" y="1009"/>
                      </a:lnTo>
                      <a:lnTo>
                        <a:pt x="203" y="998"/>
                      </a:lnTo>
                      <a:lnTo>
                        <a:pt x="209" y="990"/>
                      </a:lnTo>
                      <a:lnTo>
                        <a:pt x="209" y="982"/>
                      </a:lnTo>
                      <a:lnTo>
                        <a:pt x="209" y="974"/>
                      </a:lnTo>
                      <a:lnTo>
                        <a:pt x="206" y="964"/>
                      </a:lnTo>
                      <a:lnTo>
                        <a:pt x="198" y="953"/>
                      </a:lnTo>
                      <a:lnTo>
                        <a:pt x="174" y="921"/>
                      </a:lnTo>
                      <a:lnTo>
                        <a:pt x="150" y="887"/>
                      </a:lnTo>
                      <a:lnTo>
                        <a:pt x="135" y="863"/>
                      </a:lnTo>
                      <a:lnTo>
                        <a:pt x="127" y="845"/>
                      </a:lnTo>
                      <a:lnTo>
                        <a:pt x="119" y="837"/>
                      </a:lnTo>
                      <a:lnTo>
                        <a:pt x="106" y="818"/>
                      </a:lnTo>
                      <a:lnTo>
                        <a:pt x="100" y="808"/>
                      </a:lnTo>
                      <a:lnTo>
                        <a:pt x="98" y="795"/>
                      </a:lnTo>
                      <a:lnTo>
                        <a:pt x="98" y="784"/>
                      </a:lnTo>
                      <a:lnTo>
                        <a:pt x="100" y="776"/>
                      </a:lnTo>
                      <a:lnTo>
                        <a:pt x="103" y="766"/>
                      </a:lnTo>
                      <a:lnTo>
                        <a:pt x="103" y="758"/>
                      </a:lnTo>
                      <a:lnTo>
                        <a:pt x="98" y="747"/>
                      </a:lnTo>
                      <a:lnTo>
                        <a:pt x="92" y="739"/>
                      </a:lnTo>
                      <a:lnTo>
                        <a:pt x="84" y="731"/>
                      </a:lnTo>
                      <a:lnTo>
                        <a:pt x="79" y="729"/>
                      </a:lnTo>
                      <a:lnTo>
                        <a:pt x="74" y="729"/>
                      </a:lnTo>
                      <a:lnTo>
                        <a:pt x="71" y="734"/>
                      </a:lnTo>
                      <a:lnTo>
                        <a:pt x="74" y="758"/>
                      </a:lnTo>
                      <a:lnTo>
                        <a:pt x="79" y="792"/>
                      </a:lnTo>
                      <a:lnTo>
                        <a:pt x="87" y="834"/>
                      </a:lnTo>
                      <a:lnTo>
                        <a:pt x="98" y="850"/>
                      </a:lnTo>
                      <a:lnTo>
                        <a:pt x="103" y="866"/>
                      </a:lnTo>
                      <a:lnTo>
                        <a:pt x="106" y="874"/>
                      </a:lnTo>
                      <a:lnTo>
                        <a:pt x="106" y="884"/>
                      </a:lnTo>
                      <a:lnTo>
                        <a:pt x="106" y="892"/>
                      </a:lnTo>
                      <a:lnTo>
                        <a:pt x="108" y="900"/>
                      </a:lnTo>
                      <a:lnTo>
                        <a:pt x="119" y="911"/>
                      </a:lnTo>
                      <a:lnTo>
                        <a:pt x="129" y="921"/>
                      </a:lnTo>
                      <a:lnTo>
                        <a:pt x="135" y="927"/>
                      </a:lnTo>
                      <a:lnTo>
                        <a:pt x="135" y="932"/>
                      </a:lnTo>
                      <a:lnTo>
                        <a:pt x="129" y="943"/>
                      </a:lnTo>
                      <a:lnTo>
                        <a:pt x="127" y="945"/>
                      </a:lnTo>
                      <a:lnTo>
                        <a:pt x="121" y="945"/>
                      </a:lnTo>
                      <a:lnTo>
                        <a:pt x="113" y="940"/>
                      </a:lnTo>
                      <a:lnTo>
                        <a:pt x="106" y="929"/>
                      </a:lnTo>
                      <a:lnTo>
                        <a:pt x="100" y="921"/>
                      </a:lnTo>
                      <a:lnTo>
                        <a:pt x="92" y="916"/>
                      </a:lnTo>
                      <a:lnTo>
                        <a:pt x="79" y="908"/>
                      </a:lnTo>
                      <a:lnTo>
                        <a:pt x="74" y="903"/>
                      </a:lnTo>
                      <a:lnTo>
                        <a:pt x="71" y="898"/>
                      </a:lnTo>
                      <a:lnTo>
                        <a:pt x="71" y="892"/>
                      </a:lnTo>
                      <a:lnTo>
                        <a:pt x="76" y="884"/>
                      </a:lnTo>
                      <a:lnTo>
                        <a:pt x="79" y="877"/>
                      </a:lnTo>
                      <a:lnTo>
                        <a:pt x="82" y="869"/>
                      </a:lnTo>
                      <a:lnTo>
                        <a:pt x="82" y="866"/>
                      </a:lnTo>
                      <a:lnTo>
                        <a:pt x="79" y="861"/>
                      </a:lnTo>
                      <a:lnTo>
                        <a:pt x="69" y="853"/>
                      </a:lnTo>
                      <a:lnTo>
                        <a:pt x="58" y="842"/>
                      </a:lnTo>
                      <a:lnTo>
                        <a:pt x="39" y="813"/>
                      </a:lnTo>
                      <a:lnTo>
                        <a:pt x="37" y="808"/>
                      </a:lnTo>
                      <a:lnTo>
                        <a:pt x="37" y="805"/>
                      </a:lnTo>
                      <a:lnTo>
                        <a:pt x="39" y="805"/>
                      </a:lnTo>
                      <a:lnTo>
                        <a:pt x="47" y="805"/>
                      </a:lnTo>
                      <a:lnTo>
                        <a:pt x="53" y="805"/>
                      </a:lnTo>
                      <a:lnTo>
                        <a:pt x="61" y="803"/>
                      </a:lnTo>
                      <a:lnTo>
                        <a:pt x="66" y="797"/>
                      </a:lnTo>
                      <a:lnTo>
                        <a:pt x="69" y="792"/>
                      </a:lnTo>
                      <a:lnTo>
                        <a:pt x="69" y="787"/>
                      </a:lnTo>
                      <a:lnTo>
                        <a:pt x="69" y="782"/>
                      </a:lnTo>
                      <a:lnTo>
                        <a:pt x="66" y="779"/>
                      </a:lnTo>
                      <a:lnTo>
                        <a:pt x="58" y="776"/>
                      </a:lnTo>
                      <a:lnTo>
                        <a:pt x="53" y="774"/>
                      </a:lnTo>
                      <a:lnTo>
                        <a:pt x="47" y="768"/>
                      </a:lnTo>
                      <a:lnTo>
                        <a:pt x="39" y="758"/>
                      </a:lnTo>
                      <a:lnTo>
                        <a:pt x="39" y="747"/>
                      </a:lnTo>
                      <a:lnTo>
                        <a:pt x="37" y="742"/>
                      </a:lnTo>
                      <a:lnTo>
                        <a:pt x="34" y="671"/>
                      </a:lnTo>
                      <a:lnTo>
                        <a:pt x="29" y="671"/>
                      </a:lnTo>
                      <a:lnTo>
                        <a:pt x="16" y="665"/>
                      </a:lnTo>
                      <a:lnTo>
                        <a:pt x="10" y="660"/>
                      </a:lnTo>
                      <a:lnTo>
                        <a:pt x="5" y="655"/>
                      </a:lnTo>
                      <a:lnTo>
                        <a:pt x="0" y="649"/>
                      </a:lnTo>
                      <a:lnTo>
                        <a:pt x="0" y="642"/>
                      </a:lnTo>
                      <a:lnTo>
                        <a:pt x="3" y="618"/>
                      </a:lnTo>
                      <a:lnTo>
                        <a:pt x="3" y="581"/>
                      </a:lnTo>
                      <a:lnTo>
                        <a:pt x="0" y="533"/>
                      </a:lnTo>
                      <a:lnTo>
                        <a:pt x="32" y="483"/>
                      </a:lnTo>
                      <a:lnTo>
                        <a:pt x="55" y="441"/>
                      </a:lnTo>
                      <a:lnTo>
                        <a:pt x="76" y="409"/>
                      </a:lnTo>
                      <a:lnTo>
                        <a:pt x="87" y="391"/>
                      </a:lnTo>
                      <a:lnTo>
                        <a:pt x="92" y="372"/>
                      </a:lnTo>
                      <a:lnTo>
                        <a:pt x="92" y="356"/>
                      </a:lnTo>
                      <a:lnTo>
                        <a:pt x="87" y="343"/>
                      </a:lnTo>
                      <a:lnTo>
                        <a:pt x="87" y="338"/>
                      </a:lnTo>
                      <a:lnTo>
                        <a:pt x="87" y="330"/>
                      </a:lnTo>
                      <a:lnTo>
                        <a:pt x="90" y="319"/>
                      </a:lnTo>
                      <a:lnTo>
                        <a:pt x="95" y="309"/>
                      </a:lnTo>
                      <a:lnTo>
                        <a:pt x="95" y="301"/>
                      </a:lnTo>
                      <a:lnTo>
                        <a:pt x="92" y="280"/>
                      </a:lnTo>
                      <a:lnTo>
                        <a:pt x="92" y="269"/>
                      </a:lnTo>
                      <a:lnTo>
                        <a:pt x="95" y="259"/>
                      </a:lnTo>
                      <a:lnTo>
                        <a:pt x="98" y="251"/>
                      </a:lnTo>
                      <a:lnTo>
                        <a:pt x="106" y="248"/>
                      </a:lnTo>
                      <a:lnTo>
                        <a:pt x="108" y="248"/>
                      </a:lnTo>
                      <a:lnTo>
                        <a:pt x="95" y="253"/>
                      </a:lnTo>
                      <a:lnTo>
                        <a:pt x="87" y="259"/>
                      </a:lnTo>
                      <a:lnTo>
                        <a:pt x="76" y="267"/>
                      </a:lnTo>
                      <a:lnTo>
                        <a:pt x="71" y="274"/>
                      </a:lnTo>
                      <a:lnTo>
                        <a:pt x="66" y="285"/>
                      </a:lnTo>
                      <a:lnTo>
                        <a:pt x="66" y="293"/>
                      </a:lnTo>
                      <a:lnTo>
                        <a:pt x="63" y="293"/>
                      </a:lnTo>
                      <a:lnTo>
                        <a:pt x="63" y="290"/>
                      </a:lnTo>
                      <a:lnTo>
                        <a:pt x="63" y="282"/>
                      </a:lnTo>
                      <a:lnTo>
                        <a:pt x="66" y="272"/>
                      </a:lnTo>
                      <a:lnTo>
                        <a:pt x="71" y="259"/>
                      </a:lnTo>
                      <a:lnTo>
                        <a:pt x="82" y="243"/>
                      </a:lnTo>
                      <a:lnTo>
                        <a:pt x="95" y="227"/>
                      </a:lnTo>
                      <a:lnTo>
                        <a:pt x="111" y="211"/>
                      </a:lnTo>
                      <a:lnTo>
                        <a:pt x="119" y="195"/>
                      </a:lnTo>
                      <a:lnTo>
                        <a:pt x="124" y="179"/>
                      </a:lnTo>
                      <a:lnTo>
                        <a:pt x="124" y="164"/>
                      </a:lnTo>
                      <a:lnTo>
                        <a:pt x="119" y="153"/>
                      </a:lnTo>
                      <a:lnTo>
                        <a:pt x="111" y="145"/>
                      </a:lnTo>
                      <a:lnTo>
                        <a:pt x="100" y="140"/>
                      </a:lnTo>
                      <a:lnTo>
                        <a:pt x="87" y="140"/>
                      </a:lnTo>
                      <a:lnTo>
                        <a:pt x="76" y="142"/>
                      </a:lnTo>
                      <a:lnTo>
                        <a:pt x="66" y="148"/>
                      </a:lnTo>
                      <a:lnTo>
                        <a:pt x="50" y="161"/>
                      </a:lnTo>
                      <a:lnTo>
                        <a:pt x="34" y="171"/>
                      </a:lnTo>
                      <a:lnTo>
                        <a:pt x="26" y="174"/>
                      </a:lnTo>
                      <a:lnTo>
                        <a:pt x="13" y="177"/>
                      </a:lnTo>
                      <a:lnTo>
                        <a:pt x="69" y="132"/>
                      </a:lnTo>
                      <a:lnTo>
                        <a:pt x="90" y="119"/>
                      </a:lnTo>
                      <a:lnTo>
                        <a:pt x="143" y="90"/>
                      </a:lnTo>
                      <a:lnTo>
                        <a:pt x="214" y="50"/>
                      </a:lnTo>
                      <a:lnTo>
                        <a:pt x="251" y="34"/>
                      </a:lnTo>
                      <a:lnTo>
                        <a:pt x="288" y="18"/>
                      </a:lnTo>
                      <a:lnTo>
                        <a:pt x="291" y="32"/>
                      </a:lnTo>
                      <a:lnTo>
                        <a:pt x="296" y="42"/>
                      </a:lnTo>
                      <a:lnTo>
                        <a:pt x="301" y="45"/>
                      </a:lnTo>
                      <a:lnTo>
                        <a:pt x="304" y="47"/>
                      </a:lnTo>
                      <a:lnTo>
                        <a:pt x="320" y="50"/>
                      </a:lnTo>
                      <a:lnTo>
                        <a:pt x="346" y="50"/>
                      </a:lnTo>
                      <a:lnTo>
                        <a:pt x="370" y="50"/>
                      </a:lnTo>
                      <a:lnTo>
                        <a:pt x="380" y="53"/>
                      </a:lnTo>
                      <a:lnTo>
                        <a:pt x="388" y="55"/>
                      </a:lnTo>
                      <a:lnTo>
                        <a:pt x="401" y="68"/>
                      </a:lnTo>
                      <a:lnTo>
                        <a:pt x="417" y="79"/>
                      </a:lnTo>
                      <a:lnTo>
                        <a:pt x="423" y="79"/>
                      </a:lnTo>
                      <a:lnTo>
                        <a:pt x="428" y="84"/>
                      </a:lnTo>
                      <a:lnTo>
                        <a:pt x="431" y="82"/>
                      </a:lnTo>
                      <a:lnTo>
                        <a:pt x="436" y="84"/>
                      </a:lnTo>
                      <a:lnTo>
                        <a:pt x="441" y="82"/>
                      </a:lnTo>
                      <a:lnTo>
                        <a:pt x="444" y="79"/>
                      </a:lnTo>
                      <a:lnTo>
                        <a:pt x="441" y="76"/>
                      </a:lnTo>
                      <a:lnTo>
                        <a:pt x="441" y="74"/>
                      </a:lnTo>
                      <a:lnTo>
                        <a:pt x="438" y="74"/>
                      </a:lnTo>
                      <a:lnTo>
                        <a:pt x="438" y="71"/>
                      </a:lnTo>
                      <a:lnTo>
                        <a:pt x="436" y="71"/>
                      </a:lnTo>
                      <a:lnTo>
                        <a:pt x="428" y="63"/>
                      </a:lnTo>
                      <a:lnTo>
                        <a:pt x="423" y="61"/>
                      </a:lnTo>
                      <a:lnTo>
                        <a:pt x="423" y="55"/>
                      </a:lnTo>
                      <a:lnTo>
                        <a:pt x="425" y="53"/>
                      </a:lnTo>
                      <a:lnTo>
                        <a:pt x="425" y="50"/>
                      </a:lnTo>
                      <a:lnTo>
                        <a:pt x="428" y="47"/>
                      </a:lnTo>
                      <a:lnTo>
                        <a:pt x="428" y="45"/>
                      </a:lnTo>
                      <a:lnTo>
                        <a:pt x="425" y="45"/>
                      </a:lnTo>
                      <a:lnTo>
                        <a:pt x="412" y="34"/>
                      </a:lnTo>
                      <a:lnTo>
                        <a:pt x="412" y="37"/>
                      </a:lnTo>
                      <a:lnTo>
                        <a:pt x="409" y="37"/>
                      </a:lnTo>
                      <a:lnTo>
                        <a:pt x="407" y="34"/>
                      </a:lnTo>
                      <a:lnTo>
                        <a:pt x="404" y="34"/>
                      </a:lnTo>
                      <a:lnTo>
                        <a:pt x="401" y="29"/>
                      </a:lnTo>
                      <a:lnTo>
                        <a:pt x="399" y="26"/>
                      </a:lnTo>
                      <a:lnTo>
                        <a:pt x="399" y="21"/>
                      </a:lnTo>
                      <a:lnTo>
                        <a:pt x="404" y="18"/>
                      </a:lnTo>
                      <a:lnTo>
                        <a:pt x="420" y="13"/>
                      </a:lnTo>
                      <a:lnTo>
                        <a:pt x="423" y="13"/>
                      </a:lnTo>
                      <a:lnTo>
                        <a:pt x="425" y="16"/>
                      </a:lnTo>
                      <a:lnTo>
                        <a:pt x="428" y="13"/>
                      </a:lnTo>
                      <a:lnTo>
                        <a:pt x="428" y="10"/>
                      </a:lnTo>
                      <a:lnTo>
                        <a:pt x="441" y="10"/>
                      </a:lnTo>
                      <a:lnTo>
                        <a:pt x="454" y="10"/>
                      </a:lnTo>
                      <a:lnTo>
                        <a:pt x="454" y="8"/>
                      </a:lnTo>
                      <a:lnTo>
                        <a:pt x="452" y="5"/>
                      </a:lnTo>
                      <a:lnTo>
                        <a:pt x="452" y="2"/>
                      </a:lnTo>
                      <a:lnTo>
                        <a:pt x="465" y="0"/>
                      </a:lnTo>
                      <a:lnTo>
                        <a:pt x="475" y="0"/>
                      </a:lnTo>
                      <a:lnTo>
                        <a:pt x="483" y="2"/>
                      </a:lnTo>
                      <a:lnTo>
                        <a:pt x="486" y="8"/>
                      </a:lnTo>
                      <a:lnTo>
                        <a:pt x="486" y="16"/>
                      </a:lnTo>
                      <a:lnTo>
                        <a:pt x="489" y="18"/>
                      </a:lnTo>
                      <a:lnTo>
                        <a:pt x="491" y="21"/>
                      </a:lnTo>
                      <a:lnTo>
                        <a:pt x="489" y="21"/>
                      </a:lnTo>
                      <a:lnTo>
                        <a:pt x="491" y="24"/>
                      </a:lnTo>
                      <a:lnTo>
                        <a:pt x="491" y="26"/>
                      </a:lnTo>
                      <a:lnTo>
                        <a:pt x="494" y="26"/>
                      </a:lnTo>
                      <a:lnTo>
                        <a:pt x="502" y="26"/>
                      </a:lnTo>
                      <a:lnTo>
                        <a:pt x="523" y="45"/>
                      </a:lnTo>
                      <a:lnTo>
                        <a:pt x="526" y="47"/>
                      </a:lnTo>
                      <a:lnTo>
                        <a:pt x="528" y="47"/>
                      </a:lnTo>
                      <a:lnTo>
                        <a:pt x="531" y="53"/>
                      </a:lnTo>
                      <a:lnTo>
                        <a:pt x="528" y="61"/>
                      </a:lnTo>
                      <a:lnTo>
                        <a:pt x="526" y="63"/>
                      </a:lnTo>
                      <a:lnTo>
                        <a:pt x="520" y="66"/>
                      </a:lnTo>
                      <a:lnTo>
                        <a:pt x="512" y="68"/>
                      </a:lnTo>
                      <a:lnTo>
                        <a:pt x="505" y="68"/>
                      </a:lnTo>
                      <a:lnTo>
                        <a:pt x="499" y="71"/>
                      </a:lnTo>
                      <a:lnTo>
                        <a:pt x="497" y="68"/>
                      </a:lnTo>
                      <a:lnTo>
                        <a:pt x="494" y="68"/>
                      </a:lnTo>
                      <a:lnTo>
                        <a:pt x="489" y="71"/>
                      </a:lnTo>
                      <a:lnTo>
                        <a:pt x="478" y="74"/>
                      </a:lnTo>
                      <a:lnTo>
                        <a:pt x="473" y="79"/>
                      </a:lnTo>
                      <a:lnTo>
                        <a:pt x="470" y="82"/>
                      </a:lnTo>
                      <a:lnTo>
                        <a:pt x="473" y="84"/>
                      </a:lnTo>
                      <a:lnTo>
                        <a:pt x="478" y="84"/>
                      </a:lnTo>
                      <a:lnTo>
                        <a:pt x="518" y="82"/>
                      </a:lnTo>
                      <a:lnTo>
                        <a:pt x="523" y="84"/>
                      </a:lnTo>
                      <a:lnTo>
                        <a:pt x="523" y="82"/>
                      </a:lnTo>
                      <a:lnTo>
                        <a:pt x="534" y="82"/>
                      </a:lnTo>
                      <a:lnTo>
                        <a:pt x="536" y="82"/>
                      </a:lnTo>
                      <a:lnTo>
                        <a:pt x="565" y="76"/>
                      </a:lnTo>
                      <a:lnTo>
                        <a:pt x="568" y="66"/>
                      </a:lnTo>
                      <a:lnTo>
                        <a:pt x="571" y="63"/>
                      </a:lnTo>
                      <a:lnTo>
                        <a:pt x="571" y="61"/>
                      </a:lnTo>
                      <a:lnTo>
                        <a:pt x="573" y="55"/>
                      </a:lnTo>
                      <a:lnTo>
                        <a:pt x="571" y="55"/>
                      </a:lnTo>
                      <a:lnTo>
                        <a:pt x="573" y="45"/>
                      </a:lnTo>
                      <a:lnTo>
                        <a:pt x="584" y="45"/>
                      </a:lnTo>
                      <a:lnTo>
                        <a:pt x="584" y="47"/>
                      </a:lnTo>
                      <a:lnTo>
                        <a:pt x="584" y="50"/>
                      </a:lnTo>
                      <a:lnTo>
                        <a:pt x="586" y="53"/>
                      </a:lnTo>
                      <a:lnTo>
                        <a:pt x="589" y="50"/>
                      </a:lnTo>
                      <a:lnTo>
                        <a:pt x="592" y="47"/>
                      </a:lnTo>
                      <a:lnTo>
                        <a:pt x="597" y="53"/>
                      </a:lnTo>
                      <a:lnTo>
                        <a:pt x="602" y="47"/>
                      </a:lnTo>
                      <a:lnTo>
                        <a:pt x="608" y="63"/>
                      </a:lnTo>
                      <a:lnTo>
                        <a:pt x="608" y="66"/>
                      </a:lnTo>
                      <a:lnTo>
                        <a:pt x="610" y="68"/>
                      </a:lnTo>
                      <a:lnTo>
                        <a:pt x="618" y="82"/>
                      </a:lnTo>
                      <a:lnTo>
                        <a:pt x="623" y="90"/>
                      </a:lnTo>
                      <a:lnTo>
                        <a:pt x="631" y="98"/>
                      </a:lnTo>
                      <a:lnTo>
                        <a:pt x="637" y="103"/>
                      </a:lnTo>
                      <a:lnTo>
                        <a:pt x="637" y="111"/>
                      </a:lnTo>
                      <a:lnTo>
                        <a:pt x="631" y="119"/>
                      </a:lnTo>
                      <a:lnTo>
                        <a:pt x="621" y="124"/>
                      </a:lnTo>
                      <a:lnTo>
                        <a:pt x="618" y="129"/>
                      </a:lnTo>
                      <a:lnTo>
                        <a:pt x="615" y="127"/>
                      </a:lnTo>
                      <a:lnTo>
                        <a:pt x="613" y="129"/>
                      </a:lnTo>
                      <a:lnTo>
                        <a:pt x="610" y="129"/>
                      </a:lnTo>
                      <a:lnTo>
                        <a:pt x="608" y="129"/>
                      </a:lnTo>
                      <a:lnTo>
                        <a:pt x="602" y="135"/>
                      </a:lnTo>
                      <a:lnTo>
                        <a:pt x="594" y="135"/>
                      </a:lnTo>
                      <a:lnTo>
                        <a:pt x="584" y="135"/>
                      </a:lnTo>
                      <a:lnTo>
                        <a:pt x="586" y="137"/>
                      </a:lnTo>
                      <a:lnTo>
                        <a:pt x="586" y="140"/>
                      </a:lnTo>
                      <a:lnTo>
                        <a:pt x="584" y="142"/>
                      </a:lnTo>
                      <a:lnTo>
                        <a:pt x="565" y="153"/>
                      </a:lnTo>
                      <a:lnTo>
                        <a:pt x="547" y="166"/>
                      </a:lnTo>
                      <a:lnTo>
                        <a:pt x="542" y="177"/>
                      </a:lnTo>
                      <a:lnTo>
                        <a:pt x="536" y="185"/>
                      </a:lnTo>
                      <a:lnTo>
                        <a:pt x="536" y="195"/>
                      </a:lnTo>
                      <a:lnTo>
                        <a:pt x="536" y="208"/>
                      </a:lnTo>
                      <a:lnTo>
                        <a:pt x="539" y="211"/>
                      </a:lnTo>
                      <a:lnTo>
                        <a:pt x="552" y="219"/>
                      </a:lnTo>
                      <a:lnTo>
                        <a:pt x="578" y="232"/>
                      </a:lnTo>
                      <a:lnTo>
                        <a:pt x="615" y="248"/>
                      </a:lnTo>
                      <a:lnTo>
                        <a:pt x="652" y="261"/>
                      </a:lnTo>
                      <a:lnTo>
                        <a:pt x="674" y="272"/>
                      </a:lnTo>
                      <a:lnTo>
                        <a:pt x="679" y="274"/>
                      </a:lnTo>
                      <a:lnTo>
                        <a:pt x="684" y="280"/>
                      </a:lnTo>
                      <a:lnTo>
                        <a:pt x="687" y="293"/>
                      </a:lnTo>
                      <a:lnTo>
                        <a:pt x="695" y="311"/>
                      </a:lnTo>
                      <a:lnTo>
                        <a:pt x="703" y="330"/>
                      </a:lnTo>
                      <a:lnTo>
                        <a:pt x="711" y="335"/>
                      </a:lnTo>
                      <a:lnTo>
                        <a:pt x="716" y="340"/>
                      </a:lnTo>
                      <a:lnTo>
                        <a:pt x="724" y="343"/>
                      </a:lnTo>
                      <a:lnTo>
                        <a:pt x="732" y="338"/>
                      </a:lnTo>
                      <a:lnTo>
                        <a:pt x="737" y="335"/>
                      </a:lnTo>
                      <a:lnTo>
                        <a:pt x="742" y="327"/>
                      </a:lnTo>
                      <a:lnTo>
                        <a:pt x="745" y="322"/>
                      </a:lnTo>
                      <a:lnTo>
                        <a:pt x="745" y="314"/>
                      </a:lnTo>
                      <a:lnTo>
                        <a:pt x="745" y="306"/>
                      </a:lnTo>
                      <a:lnTo>
                        <a:pt x="742" y="296"/>
                      </a:lnTo>
                      <a:lnTo>
                        <a:pt x="734" y="280"/>
                      </a:lnTo>
                      <a:lnTo>
                        <a:pt x="734" y="272"/>
                      </a:lnTo>
                      <a:lnTo>
                        <a:pt x="737" y="267"/>
                      </a:lnTo>
                      <a:lnTo>
                        <a:pt x="740" y="264"/>
                      </a:lnTo>
                      <a:lnTo>
                        <a:pt x="745" y="261"/>
                      </a:lnTo>
                      <a:lnTo>
                        <a:pt x="756" y="259"/>
                      </a:lnTo>
                      <a:lnTo>
                        <a:pt x="758" y="256"/>
                      </a:lnTo>
                      <a:lnTo>
                        <a:pt x="766" y="251"/>
                      </a:lnTo>
                      <a:lnTo>
                        <a:pt x="769" y="248"/>
                      </a:lnTo>
                      <a:lnTo>
                        <a:pt x="771" y="243"/>
                      </a:lnTo>
                      <a:lnTo>
                        <a:pt x="771" y="235"/>
                      </a:lnTo>
                      <a:lnTo>
                        <a:pt x="769" y="230"/>
                      </a:lnTo>
                      <a:lnTo>
                        <a:pt x="753" y="219"/>
                      </a:lnTo>
                      <a:lnTo>
                        <a:pt x="745" y="208"/>
                      </a:lnTo>
                      <a:lnTo>
                        <a:pt x="740" y="203"/>
                      </a:lnTo>
                      <a:lnTo>
                        <a:pt x="740" y="201"/>
                      </a:lnTo>
                      <a:lnTo>
                        <a:pt x="740" y="195"/>
                      </a:lnTo>
                      <a:lnTo>
                        <a:pt x="742" y="190"/>
                      </a:lnTo>
                      <a:lnTo>
                        <a:pt x="742" y="182"/>
                      </a:lnTo>
                      <a:lnTo>
                        <a:pt x="740" y="179"/>
                      </a:lnTo>
                      <a:lnTo>
                        <a:pt x="734" y="177"/>
                      </a:lnTo>
                      <a:lnTo>
                        <a:pt x="734" y="166"/>
                      </a:lnTo>
                      <a:lnTo>
                        <a:pt x="737" y="164"/>
                      </a:lnTo>
                      <a:lnTo>
                        <a:pt x="740" y="161"/>
                      </a:lnTo>
                      <a:lnTo>
                        <a:pt x="753" y="153"/>
                      </a:lnTo>
                      <a:lnTo>
                        <a:pt x="761" y="150"/>
                      </a:lnTo>
                      <a:lnTo>
                        <a:pt x="766" y="150"/>
                      </a:lnTo>
                      <a:lnTo>
                        <a:pt x="774" y="153"/>
                      </a:lnTo>
                      <a:lnTo>
                        <a:pt x="785" y="156"/>
                      </a:lnTo>
                      <a:lnTo>
                        <a:pt x="787" y="156"/>
                      </a:lnTo>
                      <a:lnTo>
                        <a:pt x="790" y="153"/>
                      </a:lnTo>
                      <a:lnTo>
                        <a:pt x="793" y="153"/>
                      </a:lnTo>
                      <a:lnTo>
                        <a:pt x="803" y="156"/>
                      </a:lnTo>
                      <a:lnTo>
                        <a:pt x="814" y="161"/>
                      </a:lnTo>
                      <a:lnTo>
                        <a:pt x="824" y="169"/>
                      </a:lnTo>
                      <a:lnTo>
                        <a:pt x="830" y="179"/>
                      </a:lnTo>
                      <a:lnTo>
                        <a:pt x="832" y="187"/>
                      </a:lnTo>
                      <a:lnTo>
                        <a:pt x="840" y="201"/>
                      </a:lnTo>
                      <a:lnTo>
                        <a:pt x="845" y="208"/>
                      </a:lnTo>
                      <a:lnTo>
                        <a:pt x="851" y="211"/>
                      </a:lnTo>
                      <a:lnTo>
                        <a:pt x="859" y="214"/>
                      </a:lnTo>
                      <a:lnTo>
                        <a:pt x="866" y="211"/>
                      </a:lnTo>
                      <a:lnTo>
                        <a:pt x="880" y="195"/>
                      </a:lnTo>
                      <a:lnTo>
                        <a:pt x="885" y="182"/>
                      </a:lnTo>
                      <a:lnTo>
                        <a:pt x="888" y="177"/>
                      </a:lnTo>
                      <a:lnTo>
                        <a:pt x="885" y="174"/>
                      </a:lnTo>
                      <a:lnTo>
                        <a:pt x="888" y="174"/>
                      </a:lnTo>
                      <a:lnTo>
                        <a:pt x="893" y="174"/>
                      </a:lnTo>
                      <a:lnTo>
                        <a:pt x="903" y="182"/>
                      </a:lnTo>
                      <a:lnTo>
                        <a:pt x="917" y="195"/>
                      </a:lnTo>
                      <a:lnTo>
                        <a:pt x="927" y="206"/>
                      </a:lnTo>
                      <a:lnTo>
                        <a:pt x="940" y="214"/>
                      </a:lnTo>
                      <a:lnTo>
                        <a:pt x="940" y="216"/>
                      </a:lnTo>
                      <a:lnTo>
                        <a:pt x="940" y="219"/>
                      </a:lnTo>
                      <a:lnTo>
                        <a:pt x="940" y="222"/>
                      </a:lnTo>
                      <a:lnTo>
                        <a:pt x="954" y="224"/>
                      </a:lnTo>
                      <a:lnTo>
                        <a:pt x="964" y="227"/>
                      </a:lnTo>
                      <a:lnTo>
                        <a:pt x="1025" y="253"/>
                      </a:lnTo>
                      <a:lnTo>
                        <a:pt x="1036" y="259"/>
                      </a:lnTo>
                      <a:lnTo>
                        <a:pt x="1054" y="272"/>
                      </a:lnTo>
                      <a:lnTo>
                        <a:pt x="1059" y="277"/>
                      </a:lnTo>
                      <a:lnTo>
                        <a:pt x="1062" y="282"/>
                      </a:lnTo>
                      <a:lnTo>
                        <a:pt x="1067" y="304"/>
                      </a:lnTo>
                      <a:lnTo>
                        <a:pt x="1073" y="319"/>
                      </a:lnTo>
                      <a:lnTo>
                        <a:pt x="1083" y="335"/>
                      </a:lnTo>
                      <a:lnTo>
                        <a:pt x="1107" y="343"/>
                      </a:lnTo>
                      <a:lnTo>
                        <a:pt x="1125" y="354"/>
                      </a:lnTo>
                      <a:lnTo>
                        <a:pt x="1131" y="359"/>
                      </a:lnTo>
                      <a:lnTo>
                        <a:pt x="1136" y="364"/>
                      </a:lnTo>
                      <a:lnTo>
                        <a:pt x="1139" y="375"/>
                      </a:lnTo>
                      <a:lnTo>
                        <a:pt x="1136" y="388"/>
                      </a:lnTo>
                      <a:lnTo>
                        <a:pt x="1136" y="393"/>
                      </a:lnTo>
                      <a:lnTo>
                        <a:pt x="1131" y="396"/>
                      </a:lnTo>
                      <a:lnTo>
                        <a:pt x="1125" y="399"/>
                      </a:lnTo>
                      <a:lnTo>
                        <a:pt x="1117" y="399"/>
                      </a:lnTo>
                      <a:lnTo>
                        <a:pt x="1102" y="396"/>
                      </a:lnTo>
                      <a:lnTo>
                        <a:pt x="1086" y="391"/>
                      </a:lnTo>
                      <a:lnTo>
                        <a:pt x="1083" y="385"/>
                      </a:lnTo>
                      <a:lnTo>
                        <a:pt x="1081" y="380"/>
                      </a:lnTo>
                      <a:lnTo>
                        <a:pt x="1078" y="383"/>
                      </a:lnTo>
                      <a:lnTo>
                        <a:pt x="1073" y="385"/>
                      </a:lnTo>
                      <a:lnTo>
                        <a:pt x="1059" y="380"/>
                      </a:lnTo>
                      <a:lnTo>
                        <a:pt x="1054" y="375"/>
                      </a:lnTo>
                      <a:lnTo>
                        <a:pt x="1057" y="354"/>
                      </a:lnTo>
                      <a:lnTo>
                        <a:pt x="1057" y="335"/>
                      </a:lnTo>
                      <a:lnTo>
                        <a:pt x="1057" y="327"/>
                      </a:lnTo>
                      <a:lnTo>
                        <a:pt x="1057" y="317"/>
                      </a:lnTo>
                      <a:lnTo>
                        <a:pt x="1054" y="311"/>
                      </a:lnTo>
                      <a:lnTo>
                        <a:pt x="1051" y="311"/>
                      </a:lnTo>
                      <a:lnTo>
                        <a:pt x="1046" y="314"/>
                      </a:lnTo>
                      <a:lnTo>
                        <a:pt x="1036" y="322"/>
                      </a:lnTo>
                      <a:lnTo>
                        <a:pt x="1038" y="325"/>
                      </a:lnTo>
                      <a:lnTo>
                        <a:pt x="1041" y="333"/>
                      </a:lnTo>
                      <a:lnTo>
                        <a:pt x="1041" y="335"/>
                      </a:lnTo>
                      <a:lnTo>
                        <a:pt x="1036" y="340"/>
                      </a:lnTo>
                      <a:lnTo>
                        <a:pt x="1028" y="343"/>
                      </a:lnTo>
                      <a:lnTo>
                        <a:pt x="1017" y="343"/>
                      </a:lnTo>
                      <a:lnTo>
                        <a:pt x="1004" y="343"/>
                      </a:lnTo>
                      <a:lnTo>
                        <a:pt x="991" y="338"/>
                      </a:lnTo>
                      <a:lnTo>
                        <a:pt x="967" y="333"/>
                      </a:lnTo>
                      <a:lnTo>
                        <a:pt x="956" y="330"/>
                      </a:lnTo>
                      <a:lnTo>
                        <a:pt x="946" y="333"/>
                      </a:lnTo>
                      <a:lnTo>
                        <a:pt x="935" y="338"/>
                      </a:lnTo>
                      <a:lnTo>
                        <a:pt x="927" y="348"/>
                      </a:lnTo>
                      <a:lnTo>
                        <a:pt x="906" y="388"/>
                      </a:lnTo>
                      <a:lnTo>
                        <a:pt x="917" y="383"/>
                      </a:lnTo>
                      <a:lnTo>
                        <a:pt x="938" y="370"/>
                      </a:lnTo>
                      <a:lnTo>
                        <a:pt x="948" y="367"/>
                      </a:lnTo>
                      <a:lnTo>
                        <a:pt x="959" y="364"/>
                      </a:lnTo>
                      <a:lnTo>
                        <a:pt x="967" y="364"/>
                      </a:lnTo>
                      <a:lnTo>
                        <a:pt x="970" y="367"/>
                      </a:lnTo>
                      <a:lnTo>
                        <a:pt x="972" y="370"/>
                      </a:lnTo>
                      <a:lnTo>
                        <a:pt x="970" y="383"/>
                      </a:lnTo>
                      <a:lnTo>
                        <a:pt x="970" y="396"/>
                      </a:lnTo>
                      <a:lnTo>
                        <a:pt x="972" y="404"/>
                      </a:lnTo>
                      <a:lnTo>
                        <a:pt x="975" y="407"/>
                      </a:lnTo>
                      <a:lnTo>
                        <a:pt x="985" y="409"/>
                      </a:lnTo>
                      <a:lnTo>
                        <a:pt x="1001" y="407"/>
                      </a:lnTo>
                      <a:lnTo>
                        <a:pt x="1012" y="407"/>
                      </a:lnTo>
                      <a:lnTo>
                        <a:pt x="1017" y="409"/>
                      </a:lnTo>
                      <a:lnTo>
                        <a:pt x="1017" y="414"/>
                      </a:lnTo>
                      <a:lnTo>
                        <a:pt x="1025" y="407"/>
                      </a:lnTo>
                      <a:lnTo>
                        <a:pt x="1033" y="401"/>
                      </a:lnTo>
                      <a:lnTo>
                        <a:pt x="1038" y="399"/>
                      </a:lnTo>
                      <a:lnTo>
                        <a:pt x="1041" y="401"/>
                      </a:lnTo>
                      <a:lnTo>
                        <a:pt x="1044" y="407"/>
                      </a:lnTo>
                      <a:lnTo>
                        <a:pt x="1046" y="407"/>
                      </a:lnTo>
                      <a:lnTo>
                        <a:pt x="1049" y="404"/>
                      </a:lnTo>
                      <a:lnTo>
                        <a:pt x="1051" y="414"/>
                      </a:lnTo>
                      <a:lnTo>
                        <a:pt x="1059" y="420"/>
                      </a:lnTo>
                      <a:lnTo>
                        <a:pt x="1062" y="420"/>
                      </a:lnTo>
                      <a:lnTo>
                        <a:pt x="1044" y="438"/>
                      </a:lnTo>
                      <a:lnTo>
                        <a:pt x="1004" y="473"/>
                      </a:lnTo>
                      <a:lnTo>
                        <a:pt x="996" y="478"/>
                      </a:lnTo>
                      <a:lnTo>
                        <a:pt x="991" y="478"/>
                      </a:lnTo>
                      <a:lnTo>
                        <a:pt x="988" y="475"/>
                      </a:lnTo>
                      <a:lnTo>
                        <a:pt x="988" y="467"/>
                      </a:lnTo>
                      <a:lnTo>
                        <a:pt x="991" y="451"/>
                      </a:lnTo>
                      <a:lnTo>
                        <a:pt x="993" y="436"/>
                      </a:lnTo>
                      <a:lnTo>
                        <a:pt x="991" y="433"/>
                      </a:lnTo>
                      <a:lnTo>
                        <a:pt x="991" y="430"/>
                      </a:lnTo>
                      <a:lnTo>
                        <a:pt x="983" y="436"/>
                      </a:lnTo>
                      <a:lnTo>
                        <a:pt x="970" y="443"/>
                      </a:lnTo>
                      <a:lnTo>
                        <a:pt x="948" y="462"/>
                      </a:lnTo>
                      <a:lnTo>
                        <a:pt x="927" y="475"/>
                      </a:lnTo>
                      <a:lnTo>
                        <a:pt x="903" y="488"/>
                      </a:lnTo>
                      <a:lnTo>
                        <a:pt x="909" y="510"/>
                      </a:lnTo>
                      <a:lnTo>
                        <a:pt x="909" y="523"/>
                      </a:lnTo>
                      <a:lnTo>
                        <a:pt x="906" y="528"/>
                      </a:lnTo>
                      <a:lnTo>
                        <a:pt x="903" y="533"/>
                      </a:lnTo>
                      <a:lnTo>
                        <a:pt x="896" y="539"/>
                      </a:lnTo>
                      <a:lnTo>
                        <a:pt x="890" y="539"/>
                      </a:lnTo>
                      <a:lnTo>
                        <a:pt x="888" y="541"/>
                      </a:lnTo>
                      <a:lnTo>
                        <a:pt x="885" y="544"/>
                      </a:lnTo>
                      <a:lnTo>
                        <a:pt x="874" y="544"/>
                      </a:lnTo>
                      <a:lnTo>
                        <a:pt x="866" y="546"/>
                      </a:lnTo>
                      <a:lnTo>
                        <a:pt x="861" y="549"/>
                      </a:lnTo>
                      <a:lnTo>
                        <a:pt x="861" y="552"/>
                      </a:lnTo>
                      <a:lnTo>
                        <a:pt x="859" y="554"/>
                      </a:lnTo>
                      <a:lnTo>
                        <a:pt x="837" y="570"/>
                      </a:lnTo>
                      <a:lnTo>
                        <a:pt x="840" y="573"/>
                      </a:lnTo>
                      <a:lnTo>
                        <a:pt x="843" y="576"/>
                      </a:lnTo>
                      <a:lnTo>
                        <a:pt x="830" y="597"/>
                      </a:lnTo>
                      <a:lnTo>
                        <a:pt x="830" y="607"/>
                      </a:lnTo>
                      <a:lnTo>
                        <a:pt x="832" y="620"/>
                      </a:lnTo>
                      <a:lnTo>
                        <a:pt x="835" y="636"/>
                      </a:lnTo>
                      <a:lnTo>
                        <a:pt x="837" y="644"/>
                      </a:lnTo>
                      <a:lnTo>
                        <a:pt x="837" y="652"/>
                      </a:lnTo>
                      <a:lnTo>
                        <a:pt x="830" y="671"/>
                      </a:lnTo>
                      <a:lnTo>
                        <a:pt x="824" y="673"/>
                      </a:lnTo>
                      <a:lnTo>
                        <a:pt x="822" y="681"/>
                      </a:lnTo>
                      <a:lnTo>
                        <a:pt x="816" y="689"/>
                      </a:lnTo>
                      <a:lnTo>
                        <a:pt x="814" y="689"/>
                      </a:lnTo>
                      <a:lnTo>
                        <a:pt x="811" y="686"/>
                      </a:lnTo>
                      <a:lnTo>
                        <a:pt x="811" y="692"/>
                      </a:lnTo>
                      <a:lnTo>
                        <a:pt x="808" y="697"/>
                      </a:lnTo>
                      <a:lnTo>
                        <a:pt x="806" y="700"/>
                      </a:lnTo>
                      <a:lnTo>
                        <a:pt x="806" y="702"/>
                      </a:lnTo>
                      <a:lnTo>
                        <a:pt x="795" y="705"/>
                      </a:lnTo>
                      <a:lnTo>
                        <a:pt x="782" y="708"/>
                      </a:lnTo>
                      <a:lnTo>
                        <a:pt x="777" y="705"/>
                      </a:lnTo>
                      <a:lnTo>
                        <a:pt x="774" y="705"/>
                      </a:lnTo>
                      <a:lnTo>
                        <a:pt x="771" y="710"/>
                      </a:lnTo>
                      <a:lnTo>
                        <a:pt x="771" y="718"/>
                      </a:lnTo>
                      <a:lnTo>
                        <a:pt x="769" y="726"/>
                      </a:lnTo>
                      <a:lnTo>
                        <a:pt x="766" y="726"/>
                      </a:lnTo>
                      <a:lnTo>
                        <a:pt x="763" y="723"/>
                      </a:lnTo>
                      <a:lnTo>
                        <a:pt x="761" y="721"/>
                      </a:lnTo>
                      <a:lnTo>
                        <a:pt x="758" y="721"/>
                      </a:lnTo>
                      <a:lnTo>
                        <a:pt x="748" y="731"/>
                      </a:lnTo>
                      <a:lnTo>
                        <a:pt x="742" y="745"/>
                      </a:lnTo>
                      <a:lnTo>
                        <a:pt x="740" y="747"/>
                      </a:lnTo>
                      <a:lnTo>
                        <a:pt x="737" y="747"/>
                      </a:lnTo>
                      <a:lnTo>
                        <a:pt x="737" y="755"/>
                      </a:lnTo>
                      <a:lnTo>
                        <a:pt x="734" y="766"/>
                      </a:lnTo>
                      <a:lnTo>
                        <a:pt x="732" y="776"/>
                      </a:lnTo>
                      <a:lnTo>
                        <a:pt x="734" y="789"/>
                      </a:lnTo>
                      <a:lnTo>
                        <a:pt x="740" y="803"/>
                      </a:lnTo>
                      <a:lnTo>
                        <a:pt x="748" y="821"/>
                      </a:lnTo>
                      <a:lnTo>
                        <a:pt x="750" y="832"/>
                      </a:lnTo>
                      <a:lnTo>
                        <a:pt x="753" y="845"/>
                      </a:lnTo>
                      <a:lnTo>
                        <a:pt x="756" y="848"/>
                      </a:lnTo>
                      <a:lnTo>
                        <a:pt x="758" y="848"/>
                      </a:lnTo>
                      <a:lnTo>
                        <a:pt x="763" y="871"/>
                      </a:lnTo>
                      <a:lnTo>
                        <a:pt x="769" y="892"/>
                      </a:lnTo>
                      <a:lnTo>
                        <a:pt x="769" y="911"/>
                      </a:lnTo>
                      <a:lnTo>
                        <a:pt x="766" y="916"/>
                      </a:lnTo>
                      <a:lnTo>
                        <a:pt x="761" y="919"/>
                      </a:lnTo>
                      <a:lnTo>
                        <a:pt x="753" y="921"/>
                      </a:lnTo>
                      <a:lnTo>
                        <a:pt x="748" y="919"/>
                      </a:lnTo>
                      <a:lnTo>
                        <a:pt x="734" y="911"/>
                      </a:lnTo>
                      <a:lnTo>
                        <a:pt x="726" y="898"/>
                      </a:lnTo>
                      <a:lnTo>
                        <a:pt x="724" y="890"/>
                      </a:lnTo>
                      <a:lnTo>
                        <a:pt x="721" y="884"/>
                      </a:lnTo>
                      <a:lnTo>
                        <a:pt x="716" y="8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  <p:grpSp>
            <p:nvGrpSpPr>
              <p:cNvPr id="57" name="Group 9"/>
              <p:cNvGrpSpPr>
                <a:grpSpLocks/>
              </p:cNvGrpSpPr>
              <p:nvPr/>
            </p:nvGrpSpPr>
            <p:grpSpPr bwMode="auto">
              <a:xfrm>
                <a:off x="2665413" y="4497388"/>
                <a:ext cx="730250" cy="628650"/>
                <a:chOff x="2606754" y="4566276"/>
                <a:chExt cx="802127" cy="688236"/>
              </a:xfrm>
              <a:solidFill>
                <a:schemeClr val="bg1">
                  <a:lumMod val="85000"/>
                </a:schemeClr>
              </a:solidFill>
            </p:grpSpPr>
            <p:grpSp>
              <p:nvGrpSpPr>
                <p:cNvPr id="64" name="Group 8"/>
                <p:cNvGrpSpPr>
                  <a:grpSpLocks/>
                </p:cNvGrpSpPr>
                <p:nvPr/>
              </p:nvGrpSpPr>
              <p:grpSpPr bwMode="auto">
                <a:xfrm>
                  <a:off x="2606754" y="4566276"/>
                  <a:ext cx="741523" cy="496821"/>
                  <a:chOff x="7035800" y="1363644"/>
                  <a:chExt cx="706893" cy="473618"/>
                </a:xfrm>
                <a:grpFill/>
              </p:grpSpPr>
              <p:sp>
                <p:nvSpPr>
                  <p:cNvPr id="68" name="Oval Callout 67"/>
                  <p:cNvSpPr/>
                  <p:nvPr/>
                </p:nvSpPr>
                <p:spPr>
                  <a:xfrm>
                    <a:off x="7035800" y="1363644"/>
                    <a:ext cx="706485" cy="473846"/>
                  </a:xfrm>
                  <a:prstGeom prst="wedgeEllipseCallout">
                    <a:avLst/>
                  </a:prstGeom>
                  <a:grpFill/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  <p:sp>
                <p:nvSpPr>
                  <p:cNvPr id="69" name="5-Point Star 68"/>
                  <p:cNvSpPr/>
                  <p:nvPr/>
                </p:nvSpPr>
                <p:spPr>
                  <a:xfrm>
                    <a:off x="7238603" y="1438200"/>
                    <a:ext cx="299217" cy="301538"/>
                  </a:xfrm>
                  <a:prstGeom prst="star5">
                    <a:avLst>
                      <a:gd name="adj" fmla="val 26194"/>
                      <a:gd name="hf" fmla="val 105146"/>
                      <a:gd name="vf" fmla="val 110557"/>
                    </a:avLst>
                  </a:prstGeom>
                  <a:grpFill/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</p:grpSp>
            <p:grpSp>
              <p:nvGrpSpPr>
                <p:cNvPr id="65" name="Group 305"/>
                <p:cNvGrpSpPr>
                  <a:grpSpLocks/>
                </p:cNvGrpSpPr>
                <p:nvPr/>
              </p:nvGrpSpPr>
              <p:grpSpPr bwMode="auto">
                <a:xfrm>
                  <a:off x="2995133" y="4977301"/>
                  <a:ext cx="413748" cy="277211"/>
                  <a:chOff x="7035800" y="1363644"/>
                  <a:chExt cx="706893" cy="473618"/>
                </a:xfrm>
                <a:grpFill/>
              </p:grpSpPr>
              <p:sp>
                <p:nvSpPr>
                  <p:cNvPr id="66" name="Oval Callout 65"/>
                  <p:cNvSpPr/>
                  <p:nvPr/>
                </p:nvSpPr>
                <p:spPr>
                  <a:xfrm>
                    <a:off x="7036616" y="1362168"/>
                    <a:ext cx="706077" cy="475094"/>
                  </a:xfrm>
                  <a:prstGeom prst="wedgeEllipseCallout">
                    <a:avLst/>
                  </a:prstGeom>
                  <a:grpFill/>
                  <a:ln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  <p:sp>
                <p:nvSpPr>
                  <p:cNvPr id="67" name="5-Point Star 66"/>
                  <p:cNvSpPr/>
                  <p:nvPr/>
                </p:nvSpPr>
                <p:spPr>
                  <a:xfrm>
                    <a:off x="7239203" y="1436401"/>
                    <a:ext cx="300902" cy="302872"/>
                  </a:xfrm>
                  <a:prstGeom prst="star5">
                    <a:avLst>
                      <a:gd name="adj" fmla="val 26194"/>
                      <a:gd name="hf" fmla="val 105146"/>
                      <a:gd name="vf" fmla="val 110557"/>
                    </a:avLst>
                  </a:prstGeom>
                  <a:grpFill/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</p:grpSp>
          </p:grpSp>
          <p:sp>
            <p:nvSpPr>
              <p:cNvPr id="58" name="Oval 57"/>
              <p:cNvSpPr/>
              <p:nvPr/>
            </p:nvSpPr>
            <p:spPr>
              <a:xfrm>
                <a:off x="3932931" y="2705930"/>
                <a:ext cx="1217720" cy="12155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59" name="Circular Arrow 58"/>
              <p:cNvSpPr/>
              <p:nvPr/>
            </p:nvSpPr>
            <p:spPr>
              <a:xfrm>
                <a:off x="4114194" y="2894196"/>
                <a:ext cx="852868" cy="853003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1085162"/>
                  <a:gd name="adj5" fmla="val 125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0" name="Group 2"/>
              <p:cNvGrpSpPr>
                <a:grpSpLocks/>
              </p:cNvGrpSpPr>
              <p:nvPr/>
            </p:nvGrpSpPr>
            <p:grpSpPr bwMode="auto">
              <a:xfrm>
                <a:off x="7310438" y="3005138"/>
                <a:ext cx="688975" cy="530225"/>
                <a:chOff x="7215188" y="1"/>
                <a:chExt cx="2387921" cy="1837262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61" name="Rectangle 60"/>
                <p:cNvSpPr/>
                <p:nvPr/>
              </p:nvSpPr>
              <p:spPr>
                <a:xfrm>
                  <a:off x="7215188" y="715103"/>
                  <a:ext cx="764793" cy="1122160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/>
                </a:p>
              </p:txBody>
            </p:sp>
            <p:sp>
              <p:nvSpPr>
                <p:cNvPr id="62" name="Rectangle 61"/>
                <p:cNvSpPr/>
                <p:nvPr/>
              </p:nvSpPr>
              <p:spPr>
                <a:xfrm>
                  <a:off x="8029502" y="1"/>
                  <a:ext cx="764793" cy="1837262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/>
                </a:p>
              </p:txBody>
            </p:sp>
            <p:sp>
              <p:nvSpPr>
                <p:cNvPr id="63" name="Rectangle 62"/>
                <p:cNvSpPr/>
                <p:nvPr/>
              </p:nvSpPr>
              <p:spPr>
                <a:xfrm>
                  <a:off x="8838312" y="1144164"/>
                  <a:ext cx="764797" cy="693099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/>
                </a:p>
              </p:txBody>
            </p:sp>
          </p:grpSp>
        </p:grpSp>
      </p:grpSp>
      <p:pic>
        <p:nvPicPr>
          <p:cNvPr id="202" name="Picture 2" descr="C:\Users\On my way\Desktop\ready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5384800" cy="33166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33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/>
          <p:cNvSpPr/>
          <p:nvPr/>
        </p:nvSpPr>
        <p:spPr>
          <a:xfrm>
            <a:off x="6511146" y="1677979"/>
            <a:ext cx="1235854" cy="1235854"/>
          </a:xfrm>
          <a:prstGeom prst="ellipse">
            <a:avLst/>
          </a:prstGeom>
          <a:noFill/>
          <a:ln w="38100">
            <a:solidFill>
              <a:srgbClr val="227C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err="1"/>
              <a:t>Comprendre</a:t>
            </a:r>
            <a:r>
              <a:rPr lang="en-US" dirty="0"/>
              <a:t> qui </a:t>
            </a:r>
            <a:r>
              <a:rPr lang="en-US" dirty="0" err="1"/>
              <a:t>sont</a:t>
            </a:r>
            <a:r>
              <a:rPr lang="en-US" dirty="0"/>
              <a:t> les clients de </a:t>
            </a:r>
            <a:r>
              <a:rPr lang="en-US" dirty="0" err="1"/>
              <a:t>nos</a:t>
            </a:r>
            <a:r>
              <a:rPr lang="en-US" dirty="0"/>
              <a:t> clients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r>
              <a:rPr lang="en-US" dirty="0"/>
              <a:t>2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GOALS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DataNest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1813344" y="3591438"/>
            <a:ext cx="1435100" cy="143510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117850" y="3616838"/>
            <a:ext cx="2838450" cy="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5744773" y="2283338"/>
            <a:ext cx="1397000" cy="1397000"/>
          </a:xfrm>
          <a:prstGeom prst="line">
            <a:avLst/>
          </a:prstGeom>
          <a:ln w="12700">
            <a:solidFill>
              <a:srgbClr val="7F7F7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/>
        </p:nvSpPr>
        <p:spPr>
          <a:xfrm>
            <a:off x="1347817" y="4416165"/>
            <a:ext cx="1026304" cy="1026298"/>
          </a:xfrm>
          <a:prstGeom prst="ellipse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2741642" y="3120956"/>
            <a:ext cx="1026304" cy="1026298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5233598" y="3120956"/>
            <a:ext cx="1026304" cy="1026298"/>
          </a:xfrm>
          <a:prstGeom prst="ellipse">
            <a:avLst/>
          </a:prstGeom>
          <a:solidFill>
            <a:srgbClr val="E99E09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6628621" y="1792376"/>
            <a:ext cx="1026304" cy="1026298"/>
          </a:xfrm>
          <a:prstGeom prst="ellipse">
            <a:avLst/>
          </a:prstGeom>
          <a:solidFill>
            <a:srgbClr val="227C13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Rectangle 33"/>
          <p:cNvSpPr>
            <a:spLocks/>
          </p:cNvSpPr>
          <p:nvPr/>
        </p:nvSpPr>
        <p:spPr bwMode="auto">
          <a:xfrm>
            <a:off x="6298002" y="3012980"/>
            <a:ext cx="1775137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pPr algn="ctr"/>
            <a:r>
              <a:rPr lang="en-US" sz="1100" b="1" dirty="0" smtClean="0"/>
              <a:t>Profiling :</a:t>
            </a:r>
            <a:r>
              <a:rPr lang="en-US" sz="1100" dirty="0" smtClean="0"/>
              <a:t> </a:t>
            </a:r>
          </a:p>
          <a:p>
            <a:pPr algn="ctr"/>
            <a:r>
              <a:rPr lang="fr-FR" sz="1100" dirty="0" smtClean="0"/>
              <a:t>Le positionnement émotionnel social de notre client peut être compilé.</a:t>
            </a:r>
            <a:endParaRPr lang="en-US" sz="1100" dirty="0"/>
          </a:p>
        </p:txBody>
      </p:sp>
      <p:sp>
        <p:nvSpPr>
          <p:cNvPr id="3" name="Rectangle 2"/>
          <p:cNvSpPr/>
          <p:nvPr/>
        </p:nvSpPr>
        <p:spPr>
          <a:xfrm>
            <a:off x="5057647" y="4180907"/>
            <a:ext cx="1853570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smtClean="0"/>
              <a:t>Construction </a:t>
            </a:r>
            <a:r>
              <a:rPr lang="en-US" sz="1100" b="1" dirty="0"/>
              <a:t>de </a:t>
            </a:r>
            <a:r>
              <a:rPr lang="en-US" sz="1100" b="1" dirty="0" err="1" smtClean="0"/>
              <a:t>l’émotion</a:t>
            </a:r>
            <a:r>
              <a:rPr lang="en-US" sz="1100" b="1" dirty="0" smtClean="0"/>
              <a:t> : </a:t>
            </a:r>
            <a:r>
              <a:rPr lang="en-US" sz="1100" dirty="0" smtClean="0"/>
              <a:t>Convergence de </a:t>
            </a:r>
            <a:r>
              <a:rPr lang="en-US" sz="1100" dirty="0" err="1" smtClean="0"/>
              <a:t>plusieurs</a:t>
            </a:r>
            <a:r>
              <a:rPr lang="en-US" sz="1100" dirty="0" smtClean="0"/>
              <a:t> </a:t>
            </a:r>
            <a:r>
              <a:rPr lang="en-US" sz="1100" dirty="0" err="1" smtClean="0"/>
              <a:t>indicateurs</a:t>
            </a:r>
            <a:r>
              <a:rPr lang="en-US" sz="1100" dirty="0" smtClean="0"/>
              <a:t> pour dresser le </a:t>
            </a:r>
            <a:r>
              <a:rPr lang="en-US" sz="1100" dirty="0" err="1" smtClean="0"/>
              <a:t>profil</a:t>
            </a:r>
            <a:r>
              <a:rPr lang="en-US" sz="1100" dirty="0" smtClean="0"/>
              <a:t> </a:t>
            </a:r>
            <a:r>
              <a:rPr lang="en-US" sz="1100" dirty="0" err="1" smtClean="0"/>
              <a:t>psycologique</a:t>
            </a:r>
            <a:r>
              <a:rPr lang="en-US" sz="1100" dirty="0" smtClean="0"/>
              <a:t> </a:t>
            </a:r>
            <a:r>
              <a:rPr lang="en-US" sz="1100" dirty="0" err="1" smtClean="0"/>
              <a:t>statistique</a:t>
            </a:r>
            <a:r>
              <a:rPr lang="en-US" sz="1100" dirty="0" smtClean="0"/>
              <a:t> du client </a:t>
            </a:r>
            <a:r>
              <a:rPr lang="en-US" sz="1100" dirty="0" err="1" smtClean="0"/>
              <a:t>cible</a:t>
            </a:r>
            <a:r>
              <a:rPr lang="en-US" sz="1100" dirty="0" smtClean="0"/>
              <a:t>.</a:t>
            </a:r>
            <a:endParaRPr lang="en-US" sz="1100" dirty="0"/>
          </a:p>
        </p:txBody>
      </p:sp>
      <p:sp>
        <p:nvSpPr>
          <p:cNvPr id="21" name="Rectangle 20"/>
          <p:cNvSpPr/>
          <p:nvPr/>
        </p:nvSpPr>
        <p:spPr>
          <a:xfrm>
            <a:off x="2613487" y="4166681"/>
            <a:ext cx="226331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100" b="1" dirty="0"/>
              <a:t>Réglage adaptatif </a:t>
            </a:r>
            <a:r>
              <a:rPr lang="fr-FR" sz="1100" b="1" dirty="0" smtClean="0"/>
              <a:t>de l’écoute : </a:t>
            </a:r>
            <a:br>
              <a:rPr lang="fr-FR" sz="1100" b="1" dirty="0" smtClean="0"/>
            </a:br>
            <a:r>
              <a:rPr lang="fr-FR" sz="1100" dirty="0" smtClean="0"/>
              <a:t>Le cœur </a:t>
            </a:r>
            <a:r>
              <a:rPr lang="fr-FR" sz="1100" dirty="0" err="1" smtClean="0"/>
              <a:t>DataNest</a:t>
            </a:r>
            <a:r>
              <a:rPr lang="fr-FR" sz="1100" dirty="0" smtClean="0"/>
              <a:t> acquiert de plus en plus d’intelligence à </a:t>
            </a:r>
            <a:r>
              <a:rPr lang="fr-FR" sz="1100" dirty="0" err="1" smtClean="0"/>
              <a:t>selectionner</a:t>
            </a:r>
            <a:r>
              <a:rPr lang="fr-FR" sz="1100" dirty="0" smtClean="0"/>
              <a:t> ses cibles d’écoute.</a:t>
            </a:r>
            <a:endParaRPr lang="en-US" sz="1100" dirty="0"/>
          </a:p>
        </p:txBody>
      </p:sp>
      <p:sp>
        <p:nvSpPr>
          <p:cNvPr id="22" name="Rectangle 21"/>
          <p:cNvSpPr/>
          <p:nvPr/>
        </p:nvSpPr>
        <p:spPr>
          <a:xfrm>
            <a:off x="1156644" y="5425847"/>
            <a:ext cx="137425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err="1" smtClean="0"/>
              <a:t>Ecoute</a:t>
            </a:r>
            <a:r>
              <a:rPr lang="en-US" sz="1100" b="1" dirty="0" smtClean="0"/>
              <a:t> : </a:t>
            </a:r>
          </a:p>
          <a:p>
            <a:pPr algn="ctr"/>
            <a:r>
              <a:rPr lang="en-US" sz="1100" dirty="0" smtClean="0"/>
              <a:t>Capture </a:t>
            </a:r>
            <a:r>
              <a:rPr lang="en-US" sz="1100" dirty="0"/>
              <a:t>en </a:t>
            </a:r>
            <a:r>
              <a:rPr lang="en-US" sz="1100" dirty="0" err="1"/>
              <a:t>profondeur</a:t>
            </a:r>
            <a:r>
              <a:rPr lang="en-US" sz="1100" dirty="0"/>
              <a:t> des discussions en-</a:t>
            </a:r>
            <a:r>
              <a:rPr lang="en-US" sz="1100" dirty="0" err="1"/>
              <a:t>lignes</a:t>
            </a:r>
            <a:r>
              <a:rPr lang="en-US" sz="1100" dirty="0"/>
              <a:t> </a:t>
            </a:r>
            <a:r>
              <a:rPr lang="en-US" sz="1100" dirty="0" err="1"/>
              <a:t>publiques</a:t>
            </a:r>
            <a:r>
              <a:rPr lang="en-US" sz="1100" dirty="0"/>
              <a:t>.</a:t>
            </a:r>
          </a:p>
          <a:p>
            <a:pPr algn="ctr"/>
            <a:endParaRPr lang="en-US" sz="1100" dirty="0"/>
          </a:p>
        </p:txBody>
      </p:sp>
      <p:grpSp>
        <p:nvGrpSpPr>
          <p:cNvPr id="23" name="Group 22"/>
          <p:cNvGrpSpPr/>
          <p:nvPr/>
        </p:nvGrpSpPr>
        <p:grpSpPr>
          <a:xfrm>
            <a:off x="5429157" y="3377184"/>
            <a:ext cx="681986" cy="513842"/>
            <a:chOff x="9074150" y="4032250"/>
            <a:chExt cx="920751" cy="693738"/>
          </a:xfrm>
          <a:solidFill>
            <a:schemeClr val="bg1"/>
          </a:solidFill>
          <a:effectLst/>
        </p:grpSpPr>
        <p:sp>
          <p:nvSpPr>
            <p:cNvPr id="24" name="Freeform 94"/>
            <p:cNvSpPr>
              <a:spLocks/>
            </p:cNvSpPr>
            <p:nvPr/>
          </p:nvSpPr>
          <p:spPr bwMode="auto">
            <a:xfrm>
              <a:off x="9332913" y="4032250"/>
              <a:ext cx="661988" cy="452438"/>
            </a:xfrm>
            <a:custGeom>
              <a:avLst/>
              <a:gdLst>
                <a:gd name="T0" fmla="*/ 0 w 836"/>
                <a:gd name="T1" fmla="*/ 146 h 569"/>
                <a:gd name="T2" fmla="*/ 551 w 836"/>
                <a:gd name="T3" fmla="*/ 146 h 569"/>
                <a:gd name="T4" fmla="*/ 551 w 836"/>
                <a:gd name="T5" fmla="*/ 0 h 569"/>
                <a:gd name="T6" fmla="*/ 836 w 836"/>
                <a:gd name="T7" fmla="*/ 285 h 569"/>
                <a:gd name="T8" fmla="*/ 551 w 836"/>
                <a:gd name="T9" fmla="*/ 569 h 569"/>
                <a:gd name="T10" fmla="*/ 551 w 836"/>
                <a:gd name="T11" fmla="*/ 423 h 569"/>
                <a:gd name="T12" fmla="*/ 0 w 836"/>
                <a:gd name="T13" fmla="*/ 423 h 569"/>
                <a:gd name="T14" fmla="*/ 0 w 836"/>
                <a:gd name="T15" fmla="*/ 146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6" h="569">
                  <a:moveTo>
                    <a:pt x="0" y="146"/>
                  </a:moveTo>
                  <a:lnTo>
                    <a:pt x="551" y="146"/>
                  </a:lnTo>
                  <a:lnTo>
                    <a:pt x="551" y="0"/>
                  </a:lnTo>
                  <a:lnTo>
                    <a:pt x="836" y="285"/>
                  </a:lnTo>
                  <a:lnTo>
                    <a:pt x="551" y="569"/>
                  </a:lnTo>
                  <a:lnTo>
                    <a:pt x="551" y="423"/>
                  </a:lnTo>
                  <a:lnTo>
                    <a:pt x="0" y="423"/>
                  </a:lnTo>
                  <a:lnTo>
                    <a:pt x="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5"/>
            <p:cNvSpPr>
              <a:spLocks/>
            </p:cNvSpPr>
            <p:nvPr/>
          </p:nvSpPr>
          <p:spPr bwMode="auto">
            <a:xfrm>
              <a:off x="9074150" y="4275138"/>
              <a:ext cx="663575" cy="450850"/>
            </a:xfrm>
            <a:custGeom>
              <a:avLst/>
              <a:gdLst>
                <a:gd name="T0" fmla="*/ 835 w 835"/>
                <a:gd name="T1" fmla="*/ 424 h 570"/>
                <a:gd name="T2" fmla="*/ 284 w 835"/>
                <a:gd name="T3" fmla="*/ 424 h 570"/>
                <a:gd name="T4" fmla="*/ 284 w 835"/>
                <a:gd name="T5" fmla="*/ 570 h 570"/>
                <a:gd name="T6" fmla="*/ 0 w 835"/>
                <a:gd name="T7" fmla="*/ 285 h 570"/>
                <a:gd name="T8" fmla="*/ 284 w 835"/>
                <a:gd name="T9" fmla="*/ 0 h 570"/>
                <a:gd name="T10" fmla="*/ 284 w 835"/>
                <a:gd name="T11" fmla="*/ 146 h 570"/>
                <a:gd name="T12" fmla="*/ 835 w 835"/>
                <a:gd name="T13" fmla="*/ 146 h 570"/>
                <a:gd name="T14" fmla="*/ 835 w 835"/>
                <a:gd name="T15" fmla="*/ 424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5" h="570">
                  <a:moveTo>
                    <a:pt x="835" y="424"/>
                  </a:moveTo>
                  <a:lnTo>
                    <a:pt x="284" y="424"/>
                  </a:lnTo>
                  <a:lnTo>
                    <a:pt x="284" y="570"/>
                  </a:lnTo>
                  <a:lnTo>
                    <a:pt x="0" y="285"/>
                  </a:lnTo>
                  <a:lnTo>
                    <a:pt x="284" y="0"/>
                  </a:lnTo>
                  <a:lnTo>
                    <a:pt x="284" y="146"/>
                  </a:lnTo>
                  <a:lnTo>
                    <a:pt x="835" y="146"/>
                  </a:lnTo>
                  <a:lnTo>
                    <a:pt x="835" y="4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 rot="1365204">
            <a:off x="1570802" y="4673161"/>
            <a:ext cx="618562" cy="474096"/>
            <a:chOff x="625475" y="2439988"/>
            <a:chExt cx="482600" cy="369888"/>
          </a:xfrm>
          <a:solidFill>
            <a:schemeClr val="bg1"/>
          </a:solidFill>
          <a:effectLst/>
        </p:grpSpPr>
        <p:sp>
          <p:nvSpPr>
            <p:cNvPr id="27" name="Freeform 168"/>
            <p:cNvSpPr>
              <a:spLocks noEditPoints="1"/>
            </p:cNvSpPr>
            <p:nvPr/>
          </p:nvSpPr>
          <p:spPr bwMode="auto">
            <a:xfrm>
              <a:off x="625475" y="2439988"/>
              <a:ext cx="482600" cy="369888"/>
            </a:xfrm>
            <a:custGeom>
              <a:avLst/>
              <a:gdLst>
                <a:gd name="T0" fmla="*/ 566 w 1519"/>
                <a:gd name="T1" fmla="*/ 10 h 1165"/>
                <a:gd name="T2" fmla="*/ 675 w 1519"/>
                <a:gd name="T3" fmla="*/ 46 h 1165"/>
                <a:gd name="T4" fmla="*/ 770 w 1519"/>
                <a:gd name="T5" fmla="*/ 107 h 1165"/>
                <a:gd name="T6" fmla="*/ 848 w 1519"/>
                <a:gd name="T7" fmla="*/ 189 h 1165"/>
                <a:gd name="T8" fmla="*/ 904 w 1519"/>
                <a:gd name="T9" fmla="*/ 288 h 1165"/>
                <a:gd name="T10" fmla="*/ 936 w 1519"/>
                <a:gd name="T11" fmla="*/ 399 h 1165"/>
                <a:gd name="T12" fmla="*/ 938 w 1519"/>
                <a:gd name="T13" fmla="*/ 520 h 1165"/>
                <a:gd name="T14" fmla="*/ 912 w 1519"/>
                <a:gd name="T15" fmla="*/ 635 h 1165"/>
                <a:gd name="T16" fmla="*/ 1503 w 1519"/>
                <a:gd name="T17" fmla="*/ 1047 h 1165"/>
                <a:gd name="T18" fmla="*/ 1518 w 1519"/>
                <a:gd name="T19" fmla="*/ 1078 h 1165"/>
                <a:gd name="T20" fmla="*/ 1517 w 1519"/>
                <a:gd name="T21" fmla="*/ 1113 h 1165"/>
                <a:gd name="T22" fmla="*/ 1498 w 1519"/>
                <a:gd name="T23" fmla="*/ 1143 h 1165"/>
                <a:gd name="T24" fmla="*/ 1469 w 1519"/>
                <a:gd name="T25" fmla="*/ 1161 h 1165"/>
                <a:gd name="T26" fmla="*/ 1435 w 1519"/>
                <a:gd name="T27" fmla="*/ 1163 h 1165"/>
                <a:gd name="T28" fmla="*/ 828 w 1519"/>
                <a:gd name="T29" fmla="*/ 778 h 1165"/>
                <a:gd name="T30" fmla="*/ 735 w 1519"/>
                <a:gd name="T31" fmla="*/ 860 h 1165"/>
                <a:gd name="T32" fmla="*/ 623 w 1519"/>
                <a:gd name="T33" fmla="*/ 916 h 1165"/>
                <a:gd name="T34" fmla="*/ 497 w 1519"/>
                <a:gd name="T35" fmla="*/ 941 h 1165"/>
                <a:gd name="T36" fmla="*/ 376 w 1519"/>
                <a:gd name="T37" fmla="*/ 932 h 1165"/>
                <a:gd name="T38" fmla="*/ 266 w 1519"/>
                <a:gd name="T39" fmla="*/ 895 h 1165"/>
                <a:gd name="T40" fmla="*/ 172 w 1519"/>
                <a:gd name="T41" fmla="*/ 834 h 1165"/>
                <a:gd name="T42" fmla="*/ 94 w 1519"/>
                <a:gd name="T43" fmla="*/ 752 h 1165"/>
                <a:gd name="T44" fmla="*/ 37 w 1519"/>
                <a:gd name="T45" fmla="*/ 654 h 1165"/>
                <a:gd name="T46" fmla="*/ 6 w 1519"/>
                <a:gd name="T47" fmla="*/ 542 h 1165"/>
                <a:gd name="T48" fmla="*/ 3 w 1519"/>
                <a:gd name="T49" fmla="*/ 423 h 1165"/>
                <a:gd name="T50" fmla="*/ 29 w 1519"/>
                <a:gd name="T51" fmla="*/ 308 h 1165"/>
                <a:gd name="T52" fmla="*/ 81 w 1519"/>
                <a:gd name="T53" fmla="*/ 208 h 1165"/>
                <a:gd name="T54" fmla="*/ 155 w 1519"/>
                <a:gd name="T55" fmla="*/ 122 h 1165"/>
                <a:gd name="T56" fmla="*/ 246 w 1519"/>
                <a:gd name="T57" fmla="*/ 57 h 1165"/>
                <a:gd name="T58" fmla="*/ 353 w 1519"/>
                <a:gd name="T59" fmla="*/ 15 h 1165"/>
                <a:gd name="T60" fmla="*/ 471 w 1519"/>
                <a:gd name="T61" fmla="*/ 0 h 1165"/>
                <a:gd name="T62" fmla="*/ 543 w 1519"/>
                <a:gd name="T63" fmla="*/ 119 h 1165"/>
                <a:gd name="T64" fmla="*/ 627 w 1519"/>
                <a:gd name="T65" fmla="*/ 147 h 1165"/>
                <a:gd name="T66" fmla="*/ 699 w 1519"/>
                <a:gd name="T67" fmla="*/ 194 h 1165"/>
                <a:gd name="T68" fmla="*/ 759 w 1519"/>
                <a:gd name="T69" fmla="*/ 256 h 1165"/>
                <a:gd name="T70" fmla="*/ 802 w 1519"/>
                <a:gd name="T71" fmla="*/ 331 h 1165"/>
                <a:gd name="T72" fmla="*/ 825 w 1519"/>
                <a:gd name="T73" fmla="*/ 416 h 1165"/>
                <a:gd name="T74" fmla="*/ 828 w 1519"/>
                <a:gd name="T75" fmla="*/ 507 h 1165"/>
                <a:gd name="T76" fmla="*/ 807 w 1519"/>
                <a:gd name="T77" fmla="*/ 594 h 1165"/>
                <a:gd name="T78" fmla="*/ 768 w 1519"/>
                <a:gd name="T79" fmla="*/ 671 h 1165"/>
                <a:gd name="T80" fmla="*/ 713 w 1519"/>
                <a:gd name="T81" fmla="*/ 736 h 1165"/>
                <a:gd name="T82" fmla="*/ 641 w 1519"/>
                <a:gd name="T83" fmla="*/ 786 h 1165"/>
                <a:gd name="T84" fmla="*/ 560 w 1519"/>
                <a:gd name="T85" fmla="*/ 818 h 1165"/>
                <a:gd name="T86" fmla="*/ 471 w 1519"/>
                <a:gd name="T87" fmla="*/ 829 h 1165"/>
                <a:gd name="T88" fmla="*/ 382 w 1519"/>
                <a:gd name="T89" fmla="*/ 818 h 1165"/>
                <a:gd name="T90" fmla="*/ 300 w 1519"/>
                <a:gd name="T91" fmla="*/ 786 h 1165"/>
                <a:gd name="T92" fmla="*/ 229 w 1519"/>
                <a:gd name="T93" fmla="*/ 736 h 1165"/>
                <a:gd name="T94" fmla="*/ 174 w 1519"/>
                <a:gd name="T95" fmla="*/ 671 h 1165"/>
                <a:gd name="T96" fmla="*/ 134 w 1519"/>
                <a:gd name="T97" fmla="*/ 594 h 1165"/>
                <a:gd name="T98" fmla="*/ 114 w 1519"/>
                <a:gd name="T99" fmla="*/ 507 h 1165"/>
                <a:gd name="T100" fmla="*/ 116 w 1519"/>
                <a:gd name="T101" fmla="*/ 416 h 1165"/>
                <a:gd name="T102" fmla="*/ 140 w 1519"/>
                <a:gd name="T103" fmla="*/ 331 h 1165"/>
                <a:gd name="T104" fmla="*/ 183 w 1519"/>
                <a:gd name="T105" fmla="*/ 256 h 1165"/>
                <a:gd name="T106" fmla="*/ 243 w 1519"/>
                <a:gd name="T107" fmla="*/ 194 h 1165"/>
                <a:gd name="T108" fmla="*/ 315 w 1519"/>
                <a:gd name="T109" fmla="*/ 147 h 1165"/>
                <a:gd name="T110" fmla="*/ 399 w 1519"/>
                <a:gd name="T111" fmla="*/ 119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19" h="1165">
                  <a:moveTo>
                    <a:pt x="471" y="0"/>
                  </a:moveTo>
                  <a:lnTo>
                    <a:pt x="495" y="1"/>
                  </a:lnTo>
                  <a:lnTo>
                    <a:pt x="519" y="2"/>
                  </a:lnTo>
                  <a:lnTo>
                    <a:pt x="542" y="6"/>
                  </a:lnTo>
                  <a:lnTo>
                    <a:pt x="566" y="10"/>
                  </a:lnTo>
                  <a:lnTo>
                    <a:pt x="588" y="15"/>
                  </a:lnTo>
                  <a:lnTo>
                    <a:pt x="611" y="22"/>
                  </a:lnTo>
                  <a:lnTo>
                    <a:pt x="632" y="28"/>
                  </a:lnTo>
                  <a:lnTo>
                    <a:pt x="654" y="37"/>
                  </a:lnTo>
                  <a:lnTo>
                    <a:pt x="675" y="46"/>
                  </a:lnTo>
                  <a:lnTo>
                    <a:pt x="696" y="57"/>
                  </a:lnTo>
                  <a:lnTo>
                    <a:pt x="715" y="68"/>
                  </a:lnTo>
                  <a:lnTo>
                    <a:pt x="734" y="80"/>
                  </a:lnTo>
                  <a:lnTo>
                    <a:pt x="752" y="94"/>
                  </a:lnTo>
                  <a:lnTo>
                    <a:pt x="770" y="107"/>
                  </a:lnTo>
                  <a:lnTo>
                    <a:pt x="787" y="122"/>
                  </a:lnTo>
                  <a:lnTo>
                    <a:pt x="804" y="138"/>
                  </a:lnTo>
                  <a:lnTo>
                    <a:pt x="819" y="155"/>
                  </a:lnTo>
                  <a:lnTo>
                    <a:pt x="833" y="172"/>
                  </a:lnTo>
                  <a:lnTo>
                    <a:pt x="848" y="189"/>
                  </a:lnTo>
                  <a:lnTo>
                    <a:pt x="860" y="208"/>
                  </a:lnTo>
                  <a:lnTo>
                    <a:pt x="873" y="227"/>
                  </a:lnTo>
                  <a:lnTo>
                    <a:pt x="884" y="246"/>
                  </a:lnTo>
                  <a:lnTo>
                    <a:pt x="895" y="267"/>
                  </a:lnTo>
                  <a:lnTo>
                    <a:pt x="904" y="288"/>
                  </a:lnTo>
                  <a:lnTo>
                    <a:pt x="912" y="308"/>
                  </a:lnTo>
                  <a:lnTo>
                    <a:pt x="920" y="331"/>
                  </a:lnTo>
                  <a:lnTo>
                    <a:pt x="926" y="354"/>
                  </a:lnTo>
                  <a:lnTo>
                    <a:pt x="932" y="376"/>
                  </a:lnTo>
                  <a:lnTo>
                    <a:pt x="936" y="399"/>
                  </a:lnTo>
                  <a:lnTo>
                    <a:pt x="938" y="423"/>
                  </a:lnTo>
                  <a:lnTo>
                    <a:pt x="941" y="446"/>
                  </a:lnTo>
                  <a:lnTo>
                    <a:pt x="942" y="471"/>
                  </a:lnTo>
                  <a:lnTo>
                    <a:pt x="941" y="495"/>
                  </a:lnTo>
                  <a:lnTo>
                    <a:pt x="938" y="520"/>
                  </a:lnTo>
                  <a:lnTo>
                    <a:pt x="936" y="543"/>
                  </a:lnTo>
                  <a:lnTo>
                    <a:pt x="932" y="567"/>
                  </a:lnTo>
                  <a:lnTo>
                    <a:pt x="926" y="590"/>
                  </a:lnTo>
                  <a:lnTo>
                    <a:pt x="919" y="612"/>
                  </a:lnTo>
                  <a:lnTo>
                    <a:pt x="912" y="635"/>
                  </a:lnTo>
                  <a:lnTo>
                    <a:pt x="903" y="656"/>
                  </a:lnTo>
                  <a:lnTo>
                    <a:pt x="1486" y="1032"/>
                  </a:lnTo>
                  <a:lnTo>
                    <a:pt x="1492" y="1037"/>
                  </a:lnTo>
                  <a:lnTo>
                    <a:pt x="1497" y="1041"/>
                  </a:lnTo>
                  <a:lnTo>
                    <a:pt x="1503" y="1047"/>
                  </a:lnTo>
                  <a:lnTo>
                    <a:pt x="1506" y="1053"/>
                  </a:lnTo>
                  <a:lnTo>
                    <a:pt x="1511" y="1058"/>
                  </a:lnTo>
                  <a:lnTo>
                    <a:pt x="1513" y="1065"/>
                  </a:lnTo>
                  <a:lnTo>
                    <a:pt x="1515" y="1071"/>
                  </a:lnTo>
                  <a:lnTo>
                    <a:pt x="1518" y="1078"/>
                  </a:lnTo>
                  <a:lnTo>
                    <a:pt x="1519" y="1084"/>
                  </a:lnTo>
                  <a:lnTo>
                    <a:pt x="1519" y="1091"/>
                  </a:lnTo>
                  <a:lnTo>
                    <a:pt x="1519" y="1098"/>
                  </a:lnTo>
                  <a:lnTo>
                    <a:pt x="1518" y="1105"/>
                  </a:lnTo>
                  <a:lnTo>
                    <a:pt x="1517" y="1113"/>
                  </a:lnTo>
                  <a:lnTo>
                    <a:pt x="1514" y="1118"/>
                  </a:lnTo>
                  <a:lnTo>
                    <a:pt x="1512" y="1125"/>
                  </a:lnTo>
                  <a:lnTo>
                    <a:pt x="1507" y="1132"/>
                  </a:lnTo>
                  <a:lnTo>
                    <a:pt x="1504" y="1137"/>
                  </a:lnTo>
                  <a:lnTo>
                    <a:pt x="1498" y="1143"/>
                  </a:lnTo>
                  <a:lnTo>
                    <a:pt x="1494" y="1148"/>
                  </a:lnTo>
                  <a:lnTo>
                    <a:pt x="1488" y="1152"/>
                  </a:lnTo>
                  <a:lnTo>
                    <a:pt x="1483" y="1155"/>
                  </a:lnTo>
                  <a:lnTo>
                    <a:pt x="1476" y="1159"/>
                  </a:lnTo>
                  <a:lnTo>
                    <a:pt x="1469" y="1161"/>
                  </a:lnTo>
                  <a:lnTo>
                    <a:pt x="1462" y="1163"/>
                  </a:lnTo>
                  <a:lnTo>
                    <a:pt x="1456" y="1165"/>
                  </a:lnTo>
                  <a:lnTo>
                    <a:pt x="1449" y="1165"/>
                  </a:lnTo>
                  <a:lnTo>
                    <a:pt x="1442" y="1165"/>
                  </a:lnTo>
                  <a:lnTo>
                    <a:pt x="1435" y="1163"/>
                  </a:lnTo>
                  <a:lnTo>
                    <a:pt x="1428" y="1162"/>
                  </a:lnTo>
                  <a:lnTo>
                    <a:pt x="1422" y="1160"/>
                  </a:lnTo>
                  <a:lnTo>
                    <a:pt x="1415" y="1157"/>
                  </a:lnTo>
                  <a:lnTo>
                    <a:pt x="1409" y="1153"/>
                  </a:lnTo>
                  <a:lnTo>
                    <a:pt x="828" y="778"/>
                  </a:lnTo>
                  <a:lnTo>
                    <a:pt x="811" y="796"/>
                  </a:lnTo>
                  <a:lnTo>
                    <a:pt x="793" y="813"/>
                  </a:lnTo>
                  <a:lnTo>
                    <a:pt x="775" y="830"/>
                  </a:lnTo>
                  <a:lnTo>
                    <a:pt x="755" y="846"/>
                  </a:lnTo>
                  <a:lnTo>
                    <a:pt x="735" y="860"/>
                  </a:lnTo>
                  <a:lnTo>
                    <a:pt x="714" y="873"/>
                  </a:lnTo>
                  <a:lnTo>
                    <a:pt x="692" y="886"/>
                  </a:lnTo>
                  <a:lnTo>
                    <a:pt x="670" y="897"/>
                  </a:lnTo>
                  <a:lnTo>
                    <a:pt x="647" y="907"/>
                  </a:lnTo>
                  <a:lnTo>
                    <a:pt x="623" y="916"/>
                  </a:lnTo>
                  <a:lnTo>
                    <a:pt x="600" y="924"/>
                  </a:lnTo>
                  <a:lnTo>
                    <a:pt x="575" y="930"/>
                  </a:lnTo>
                  <a:lnTo>
                    <a:pt x="549" y="935"/>
                  </a:lnTo>
                  <a:lnTo>
                    <a:pt x="524" y="939"/>
                  </a:lnTo>
                  <a:lnTo>
                    <a:pt x="497" y="941"/>
                  </a:lnTo>
                  <a:lnTo>
                    <a:pt x="471" y="941"/>
                  </a:lnTo>
                  <a:lnTo>
                    <a:pt x="447" y="941"/>
                  </a:lnTo>
                  <a:lnTo>
                    <a:pt x="422" y="939"/>
                  </a:lnTo>
                  <a:lnTo>
                    <a:pt x="400" y="935"/>
                  </a:lnTo>
                  <a:lnTo>
                    <a:pt x="376" y="932"/>
                  </a:lnTo>
                  <a:lnTo>
                    <a:pt x="353" y="926"/>
                  </a:lnTo>
                  <a:lnTo>
                    <a:pt x="331" y="921"/>
                  </a:lnTo>
                  <a:lnTo>
                    <a:pt x="309" y="913"/>
                  </a:lnTo>
                  <a:lnTo>
                    <a:pt x="288" y="905"/>
                  </a:lnTo>
                  <a:lnTo>
                    <a:pt x="266" y="895"/>
                  </a:lnTo>
                  <a:lnTo>
                    <a:pt x="246" y="884"/>
                  </a:lnTo>
                  <a:lnTo>
                    <a:pt x="227" y="873"/>
                  </a:lnTo>
                  <a:lnTo>
                    <a:pt x="208" y="861"/>
                  </a:lnTo>
                  <a:lnTo>
                    <a:pt x="190" y="848"/>
                  </a:lnTo>
                  <a:lnTo>
                    <a:pt x="172" y="834"/>
                  </a:lnTo>
                  <a:lnTo>
                    <a:pt x="155" y="819"/>
                  </a:lnTo>
                  <a:lnTo>
                    <a:pt x="138" y="803"/>
                  </a:lnTo>
                  <a:lnTo>
                    <a:pt x="123" y="787"/>
                  </a:lnTo>
                  <a:lnTo>
                    <a:pt x="108" y="770"/>
                  </a:lnTo>
                  <a:lnTo>
                    <a:pt x="94" y="752"/>
                  </a:lnTo>
                  <a:lnTo>
                    <a:pt x="81" y="734"/>
                  </a:lnTo>
                  <a:lnTo>
                    <a:pt x="69" y="715"/>
                  </a:lnTo>
                  <a:lnTo>
                    <a:pt x="58" y="695"/>
                  </a:lnTo>
                  <a:lnTo>
                    <a:pt x="46" y="674"/>
                  </a:lnTo>
                  <a:lnTo>
                    <a:pt x="37" y="654"/>
                  </a:lnTo>
                  <a:lnTo>
                    <a:pt x="29" y="633"/>
                  </a:lnTo>
                  <a:lnTo>
                    <a:pt x="21" y="611"/>
                  </a:lnTo>
                  <a:lnTo>
                    <a:pt x="16" y="589"/>
                  </a:lnTo>
                  <a:lnTo>
                    <a:pt x="10" y="566"/>
                  </a:lnTo>
                  <a:lnTo>
                    <a:pt x="6" y="542"/>
                  </a:lnTo>
                  <a:lnTo>
                    <a:pt x="3" y="519"/>
                  </a:lnTo>
                  <a:lnTo>
                    <a:pt x="1" y="495"/>
                  </a:lnTo>
                  <a:lnTo>
                    <a:pt x="0" y="471"/>
                  </a:lnTo>
                  <a:lnTo>
                    <a:pt x="1" y="446"/>
                  </a:lnTo>
                  <a:lnTo>
                    <a:pt x="3" y="423"/>
                  </a:lnTo>
                  <a:lnTo>
                    <a:pt x="6" y="399"/>
                  </a:lnTo>
                  <a:lnTo>
                    <a:pt x="10" y="376"/>
                  </a:lnTo>
                  <a:lnTo>
                    <a:pt x="16" y="354"/>
                  </a:lnTo>
                  <a:lnTo>
                    <a:pt x="21" y="331"/>
                  </a:lnTo>
                  <a:lnTo>
                    <a:pt x="29" y="308"/>
                  </a:lnTo>
                  <a:lnTo>
                    <a:pt x="37" y="288"/>
                  </a:lnTo>
                  <a:lnTo>
                    <a:pt x="46" y="267"/>
                  </a:lnTo>
                  <a:lnTo>
                    <a:pt x="58" y="246"/>
                  </a:lnTo>
                  <a:lnTo>
                    <a:pt x="69" y="227"/>
                  </a:lnTo>
                  <a:lnTo>
                    <a:pt x="81" y="208"/>
                  </a:lnTo>
                  <a:lnTo>
                    <a:pt x="94" y="189"/>
                  </a:lnTo>
                  <a:lnTo>
                    <a:pt x="108" y="172"/>
                  </a:lnTo>
                  <a:lnTo>
                    <a:pt x="123" y="155"/>
                  </a:lnTo>
                  <a:lnTo>
                    <a:pt x="138" y="138"/>
                  </a:lnTo>
                  <a:lnTo>
                    <a:pt x="155" y="122"/>
                  </a:lnTo>
                  <a:lnTo>
                    <a:pt x="172" y="107"/>
                  </a:lnTo>
                  <a:lnTo>
                    <a:pt x="190" y="94"/>
                  </a:lnTo>
                  <a:lnTo>
                    <a:pt x="208" y="80"/>
                  </a:lnTo>
                  <a:lnTo>
                    <a:pt x="227" y="68"/>
                  </a:lnTo>
                  <a:lnTo>
                    <a:pt x="246" y="57"/>
                  </a:lnTo>
                  <a:lnTo>
                    <a:pt x="266" y="46"/>
                  </a:lnTo>
                  <a:lnTo>
                    <a:pt x="288" y="37"/>
                  </a:lnTo>
                  <a:lnTo>
                    <a:pt x="309" y="28"/>
                  </a:lnTo>
                  <a:lnTo>
                    <a:pt x="331" y="22"/>
                  </a:lnTo>
                  <a:lnTo>
                    <a:pt x="353" y="15"/>
                  </a:lnTo>
                  <a:lnTo>
                    <a:pt x="376" y="10"/>
                  </a:lnTo>
                  <a:lnTo>
                    <a:pt x="400" y="6"/>
                  </a:lnTo>
                  <a:lnTo>
                    <a:pt x="422" y="2"/>
                  </a:lnTo>
                  <a:lnTo>
                    <a:pt x="447" y="1"/>
                  </a:lnTo>
                  <a:lnTo>
                    <a:pt x="471" y="0"/>
                  </a:lnTo>
                  <a:close/>
                  <a:moveTo>
                    <a:pt x="471" y="112"/>
                  </a:moveTo>
                  <a:lnTo>
                    <a:pt x="489" y="112"/>
                  </a:lnTo>
                  <a:lnTo>
                    <a:pt x="507" y="114"/>
                  </a:lnTo>
                  <a:lnTo>
                    <a:pt x="525" y="116"/>
                  </a:lnTo>
                  <a:lnTo>
                    <a:pt x="543" y="119"/>
                  </a:lnTo>
                  <a:lnTo>
                    <a:pt x="560" y="123"/>
                  </a:lnTo>
                  <a:lnTo>
                    <a:pt x="577" y="128"/>
                  </a:lnTo>
                  <a:lnTo>
                    <a:pt x="594" y="133"/>
                  </a:lnTo>
                  <a:lnTo>
                    <a:pt x="611" y="140"/>
                  </a:lnTo>
                  <a:lnTo>
                    <a:pt x="627" y="147"/>
                  </a:lnTo>
                  <a:lnTo>
                    <a:pt x="641" y="155"/>
                  </a:lnTo>
                  <a:lnTo>
                    <a:pt x="657" y="164"/>
                  </a:lnTo>
                  <a:lnTo>
                    <a:pt x="672" y="173"/>
                  </a:lnTo>
                  <a:lnTo>
                    <a:pt x="685" y="183"/>
                  </a:lnTo>
                  <a:lnTo>
                    <a:pt x="699" y="194"/>
                  </a:lnTo>
                  <a:lnTo>
                    <a:pt x="713" y="206"/>
                  </a:lnTo>
                  <a:lnTo>
                    <a:pt x="725" y="217"/>
                  </a:lnTo>
                  <a:lnTo>
                    <a:pt x="736" y="229"/>
                  </a:lnTo>
                  <a:lnTo>
                    <a:pt x="748" y="243"/>
                  </a:lnTo>
                  <a:lnTo>
                    <a:pt x="759" y="256"/>
                  </a:lnTo>
                  <a:lnTo>
                    <a:pt x="768" y="270"/>
                  </a:lnTo>
                  <a:lnTo>
                    <a:pt x="778" y="285"/>
                  </a:lnTo>
                  <a:lnTo>
                    <a:pt x="786" y="299"/>
                  </a:lnTo>
                  <a:lnTo>
                    <a:pt x="794" y="315"/>
                  </a:lnTo>
                  <a:lnTo>
                    <a:pt x="802" y="331"/>
                  </a:lnTo>
                  <a:lnTo>
                    <a:pt x="807" y="347"/>
                  </a:lnTo>
                  <a:lnTo>
                    <a:pt x="813" y="364"/>
                  </a:lnTo>
                  <a:lnTo>
                    <a:pt x="819" y="381"/>
                  </a:lnTo>
                  <a:lnTo>
                    <a:pt x="822" y="399"/>
                  </a:lnTo>
                  <a:lnTo>
                    <a:pt x="825" y="416"/>
                  </a:lnTo>
                  <a:lnTo>
                    <a:pt x="828" y="434"/>
                  </a:lnTo>
                  <a:lnTo>
                    <a:pt x="829" y="452"/>
                  </a:lnTo>
                  <a:lnTo>
                    <a:pt x="830" y="471"/>
                  </a:lnTo>
                  <a:lnTo>
                    <a:pt x="829" y="489"/>
                  </a:lnTo>
                  <a:lnTo>
                    <a:pt x="828" y="507"/>
                  </a:lnTo>
                  <a:lnTo>
                    <a:pt x="825" y="525"/>
                  </a:lnTo>
                  <a:lnTo>
                    <a:pt x="822" y="543"/>
                  </a:lnTo>
                  <a:lnTo>
                    <a:pt x="819" y="560"/>
                  </a:lnTo>
                  <a:lnTo>
                    <a:pt x="813" y="577"/>
                  </a:lnTo>
                  <a:lnTo>
                    <a:pt x="807" y="594"/>
                  </a:lnTo>
                  <a:lnTo>
                    <a:pt x="802" y="610"/>
                  </a:lnTo>
                  <a:lnTo>
                    <a:pt x="794" y="626"/>
                  </a:lnTo>
                  <a:lnTo>
                    <a:pt x="786" y="642"/>
                  </a:lnTo>
                  <a:lnTo>
                    <a:pt x="778" y="656"/>
                  </a:lnTo>
                  <a:lnTo>
                    <a:pt x="768" y="671"/>
                  </a:lnTo>
                  <a:lnTo>
                    <a:pt x="759" y="686"/>
                  </a:lnTo>
                  <a:lnTo>
                    <a:pt x="748" y="699"/>
                  </a:lnTo>
                  <a:lnTo>
                    <a:pt x="736" y="712"/>
                  </a:lnTo>
                  <a:lnTo>
                    <a:pt x="725" y="724"/>
                  </a:lnTo>
                  <a:lnTo>
                    <a:pt x="713" y="736"/>
                  </a:lnTo>
                  <a:lnTo>
                    <a:pt x="699" y="748"/>
                  </a:lnTo>
                  <a:lnTo>
                    <a:pt x="685" y="758"/>
                  </a:lnTo>
                  <a:lnTo>
                    <a:pt x="672" y="768"/>
                  </a:lnTo>
                  <a:lnTo>
                    <a:pt x="657" y="777"/>
                  </a:lnTo>
                  <a:lnTo>
                    <a:pt x="641" y="786"/>
                  </a:lnTo>
                  <a:lnTo>
                    <a:pt x="627" y="794"/>
                  </a:lnTo>
                  <a:lnTo>
                    <a:pt x="611" y="801"/>
                  </a:lnTo>
                  <a:lnTo>
                    <a:pt x="594" y="808"/>
                  </a:lnTo>
                  <a:lnTo>
                    <a:pt x="577" y="813"/>
                  </a:lnTo>
                  <a:lnTo>
                    <a:pt x="560" y="818"/>
                  </a:lnTo>
                  <a:lnTo>
                    <a:pt x="543" y="822"/>
                  </a:lnTo>
                  <a:lnTo>
                    <a:pt x="525" y="826"/>
                  </a:lnTo>
                  <a:lnTo>
                    <a:pt x="507" y="828"/>
                  </a:lnTo>
                  <a:lnTo>
                    <a:pt x="489" y="829"/>
                  </a:lnTo>
                  <a:lnTo>
                    <a:pt x="471" y="829"/>
                  </a:lnTo>
                  <a:lnTo>
                    <a:pt x="453" y="829"/>
                  </a:lnTo>
                  <a:lnTo>
                    <a:pt x="434" y="828"/>
                  </a:lnTo>
                  <a:lnTo>
                    <a:pt x="417" y="826"/>
                  </a:lnTo>
                  <a:lnTo>
                    <a:pt x="399" y="822"/>
                  </a:lnTo>
                  <a:lnTo>
                    <a:pt x="382" y="818"/>
                  </a:lnTo>
                  <a:lnTo>
                    <a:pt x="365" y="813"/>
                  </a:lnTo>
                  <a:lnTo>
                    <a:pt x="348" y="808"/>
                  </a:lnTo>
                  <a:lnTo>
                    <a:pt x="331" y="801"/>
                  </a:lnTo>
                  <a:lnTo>
                    <a:pt x="315" y="794"/>
                  </a:lnTo>
                  <a:lnTo>
                    <a:pt x="300" y="786"/>
                  </a:lnTo>
                  <a:lnTo>
                    <a:pt x="285" y="777"/>
                  </a:lnTo>
                  <a:lnTo>
                    <a:pt x="270" y="768"/>
                  </a:lnTo>
                  <a:lnTo>
                    <a:pt x="256" y="758"/>
                  </a:lnTo>
                  <a:lnTo>
                    <a:pt x="243" y="748"/>
                  </a:lnTo>
                  <a:lnTo>
                    <a:pt x="229" y="736"/>
                  </a:lnTo>
                  <a:lnTo>
                    <a:pt x="217" y="724"/>
                  </a:lnTo>
                  <a:lnTo>
                    <a:pt x="206" y="712"/>
                  </a:lnTo>
                  <a:lnTo>
                    <a:pt x="194" y="699"/>
                  </a:lnTo>
                  <a:lnTo>
                    <a:pt x="183" y="686"/>
                  </a:lnTo>
                  <a:lnTo>
                    <a:pt x="174" y="671"/>
                  </a:lnTo>
                  <a:lnTo>
                    <a:pt x="164" y="656"/>
                  </a:lnTo>
                  <a:lnTo>
                    <a:pt x="156" y="642"/>
                  </a:lnTo>
                  <a:lnTo>
                    <a:pt x="148" y="626"/>
                  </a:lnTo>
                  <a:lnTo>
                    <a:pt x="140" y="610"/>
                  </a:lnTo>
                  <a:lnTo>
                    <a:pt x="134" y="594"/>
                  </a:lnTo>
                  <a:lnTo>
                    <a:pt x="129" y="577"/>
                  </a:lnTo>
                  <a:lnTo>
                    <a:pt x="123" y="560"/>
                  </a:lnTo>
                  <a:lnTo>
                    <a:pt x="120" y="543"/>
                  </a:lnTo>
                  <a:lnTo>
                    <a:pt x="116" y="525"/>
                  </a:lnTo>
                  <a:lnTo>
                    <a:pt x="114" y="507"/>
                  </a:lnTo>
                  <a:lnTo>
                    <a:pt x="113" y="489"/>
                  </a:lnTo>
                  <a:lnTo>
                    <a:pt x="112" y="471"/>
                  </a:lnTo>
                  <a:lnTo>
                    <a:pt x="113" y="452"/>
                  </a:lnTo>
                  <a:lnTo>
                    <a:pt x="114" y="434"/>
                  </a:lnTo>
                  <a:lnTo>
                    <a:pt x="116" y="416"/>
                  </a:lnTo>
                  <a:lnTo>
                    <a:pt x="120" y="399"/>
                  </a:lnTo>
                  <a:lnTo>
                    <a:pt x="123" y="381"/>
                  </a:lnTo>
                  <a:lnTo>
                    <a:pt x="129" y="364"/>
                  </a:lnTo>
                  <a:lnTo>
                    <a:pt x="134" y="347"/>
                  </a:lnTo>
                  <a:lnTo>
                    <a:pt x="140" y="331"/>
                  </a:lnTo>
                  <a:lnTo>
                    <a:pt x="148" y="315"/>
                  </a:lnTo>
                  <a:lnTo>
                    <a:pt x="156" y="299"/>
                  </a:lnTo>
                  <a:lnTo>
                    <a:pt x="164" y="285"/>
                  </a:lnTo>
                  <a:lnTo>
                    <a:pt x="174" y="270"/>
                  </a:lnTo>
                  <a:lnTo>
                    <a:pt x="183" y="256"/>
                  </a:lnTo>
                  <a:lnTo>
                    <a:pt x="194" y="243"/>
                  </a:lnTo>
                  <a:lnTo>
                    <a:pt x="206" y="229"/>
                  </a:lnTo>
                  <a:lnTo>
                    <a:pt x="217" y="217"/>
                  </a:lnTo>
                  <a:lnTo>
                    <a:pt x="229" y="206"/>
                  </a:lnTo>
                  <a:lnTo>
                    <a:pt x="243" y="194"/>
                  </a:lnTo>
                  <a:lnTo>
                    <a:pt x="256" y="183"/>
                  </a:lnTo>
                  <a:lnTo>
                    <a:pt x="270" y="173"/>
                  </a:lnTo>
                  <a:lnTo>
                    <a:pt x="285" y="164"/>
                  </a:lnTo>
                  <a:lnTo>
                    <a:pt x="300" y="155"/>
                  </a:lnTo>
                  <a:lnTo>
                    <a:pt x="315" y="147"/>
                  </a:lnTo>
                  <a:lnTo>
                    <a:pt x="331" y="140"/>
                  </a:lnTo>
                  <a:lnTo>
                    <a:pt x="348" y="133"/>
                  </a:lnTo>
                  <a:lnTo>
                    <a:pt x="365" y="128"/>
                  </a:lnTo>
                  <a:lnTo>
                    <a:pt x="382" y="123"/>
                  </a:lnTo>
                  <a:lnTo>
                    <a:pt x="399" y="119"/>
                  </a:lnTo>
                  <a:lnTo>
                    <a:pt x="417" y="116"/>
                  </a:lnTo>
                  <a:lnTo>
                    <a:pt x="434" y="114"/>
                  </a:lnTo>
                  <a:lnTo>
                    <a:pt x="453" y="112"/>
                  </a:lnTo>
                  <a:lnTo>
                    <a:pt x="471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71"/>
            <p:cNvSpPr>
              <a:spLocks/>
            </p:cNvSpPr>
            <p:nvPr/>
          </p:nvSpPr>
          <p:spPr bwMode="auto">
            <a:xfrm>
              <a:off x="677863" y="2493963"/>
              <a:ext cx="93663" cy="138113"/>
            </a:xfrm>
            <a:custGeom>
              <a:avLst/>
              <a:gdLst>
                <a:gd name="T0" fmla="*/ 279 w 294"/>
                <a:gd name="T1" fmla="*/ 0 h 433"/>
                <a:gd name="T2" fmla="*/ 287 w 294"/>
                <a:gd name="T3" fmla="*/ 22 h 433"/>
                <a:gd name="T4" fmla="*/ 294 w 294"/>
                <a:gd name="T5" fmla="*/ 44 h 433"/>
                <a:gd name="T6" fmla="*/ 279 w 294"/>
                <a:gd name="T7" fmla="*/ 44 h 433"/>
                <a:gd name="T8" fmla="*/ 255 w 294"/>
                <a:gd name="T9" fmla="*/ 46 h 433"/>
                <a:gd name="T10" fmla="*/ 232 w 294"/>
                <a:gd name="T11" fmla="*/ 49 h 433"/>
                <a:gd name="T12" fmla="*/ 209 w 294"/>
                <a:gd name="T13" fmla="*/ 55 h 433"/>
                <a:gd name="T14" fmla="*/ 188 w 294"/>
                <a:gd name="T15" fmla="*/ 63 h 433"/>
                <a:gd name="T16" fmla="*/ 147 w 294"/>
                <a:gd name="T17" fmla="*/ 85 h 433"/>
                <a:gd name="T18" fmla="*/ 113 w 294"/>
                <a:gd name="T19" fmla="*/ 113 h 433"/>
                <a:gd name="T20" fmla="*/ 84 w 294"/>
                <a:gd name="T21" fmla="*/ 148 h 433"/>
                <a:gd name="T22" fmla="*/ 62 w 294"/>
                <a:gd name="T23" fmla="*/ 188 h 433"/>
                <a:gd name="T24" fmla="*/ 54 w 294"/>
                <a:gd name="T25" fmla="*/ 209 h 433"/>
                <a:gd name="T26" fmla="*/ 49 w 294"/>
                <a:gd name="T27" fmla="*/ 232 h 433"/>
                <a:gd name="T28" fmla="*/ 45 w 294"/>
                <a:gd name="T29" fmla="*/ 256 h 433"/>
                <a:gd name="T30" fmla="*/ 44 w 294"/>
                <a:gd name="T31" fmla="*/ 279 h 433"/>
                <a:gd name="T32" fmla="*/ 47 w 294"/>
                <a:gd name="T33" fmla="*/ 319 h 433"/>
                <a:gd name="T34" fmla="*/ 57 w 294"/>
                <a:gd name="T35" fmla="*/ 355 h 433"/>
                <a:gd name="T36" fmla="*/ 71 w 294"/>
                <a:gd name="T37" fmla="*/ 390 h 433"/>
                <a:gd name="T38" fmla="*/ 91 w 294"/>
                <a:gd name="T39" fmla="*/ 421 h 433"/>
                <a:gd name="T40" fmla="*/ 69 w 294"/>
                <a:gd name="T41" fmla="*/ 427 h 433"/>
                <a:gd name="T42" fmla="*/ 45 w 294"/>
                <a:gd name="T43" fmla="*/ 433 h 433"/>
                <a:gd name="T44" fmla="*/ 26 w 294"/>
                <a:gd name="T45" fmla="*/ 398 h 433"/>
                <a:gd name="T46" fmla="*/ 12 w 294"/>
                <a:gd name="T47" fmla="*/ 361 h 433"/>
                <a:gd name="T48" fmla="*/ 3 w 294"/>
                <a:gd name="T49" fmla="*/ 321 h 433"/>
                <a:gd name="T50" fmla="*/ 0 w 294"/>
                <a:gd name="T51" fmla="*/ 279 h 433"/>
                <a:gd name="T52" fmla="*/ 1 w 294"/>
                <a:gd name="T53" fmla="*/ 251 h 433"/>
                <a:gd name="T54" fmla="*/ 6 w 294"/>
                <a:gd name="T55" fmla="*/ 223 h 433"/>
                <a:gd name="T56" fmla="*/ 13 w 294"/>
                <a:gd name="T57" fmla="*/ 197 h 433"/>
                <a:gd name="T58" fmla="*/ 22 w 294"/>
                <a:gd name="T59" fmla="*/ 171 h 433"/>
                <a:gd name="T60" fmla="*/ 34 w 294"/>
                <a:gd name="T61" fmla="*/ 146 h 433"/>
                <a:gd name="T62" fmla="*/ 48 w 294"/>
                <a:gd name="T63" fmla="*/ 124 h 433"/>
                <a:gd name="T64" fmla="*/ 63 w 294"/>
                <a:gd name="T65" fmla="*/ 102 h 433"/>
                <a:gd name="T66" fmla="*/ 82 w 294"/>
                <a:gd name="T67" fmla="*/ 82 h 433"/>
                <a:gd name="T68" fmla="*/ 102 w 294"/>
                <a:gd name="T69" fmla="*/ 65 h 433"/>
                <a:gd name="T70" fmla="*/ 123 w 294"/>
                <a:gd name="T71" fmla="*/ 48 h 433"/>
                <a:gd name="T72" fmla="*/ 146 w 294"/>
                <a:gd name="T73" fmla="*/ 34 h 433"/>
                <a:gd name="T74" fmla="*/ 171 w 294"/>
                <a:gd name="T75" fmla="*/ 23 h 433"/>
                <a:gd name="T76" fmla="*/ 196 w 294"/>
                <a:gd name="T77" fmla="*/ 13 h 433"/>
                <a:gd name="T78" fmla="*/ 223 w 294"/>
                <a:gd name="T79" fmla="*/ 6 h 433"/>
                <a:gd name="T80" fmla="*/ 251 w 294"/>
                <a:gd name="T81" fmla="*/ 2 h 433"/>
                <a:gd name="T82" fmla="*/ 279 w 294"/>
                <a:gd name="T83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4" h="433">
                  <a:moveTo>
                    <a:pt x="279" y="0"/>
                  </a:moveTo>
                  <a:lnTo>
                    <a:pt x="279" y="0"/>
                  </a:lnTo>
                  <a:lnTo>
                    <a:pt x="284" y="12"/>
                  </a:lnTo>
                  <a:lnTo>
                    <a:pt x="287" y="22"/>
                  </a:lnTo>
                  <a:lnTo>
                    <a:pt x="290" y="33"/>
                  </a:lnTo>
                  <a:lnTo>
                    <a:pt x="294" y="44"/>
                  </a:lnTo>
                  <a:lnTo>
                    <a:pt x="286" y="44"/>
                  </a:lnTo>
                  <a:lnTo>
                    <a:pt x="279" y="44"/>
                  </a:lnTo>
                  <a:lnTo>
                    <a:pt x="267" y="44"/>
                  </a:lnTo>
                  <a:lnTo>
                    <a:pt x="255" y="46"/>
                  </a:lnTo>
                  <a:lnTo>
                    <a:pt x="243" y="47"/>
                  </a:lnTo>
                  <a:lnTo>
                    <a:pt x="232" y="49"/>
                  </a:lnTo>
                  <a:lnTo>
                    <a:pt x="220" y="51"/>
                  </a:lnTo>
                  <a:lnTo>
                    <a:pt x="209" y="55"/>
                  </a:lnTo>
                  <a:lnTo>
                    <a:pt x="198" y="59"/>
                  </a:lnTo>
                  <a:lnTo>
                    <a:pt x="188" y="63"/>
                  </a:lnTo>
                  <a:lnTo>
                    <a:pt x="167" y="73"/>
                  </a:lnTo>
                  <a:lnTo>
                    <a:pt x="147" y="85"/>
                  </a:lnTo>
                  <a:lnTo>
                    <a:pt x="129" y="98"/>
                  </a:lnTo>
                  <a:lnTo>
                    <a:pt x="113" y="113"/>
                  </a:lnTo>
                  <a:lnTo>
                    <a:pt x="97" y="130"/>
                  </a:lnTo>
                  <a:lnTo>
                    <a:pt x="84" y="148"/>
                  </a:lnTo>
                  <a:lnTo>
                    <a:pt x="73" y="168"/>
                  </a:lnTo>
                  <a:lnTo>
                    <a:pt x="62" y="188"/>
                  </a:lnTo>
                  <a:lnTo>
                    <a:pt x="58" y="199"/>
                  </a:lnTo>
                  <a:lnTo>
                    <a:pt x="54" y="209"/>
                  </a:lnTo>
                  <a:lnTo>
                    <a:pt x="51" y="221"/>
                  </a:lnTo>
                  <a:lnTo>
                    <a:pt x="49" y="232"/>
                  </a:lnTo>
                  <a:lnTo>
                    <a:pt x="47" y="244"/>
                  </a:lnTo>
                  <a:lnTo>
                    <a:pt x="45" y="256"/>
                  </a:lnTo>
                  <a:lnTo>
                    <a:pt x="44" y="268"/>
                  </a:lnTo>
                  <a:lnTo>
                    <a:pt x="44" y="279"/>
                  </a:lnTo>
                  <a:lnTo>
                    <a:pt x="44" y="300"/>
                  </a:lnTo>
                  <a:lnTo>
                    <a:pt x="47" y="319"/>
                  </a:lnTo>
                  <a:lnTo>
                    <a:pt x="51" y="337"/>
                  </a:lnTo>
                  <a:lnTo>
                    <a:pt x="57" y="355"/>
                  </a:lnTo>
                  <a:lnTo>
                    <a:pt x="62" y="373"/>
                  </a:lnTo>
                  <a:lnTo>
                    <a:pt x="71" y="390"/>
                  </a:lnTo>
                  <a:lnTo>
                    <a:pt x="80" y="406"/>
                  </a:lnTo>
                  <a:lnTo>
                    <a:pt x="91" y="421"/>
                  </a:lnTo>
                  <a:lnTo>
                    <a:pt x="79" y="424"/>
                  </a:lnTo>
                  <a:lnTo>
                    <a:pt x="69" y="427"/>
                  </a:lnTo>
                  <a:lnTo>
                    <a:pt x="58" y="431"/>
                  </a:lnTo>
                  <a:lnTo>
                    <a:pt x="45" y="433"/>
                  </a:lnTo>
                  <a:lnTo>
                    <a:pt x="35" y="416"/>
                  </a:lnTo>
                  <a:lnTo>
                    <a:pt x="26" y="398"/>
                  </a:lnTo>
                  <a:lnTo>
                    <a:pt x="18" y="380"/>
                  </a:lnTo>
                  <a:lnTo>
                    <a:pt x="12" y="361"/>
                  </a:lnTo>
                  <a:lnTo>
                    <a:pt x="7" y="341"/>
                  </a:lnTo>
                  <a:lnTo>
                    <a:pt x="3" y="321"/>
                  </a:lnTo>
                  <a:lnTo>
                    <a:pt x="0" y="301"/>
                  </a:lnTo>
                  <a:lnTo>
                    <a:pt x="0" y="279"/>
                  </a:lnTo>
                  <a:lnTo>
                    <a:pt x="0" y="266"/>
                  </a:lnTo>
                  <a:lnTo>
                    <a:pt x="1" y="251"/>
                  </a:lnTo>
                  <a:lnTo>
                    <a:pt x="4" y="238"/>
                  </a:lnTo>
                  <a:lnTo>
                    <a:pt x="6" y="223"/>
                  </a:lnTo>
                  <a:lnTo>
                    <a:pt x="8" y="209"/>
                  </a:lnTo>
                  <a:lnTo>
                    <a:pt x="13" y="197"/>
                  </a:lnTo>
                  <a:lnTo>
                    <a:pt x="17" y="183"/>
                  </a:lnTo>
                  <a:lnTo>
                    <a:pt x="22" y="171"/>
                  </a:lnTo>
                  <a:lnTo>
                    <a:pt x="27" y="159"/>
                  </a:lnTo>
                  <a:lnTo>
                    <a:pt x="34" y="146"/>
                  </a:lnTo>
                  <a:lnTo>
                    <a:pt x="40" y="135"/>
                  </a:lnTo>
                  <a:lnTo>
                    <a:pt x="48" y="124"/>
                  </a:lnTo>
                  <a:lnTo>
                    <a:pt x="56" y="112"/>
                  </a:lnTo>
                  <a:lnTo>
                    <a:pt x="63" y="102"/>
                  </a:lnTo>
                  <a:lnTo>
                    <a:pt x="73" y="92"/>
                  </a:lnTo>
                  <a:lnTo>
                    <a:pt x="82" y="82"/>
                  </a:lnTo>
                  <a:lnTo>
                    <a:pt x="92" y="73"/>
                  </a:lnTo>
                  <a:lnTo>
                    <a:pt x="102" y="65"/>
                  </a:lnTo>
                  <a:lnTo>
                    <a:pt x="112" y="56"/>
                  </a:lnTo>
                  <a:lnTo>
                    <a:pt x="123" y="48"/>
                  </a:lnTo>
                  <a:lnTo>
                    <a:pt x="135" y="41"/>
                  </a:lnTo>
                  <a:lnTo>
                    <a:pt x="146" y="34"/>
                  </a:lnTo>
                  <a:lnTo>
                    <a:pt x="158" y="28"/>
                  </a:lnTo>
                  <a:lnTo>
                    <a:pt x="171" y="23"/>
                  </a:lnTo>
                  <a:lnTo>
                    <a:pt x="183" y="17"/>
                  </a:lnTo>
                  <a:lnTo>
                    <a:pt x="196" y="13"/>
                  </a:lnTo>
                  <a:lnTo>
                    <a:pt x="209" y="9"/>
                  </a:lnTo>
                  <a:lnTo>
                    <a:pt x="223" y="6"/>
                  </a:lnTo>
                  <a:lnTo>
                    <a:pt x="236" y="4"/>
                  </a:lnTo>
                  <a:lnTo>
                    <a:pt x="251" y="2"/>
                  </a:lnTo>
                  <a:lnTo>
                    <a:pt x="264" y="0"/>
                  </a:lnTo>
                  <a:lnTo>
                    <a:pt x="2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011853" y="3422910"/>
            <a:ext cx="508310" cy="466338"/>
            <a:chOff x="-1447800" y="2895600"/>
            <a:chExt cx="346075" cy="317501"/>
          </a:xfrm>
          <a:solidFill>
            <a:schemeClr val="bg1"/>
          </a:solidFill>
          <a:effectLst/>
        </p:grpSpPr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-1447800" y="2895600"/>
              <a:ext cx="225425" cy="227013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  <p:sp>
          <p:nvSpPr>
            <p:cNvPr id="31" name="Freeform 6"/>
            <p:cNvSpPr>
              <a:spLocks noEditPoints="1"/>
            </p:cNvSpPr>
            <p:nvPr/>
          </p:nvSpPr>
          <p:spPr bwMode="auto">
            <a:xfrm>
              <a:off x="-1262063" y="3052763"/>
              <a:ext cx="160338" cy="160338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>
                <a:solidFill>
                  <a:schemeClr val="lt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911217" y="1967494"/>
            <a:ext cx="548706" cy="631688"/>
            <a:chOff x="5818111" y="5572453"/>
            <a:chExt cx="770621" cy="887165"/>
          </a:xfrm>
          <a:solidFill>
            <a:schemeClr val="bg1"/>
          </a:solidFill>
        </p:grpSpPr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5951305" y="6055280"/>
              <a:ext cx="332984" cy="404338"/>
            </a:xfrm>
            <a:custGeom>
              <a:avLst/>
              <a:gdLst>
                <a:gd name="T0" fmla="*/ 0 w 840"/>
                <a:gd name="T1" fmla="*/ 0 h 1020"/>
                <a:gd name="T2" fmla="*/ 210 w 840"/>
                <a:gd name="T3" fmla="*/ 262 h 1020"/>
                <a:gd name="T4" fmla="*/ 408 w 840"/>
                <a:gd name="T5" fmla="*/ 168 h 1020"/>
                <a:gd name="T6" fmla="*/ 651 w 840"/>
                <a:gd name="T7" fmla="*/ 237 h 1020"/>
                <a:gd name="T8" fmla="*/ 826 w 840"/>
                <a:gd name="T9" fmla="*/ 0 h 1020"/>
                <a:gd name="T10" fmla="*/ 840 w 840"/>
                <a:gd name="T11" fmla="*/ 1020 h 1020"/>
                <a:gd name="T12" fmla="*/ 412 w 840"/>
                <a:gd name="T13" fmla="*/ 672 h 1020"/>
                <a:gd name="T14" fmla="*/ 15 w 840"/>
                <a:gd name="T15" fmla="*/ 1020 h 1020"/>
                <a:gd name="T16" fmla="*/ 0 w 840"/>
                <a:gd name="T17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0" h="1020">
                  <a:moveTo>
                    <a:pt x="0" y="0"/>
                  </a:moveTo>
                  <a:lnTo>
                    <a:pt x="210" y="262"/>
                  </a:lnTo>
                  <a:lnTo>
                    <a:pt x="408" y="168"/>
                  </a:lnTo>
                  <a:lnTo>
                    <a:pt x="651" y="237"/>
                  </a:lnTo>
                  <a:lnTo>
                    <a:pt x="826" y="0"/>
                  </a:lnTo>
                  <a:lnTo>
                    <a:pt x="840" y="1020"/>
                  </a:lnTo>
                  <a:lnTo>
                    <a:pt x="412" y="672"/>
                  </a:lnTo>
                  <a:lnTo>
                    <a:pt x="15" y="102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/>
            <p:cNvSpPr>
              <a:spLocks noEditPoints="1"/>
            </p:cNvSpPr>
            <p:nvPr/>
          </p:nvSpPr>
          <p:spPr bwMode="auto">
            <a:xfrm>
              <a:off x="5818111" y="5579588"/>
              <a:ext cx="612454" cy="604128"/>
            </a:xfrm>
            <a:custGeom>
              <a:avLst/>
              <a:gdLst>
                <a:gd name="T0" fmla="*/ 774 w 1546"/>
                <a:gd name="T1" fmla="*/ 0 h 1524"/>
                <a:gd name="T2" fmla="*/ 1001 w 1546"/>
                <a:gd name="T3" fmla="*/ 224 h 1524"/>
                <a:gd name="T4" fmla="*/ 1278 w 1546"/>
                <a:gd name="T5" fmla="*/ 184 h 1524"/>
                <a:gd name="T6" fmla="*/ 1309 w 1546"/>
                <a:gd name="T7" fmla="*/ 502 h 1524"/>
                <a:gd name="T8" fmla="*/ 1546 w 1546"/>
                <a:gd name="T9" fmla="*/ 649 h 1524"/>
                <a:gd name="T10" fmla="*/ 1367 w 1546"/>
                <a:gd name="T11" fmla="*/ 913 h 1524"/>
                <a:gd name="T12" fmla="*/ 1454 w 1546"/>
                <a:gd name="T13" fmla="*/ 1179 h 1524"/>
                <a:gd name="T14" fmla="*/ 1145 w 1546"/>
                <a:gd name="T15" fmla="*/ 1265 h 1524"/>
                <a:gd name="T16" fmla="*/ 1042 w 1546"/>
                <a:gd name="T17" fmla="*/ 1524 h 1524"/>
                <a:gd name="T18" fmla="*/ 751 w 1546"/>
                <a:gd name="T19" fmla="*/ 1392 h 1524"/>
                <a:gd name="T20" fmla="*/ 504 w 1546"/>
                <a:gd name="T21" fmla="*/ 1524 h 1524"/>
                <a:gd name="T22" fmla="*/ 366 w 1546"/>
                <a:gd name="T23" fmla="*/ 1236 h 1524"/>
                <a:gd name="T24" fmla="*/ 92 w 1546"/>
                <a:gd name="T25" fmla="*/ 1179 h 1524"/>
                <a:gd name="T26" fmla="*/ 172 w 1546"/>
                <a:gd name="T27" fmla="*/ 869 h 1524"/>
                <a:gd name="T28" fmla="*/ 0 w 1546"/>
                <a:gd name="T29" fmla="*/ 649 h 1524"/>
                <a:gd name="T30" fmla="*/ 259 w 1546"/>
                <a:gd name="T31" fmla="*/ 463 h 1524"/>
                <a:gd name="T32" fmla="*/ 267 w 1546"/>
                <a:gd name="T33" fmla="*/ 184 h 1524"/>
                <a:gd name="T34" fmla="*/ 587 w 1546"/>
                <a:gd name="T35" fmla="*/ 208 h 1524"/>
                <a:gd name="T36" fmla="*/ 774 w 1546"/>
                <a:gd name="T37" fmla="*/ 0 h 1524"/>
                <a:gd name="T38" fmla="*/ 774 w 1546"/>
                <a:gd name="T39" fmla="*/ 120 h 1524"/>
                <a:gd name="T40" fmla="*/ 965 w 1546"/>
                <a:gd name="T41" fmla="*/ 308 h 1524"/>
                <a:gd name="T42" fmla="*/ 1199 w 1546"/>
                <a:gd name="T43" fmla="*/ 275 h 1524"/>
                <a:gd name="T44" fmla="*/ 1225 w 1546"/>
                <a:gd name="T45" fmla="*/ 543 h 1524"/>
                <a:gd name="T46" fmla="*/ 1425 w 1546"/>
                <a:gd name="T47" fmla="*/ 667 h 1524"/>
                <a:gd name="T48" fmla="*/ 1273 w 1546"/>
                <a:gd name="T49" fmla="*/ 889 h 1524"/>
                <a:gd name="T50" fmla="*/ 1346 w 1546"/>
                <a:gd name="T51" fmla="*/ 1113 h 1524"/>
                <a:gd name="T52" fmla="*/ 1087 w 1546"/>
                <a:gd name="T53" fmla="*/ 1186 h 1524"/>
                <a:gd name="T54" fmla="*/ 1000 w 1546"/>
                <a:gd name="T55" fmla="*/ 1405 h 1524"/>
                <a:gd name="T56" fmla="*/ 755 w 1546"/>
                <a:gd name="T57" fmla="*/ 1293 h 1524"/>
                <a:gd name="T58" fmla="*/ 546 w 1546"/>
                <a:gd name="T59" fmla="*/ 1405 h 1524"/>
                <a:gd name="T60" fmla="*/ 431 w 1546"/>
                <a:gd name="T61" fmla="*/ 1161 h 1524"/>
                <a:gd name="T62" fmla="*/ 200 w 1546"/>
                <a:gd name="T63" fmla="*/ 1113 h 1524"/>
                <a:gd name="T64" fmla="*/ 266 w 1546"/>
                <a:gd name="T65" fmla="*/ 852 h 1524"/>
                <a:gd name="T66" fmla="*/ 121 w 1546"/>
                <a:gd name="T67" fmla="*/ 667 h 1524"/>
                <a:gd name="T68" fmla="*/ 340 w 1546"/>
                <a:gd name="T69" fmla="*/ 511 h 1524"/>
                <a:gd name="T70" fmla="*/ 347 w 1546"/>
                <a:gd name="T71" fmla="*/ 275 h 1524"/>
                <a:gd name="T72" fmla="*/ 616 w 1546"/>
                <a:gd name="T73" fmla="*/ 295 h 1524"/>
                <a:gd name="T74" fmla="*/ 774 w 1546"/>
                <a:gd name="T75" fmla="*/ 120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46" h="1524">
                  <a:moveTo>
                    <a:pt x="774" y="0"/>
                  </a:moveTo>
                  <a:lnTo>
                    <a:pt x="1001" y="224"/>
                  </a:lnTo>
                  <a:lnTo>
                    <a:pt x="1278" y="184"/>
                  </a:lnTo>
                  <a:lnTo>
                    <a:pt x="1309" y="502"/>
                  </a:lnTo>
                  <a:lnTo>
                    <a:pt x="1546" y="649"/>
                  </a:lnTo>
                  <a:lnTo>
                    <a:pt x="1367" y="913"/>
                  </a:lnTo>
                  <a:lnTo>
                    <a:pt x="1454" y="1179"/>
                  </a:lnTo>
                  <a:lnTo>
                    <a:pt x="1145" y="1265"/>
                  </a:lnTo>
                  <a:lnTo>
                    <a:pt x="1042" y="1524"/>
                  </a:lnTo>
                  <a:lnTo>
                    <a:pt x="751" y="1392"/>
                  </a:lnTo>
                  <a:lnTo>
                    <a:pt x="504" y="1524"/>
                  </a:lnTo>
                  <a:lnTo>
                    <a:pt x="366" y="1236"/>
                  </a:lnTo>
                  <a:lnTo>
                    <a:pt x="92" y="1179"/>
                  </a:lnTo>
                  <a:lnTo>
                    <a:pt x="172" y="869"/>
                  </a:lnTo>
                  <a:lnTo>
                    <a:pt x="0" y="649"/>
                  </a:lnTo>
                  <a:lnTo>
                    <a:pt x="259" y="463"/>
                  </a:lnTo>
                  <a:lnTo>
                    <a:pt x="267" y="184"/>
                  </a:lnTo>
                  <a:lnTo>
                    <a:pt x="587" y="208"/>
                  </a:lnTo>
                  <a:lnTo>
                    <a:pt x="774" y="0"/>
                  </a:lnTo>
                  <a:close/>
                  <a:moveTo>
                    <a:pt x="774" y="120"/>
                  </a:moveTo>
                  <a:lnTo>
                    <a:pt x="965" y="308"/>
                  </a:lnTo>
                  <a:lnTo>
                    <a:pt x="1199" y="275"/>
                  </a:lnTo>
                  <a:lnTo>
                    <a:pt x="1225" y="543"/>
                  </a:lnTo>
                  <a:lnTo>
                    <a:pt x="1425" y="667"/>
                  </a:lnTo>
                  <a:lnTo>
                    <a:pt x="1273" y="889"/>
                  </a:lnTo>
                  <a:lnTo>
                    <a:pt x="1346" y="1113"/>
                  </a:lnTo>
                  <a:lnTo>
                    <a:pt x="1087" y="1186"/>
                  </a:lnTo>
                  <a:lnTo>
                    <a:pt x="1000" y="1405"/>
                  </a:lnTo>
                  <a:lnTo>
                    <a:pt x="755" y="1293"/>
                  </a:lnTo>
                  <a:lnTo>
                    <a:pt x="546" y="1405"/>
                  </a:lnTo>
                  <a:lnTo>
                    <a:pt x="431" y="1161"/>
                  </a:lnTo>
                  <a:lnTo>
                    <a:pt x="200" y="1113"/>
                  </a:lnTo>
                  <a:lnTo>
                    <a:pt x="266" y="852"/>
                  </a:lnTo>
                  <a:lnTo>
                    <a:pt x="121" y="667"/>
                  </a:lnTo>
                  <a:lnTo>
                    <a:pt x="340" y="511"/>
                  </a:lnTo>
                  <a:lnTo>
                    <a:pt x="347" y="275"/>
                  </a:lnTo>
                  <a:lnTo>
                    <a:pt x="616" y="295"/>
                  </a:lnTo>
                  <a:lnTo>
                    <a:pt x="77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5944169" y="5572453"/>
              <a:ext cx="644563" cy="447150"/>
            </a:xfrm>
            <a:custGeom>
              <a:avLst/>
              <a:gdLst>
                <a:gd name="T0" fmla="*/ 0 w 1626"/>
                <a:gd name="T1" fmla="*/ 678 h 1128"/>
                <a:gd name="T2" fmla="*/ 498 w 1626"/>
                <a:gd name="T3" fmla="*/ 1128 h 1128"/>
                <a:gd name="T4" fmla="*/ 1626 w 1626"/>
                <a:gd name="T5" fmla="*/ 0 h 1128"/>
                <a:gd name="T6" fmla="*/ 486 w 1626"/>
                <a:gd name="T7" fmla="*/ 888 h 1128"/>
                <a:gd name="T8" fmla="*/ 0 w 1626"/>
                <a:gd name="T9" fmla="*/ 678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6" h="1128">
                  <a:moveTo>
                    <a:pt x="0" y="678"/>
                  </a:moveTo>
                  <a:lnTo>
                    <a:pt x="498" y="1128"/>
                  </a:lnTo>
                  <a:lnTo>
                    <a:pt x="1626" y="0"/>
                  </a:lnTo>
                  <a:lnTo>
                    <a:pt x="486" y="888"/>
                  </a:lnTo>
                  <a:lnTo>
                    <a:pt x="0" y="6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353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1933451" y="4785041"/>
            <a:ext cx="1015673" cy="886899"/>
            <a:chOff x="1664116" y="4785041"/>
            <a:chExt cx="1015673" cy="886899"/>
          </a:xfrm>
          <a:effectLst/>
        </p:grpSpPr>
        <p:grpSp>
          <p:nvGrpSpPr>
            <p:cNvPr id="32" name="Group 31"/>
            <p:cNvGrpSpPr/>
            <p:nvPr/>
          </p:nvGrpSpPr>
          <p:grpSpPr>
            <a:xfrm>
              <a:off x="1664116" y="4785041"/>
              <a:ext cx="1015673" cy="854033"/>
              <a:chOff x="-5565775" y="5628359"/>
              <a:chExt cx="1670050" cy="1404267"/>
            </a:xfrm>
          </p:grpSpPr>
          <p:sp>
            <p:nvSpPr>
              <p:cNvPr id="33" name="Rectangle 20"/>
              <p:cNvSpPr>
                <a:spLocks noChangeArrowheads="1"/>
              </p:cNvSpPr>
              <p:nvPr/>
            </p:nvSpPr>
            <p:spPr bwMode="auto">
              <a:xfrm>
                <a:off x="-5565775" y="5824538"/>
                <a:ext cx="1208088" cy="1208088"/>
              </a:xfrm>
              <a:prstGeom prst="rect">
                <a:avLst/>
              </a:prstGeom>
              <a:solidFill>
                <a:srgbClr val="CE2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21"/>
              <p:cNvSpPr>
                <a:spLocks/>
              </p:cNvSpPr>
              <p:nvPr/>
            </p:nvSpPr>
            <p:spPr bwMode="auto">
              <a:xfrm>
                <a:off x="-4357689" y="5628359"/>
                <a:ext cx="461964" cy="1393824"/>
              </a:xfrm>
              <a:custGeom>
                <a:avLst/>
                <a:gdLst>
                  <a:gd name="T0" fmla="*/ 0 w 1168"/>
                  <a:gd name="T1" fmla="*/ 3512 h 3512"/>
                  <a:gd name="T2" fmla="*/ 1168 w 1168"/>
                  <a:gd name="T3" fmla="*/ 3043 h 3512"/>
                  <a:gd name="T4" fmla="*/ 1168 w 1168"/>
                  <a:gd name="T5" fmla="*/ 0 h 3512"/>
                  <a:gd name="T6" fmla="*/ 0 w 1168"/>
                  <a:gd name="T7" fmla="*/ 470 h 3512"/>
                  <a:gd name="T8" fmla="*/ 0 w 1168"/>
                  <a:gd name="T9" fmla="*/ 3512 h 3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8" h="3512">
                    <a:moveTo>
                      <a:pt x="0" y="3512"/>
                    </a:moveTo>
                    <a:lnTo>
                      <a:pt x="1168" y="3043"/>
                    </a:lnTo>
                    <a:lnTo>
                      <a:pt x="1168" y="0"/>
                    </a:lnTo>
                    <a:lnTo>
                      <a:pt x="0" y="470"/>
                    </a:lnTo>
                    <a:lnTo>
                      <a:pt x="0" y="3512"/>
                    </a:lnTo>
                    <a:close/>
                  </a:path>
                </a:pathLst>
              </a:custGeom>
              <a:solidFill>
                <a:srgbClr val="A51A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2"/>
              <p:cNvSpPr>
                <a:spLocks/>
              </p:cNvSpPr>
              <p:nvPr/>
            </p:nvSpPr>
            <p:spPr bwMode="auto">
              <a:xfrm>
                <a:off x="-5565775" y="5638800"/>
                <a:ext cx="1670050" cy="185738"/>
              </a:xfrm>
              <a:custGeom>
                <a:avLst/>
                <a:gdLst>
                  <a:gd name="T0" fmla="*/ 4208 w 4208"/>
                  <a:gd name="T1" fmla="*/ 0 h 470"/>
                  <a:gd name="T2" fmla="*/ 1166 w 4208"/>
                  <a:gd name="T3" fmla="*/ 0 h 470"/>
                  <a:gd name="T4" fmla="*/ 0 w 4208"/>
                  <a:gd name="T5" fmla="*/ 470 h 470"/>
                  <a:gd name="T6" fmla="*/ 3042 w 4208"/>
                  <a:gd name="T7" fmla="*/ 470 h 470"/>
                  <a:gd name="T8" fmla="*/ 4208 w 4208"/>
                  <a:gd name="T9" fmla="*/ 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08" h="470">
                    <a:moveTo>
                      <a:pt x="4208" y="0"/>
                    </a:moveTo>
                    <a:lnTo>
                      <a:pt x="1166" y="0"/>
                    </a:lnTo>
                    <a:lnTo>
                      <a:pt x="0" y="470"/>
                    </a:lnTo>
                    <a:lnTo>
                      <a:pt x="3042" y="470"/>
                    </a:lnTo>
                    <a:lnTo>
                      <a:pt x="4208" y="0"/>
                    </a:lnTo>
                    <a:close/>
                  </a:path>
                </a:pathLst>
              </a:custGeom>
              <a:solidFill>
                <a:srgbClr val="A51A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1" name="TextBox 70"/>
            <p:cNvSpPr txBox="1"/>
            <p:nvPr/>
          </p:nvSpPr>
          <p:spPr>
            <a:xfrm>
              <a:off x="1825314" y="4902499"/>
              <a:ext cx="46038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T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650097" y="4086612"/>
            <a:ext cx="1015673" cy="874715"/>
            <a:chOff x="1380762" y="4086612"/>
            <a:chExt cx="1015673" cy="874715"/>
          </a:xfrm>
          <a:effectLst/>
        </p:grpSpPr>
        <p:grpSp>
          <p:nvGrpSpPr>
            <p:cNvPr id="36" name="Group 35"/>
            <p:cNvGrpSpPr/>
            <p:nvPr/>
          </p:nvGrpSpPr>
          <p:grpSpPr>
            <a:xfrm>
              <a:off x="1380762" y="4086612"/>
              <a:ext cx="1015673" cy="854033"/>
              <a:chOff x="-5565775" y="5628359"/>
              <a:chExt cx="1670050" cy="1404267"/>
            </a:xfrm>
          </p:grpSpPr>
          <p:sp>
            <p:nvSpPr>
              <p:cNvPr id="40" name="Rectangle 20"/>
              <p:cNvSpPr>
                <a:spLocks noChangeArrowheads="1"/>
              </p:cNvSpPr>
              <p:nvPr/>
            </p:nvSpPr>
            <p:spPr bwMode="auto">
              <a:xfrm>
                <a:off x="-5565775" y="5824538"/>
                <a:ext cx="1208088" cy="1208088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1"/>
              <p:cNvSpPr>
                <a:spLocks/>
              </p:cNvSpPr>
              <p:nvPr/>
            </p:nvSpPr>
            <p:spPr bwMode="auto">
              <a:xfrm>
                <a:off x="-4357689" y="5628359"/>
                <a:ext cx="461964" cy="1393824"/>
              </a:xfrm>
              <a:custGeom>
                <a:avLst/>
                <a:gdLst>
                  <a:gd name="T0" fmla="*/ 0 w 1168"/>
                  <a:gd name="T1" fmla="*/ 3512 h 3512"/>
                  <a:gd name="T2" fmla="*/ 1168 w 1168"/>
                  <a:gd name="T3" fmla="*/ 3043 h 3512"/>
                  <a:gd name="T4" fmla="*/ 1168 w 1168"/>
                  <a:gd name="T5" fmla="*/ 0 h 3512"/>
                  <a:gd name="T6" fmla="*/ 0 w 1168"/>
                  <a:gd name="T7" fmla="*/ 470 h 3512"/>
                  <a:gd name="T8" fmla="*/ 0 w 1168"/>
                  <a:gd name="T9" fmla="*/ 3512 h 3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8" h="3512">
                    <a:moveTo>
                      <a:pt x="0" y="3512"/>
                    </a:moveTo>
                    <a:lnTo>
                      <a:pt x="1168" y="3043"/>
                    </a:lnTo>
                    <a:lnTo>
                      <a:pt x="1168" y="0"/>
                    </a:lnTo>
                    <a:lnTo>
                      <a:pt x="0" y="470"/>
                    </a:lnTo>
                    <a:lnTo>
                      <a:pt x="0" y="3512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2"/>
              <p:cNvSpPr>
                <a:spLocks/>
              </p:cNvSpPr>
              <p:nvPr/>
            </p:nvSpPr>
            <p:spPr bwMode="auto">
              <a:xfrm>
                <a:off x="-5565775" y="5638800"/>
                <a:ext cx="1670050" cy="185738"/>
              </a:xfrm>
              <a:custGeom>
                <a:avLst/>
                <a:gdLst>
                  <a:gd name="T0" fmla="*/ 4208 w 4208"/>
                  <a:gd name="T1" fmla="*/ 0 h 470"/>
                  <a:gd name="T2" fmla="*/ 1166 w 4208"/>
                  <a:gd name="T3" fmla="*/ 0 h 470"/>
                  <a:gd name="T4" fmla="*/ 0 w 4208"/>
                  <a:gd name="T5" fmla="*/ 470 h 470"/>
                  <a:gd name="T6" fmla="*/ 3042 w 4208"/>
                  <a:gd name="T7" fmla="*/ 470 h 470"/>
                  <a:gd name="T8" fmla="*/ 4208 w 4208"/>
                  <a:gd name="T9" fmla="*/ 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08" h="470">
                    <a:moveTo>
                      <a:pt x="4208" y="0"/>
                    </a:moveTo>
                    <a:lnTo>
                      <a:pt x="1166" y="0"/>
                    </a:lnTo>
                    <a:lnTo>
                      <a:pt x="0" y="470"/>
                    </a:lnTo>
                    <a:lnTo>
                      <a:pt x="3042" y="470"/>
                    </a:lnTo>
                    <a:lnTo>
                      <a:pt x="4208" y="0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1522704" y="4191886"/>
              <a:ext cx="49084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>
                  <a:solidFill>
                    <a:schemeClr val="bg1"/>
                  </a:solidFill>
                </a:rPr>
                <a:t>R</a:t>
              </a:r>
            </a:p>
          </p:txBody>
        </p:sp>
      </p:grp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fr-FR" dirty="0" smtClean="0"/>
              <a:t>Jamais l’approche clientèle n’a été une science aussi humaine dans sa philosophie.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err="1" smtClean="0"/>
              <a:t>DataNest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r>
              <a:rPr lang="en-US" dirty="0"/>
              <a:t>3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ataNest</a:t>
            </a:r>
            <a:r>
              <a:rPr lang="en-US" dirty="0" smtClean="0"/>
              <a:t> : La smart data !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907962" y="3333839"/>
            <a:ext cx="1015673" cy="898375"/>
            <a:chOff x="1638627" y="3333839"/>
            <a:chExt cx="1015673" cy="898375"/>
          </a:xfrm>
          <a:effectLst/>
        </p:grpSpPr>
        <p:sp>
          <p:nvSpPr>
            <p:cNvPr id="45" name="Rectangle 20"/>
            <p:cNvSpPr>
              <a:spLocks noChangeArrowheads="1"/>
            </p:cNvSpPr>
            <p:nvPr/>
          </p:nvSpPr>
          <p:spPr bwMode="auto">
            <a:xfrm>
              <a:off x="1638627" y="3453149"/>
              <a:ext cx="734722" cy="734723"/>
            </a:xfrm>
            <a:prstGeom prst="rect">
              <a:avLst/>
            </a:prstGeom>
            <a:solidFill>
              <a:srgbClr val="2A9B1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2373348" y="3333839"/>
              <a:ext cx="280952" cy="847682"/>
            </a:xfrm>
            <a:custGeom>
              <a:avLst/>
              <a:gdLst>
                <a:gd name="T0" fmla="*/ 0 w 1168"/>
                <a:gd name="T1" fmla="*/ 3512 h 3512"/>
                <a:gd name="T2" fmla="*/ 1168 w 1168"/>
                <a:gd name="T3" fmla="*/ 3043 h 3512"/>
                <a:gd name="T4" fmla="*/ 1168 w 1168"/>
                <a:gd name="T5" fmla="*/ 0 h 3512"/>
                <a:gd name="T6" fmla="*/ 0 w 1168"/>
                <a:gd name="T7" fmla="*/ 470 h 3512"/>
                <a:gd name="T8" fmla="*/ 0 w 1168"/>
                <a:gd name="T9" fmla="*/ 351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3512">
                  <a:moveTo>
                    <a:pt x="0" y="3512"/>
                  </a:moveTo>
                  <a:lnTo>
                    <a:pt x="1168" y="3043"/>
                  </a:lnTo>
                  <a:lnTo>
                    <a:pt x="1168" y="0"/>
                  </a:lnTo>
                  <a:lnTo>
                    <a:pt x="0" y="470"/>
                  </a:lnTo>
                  <a:lnTo>
                    <a:pt x="0" y="3512"/>
                  </a:lnTo>
                  <a:close/>
                </a:path>
              </a:pathLst>
            </a:custGeom>
            <a:solidFill>
              <a:srgbClr val="227C1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1638627" y="3340189"/>
              <a:ext cx="1015673" cy="112960"/>
            </a:xfrm>
            <a:custGeom>
              <a:avLst/>
              <a:gdLst>
                <a:gd name="T0" fmla="*/ 4208 w 4208"/>
                <a:gd name="T1" fmla="*/ 0 h 470"/>
                <a:gd name="T2" fmla="*/ 1166 w 4208"/>
                <a:gd name="T3" fmla="*/ 0 h 470"/>
                <a:gd name="T4" fmla="*/ 0 w 4208"/>
                <a:gd name="T5" fmla="*/ 470 h 470"/>
                <a:gd name="T6" fmla="*/ 3042 w 4208"/>
                <a:gd name="T7" fmla="*/ 470 h 470"/>
                <a:gd name="T8" fmla="*/ 4208 w 4208"/>
                <a:gd name="T9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8" h="470">
                  <a:moveTo>
                    <a:pt x="4208" y="0"/>
                  </a:moveTo>
                  <a:lnTo>
                    <a:pt x="1166" y="0"/>
                  </a:lnTo>
                  <a:lnTo>
                    <a:pt x="0" y="470"/>
                  </a:lnTo>
                  <a:lnTo>
                    <a:pt x="3042" y="470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227C1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801350" y="3462773"/>
              <a:ext cx="511679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A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617070" y="2583322"/>
            <a:ext cx="1015673" cy="868907"/>
            <a:chOff x="1347735" y="2583322"/>
            <a:chExt cx="1015673" cy="868907"/>
          </a:xfrm>
          <a:effectLst/>
        </p:grpSpPr>
        <p:sp>
          <p:nvSpPr>
            <p:cNvPr id="49" name="Rectangle 20"/>
            <p:cNvSpPr>
              <a:spLocks noChangeArrowheads="1"/>
            </p:cNvSpPr>
            <p:nvPr/>
          </p:nvSpPr>
          <p:spPr bwMode="auto">
            <a:xfrm>
              <a:off x="1347735" y="2699457"/>
              <a:ext cx="734722" cy="734723"/>
            </a:xfrm>
            <a:prstGeom prst="rect">
              <a:avLst/>
            </a:prstGeom>
            <a:solidFill>
              <a:srgbClr val="E99E0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1"/>
            <p:cNvSpPr>
              <a:spLocks/>
            </p:cNvSpPr>
            <p:nvPr/>
          </p:nvSpPr>
          <p:spPr bwMode="auto">
            <a:xfrm>
              <a:off x="2082456" y="2583322"/>
              <a:ext cx="280952" cy="847682"/>
            </a:xfrm>
            <a:custGeom>
              <a:avLst/>
              <a:gdLst>
                <a:gd name="T0" fmla="*/ 0 w 1168"/>
                <a:gd name="T1" fmla="*/ 3512 h 3512"/>
                <a:gd name="T2" fmla="*/ 1168 w 1168"/>
                <a:gd name="T3" fmla="*/ 3043 h 3512"/>
                <a:gd name="T4" fmla="*/ 1168 w 1168"/>
                <a:gd name="T5" fmla="*/ 0 h 3512"/>
                <a:gd name="T6" fmla="*/ 0 w 1168"/>
                <a:gd name="T7" fmla="*/ 470 h 3512"/>
                <a:gd name="T8" fmla="*/ 0 w 1168"/>
                <a:gd name="T9" fmla="*/ 351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3512">
                  <a:moveTo>
                    <a:pt x="0" y="3512"/>
                  </a:moveTo>
                  <a:lnTo>
                    <a:pt x="1168" y="3043"/>
                  </a:lnTo>
                  <a:lnTo>
                    <a:pt x="1168" y="0"/>
                  </a:lnTo>
                  <a:lnTo>
                    <a:pt x="0" y="470"/>
                  </a:lnTo>
                  <a:lnTo>
                    <a:pt x="0" y="3512"/>
                  </a:lnTo>
                  <a:close/>
                </a:path>
              </a:pathLst>
            </a:custGeom>
            <a:solidFill>
              <a:srgbClr val="BA7E0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2"/>
            <p:cNvSpPr>
              <a:spLocks/>
            </p:cNvSpPr>
            <p:nvPr/>
          </p:nvSpPr>
          <p:spPr bwMode="auto">
            <a:xfrm>
              <a:off x="1347735" y="2586497"/>
              <a:ext cx="1015673" cy="112960"/>
            </a:xfrm>
            <a:custGeom>
              <a:avLst/>
              <a:gdLst>
                <a:gd name="T0" fmla="*/ 4208 w 4208"/>
                <a:gd name="T1" fmla="*/ 0 h 470"/>
                <a:gd name="T2" fmla="*/ 1166 w 4208"/>
                <a:gd name="T3" fmla="*/ 0 h 470"/>
                <a:gd name="T4" fmla="*/ 0 w 4208"/>
                <a:gd name="T5" fmla="*/ 470 h 470"/>
                <a:gd name="T6" fmla="*/ 3042 w 4208"/>
                <a:gd name="T7" fmla="*/ 470 h 470"/>
                <a:gd name="T8" fmla="*/ 4208 w 4208"/>
                <a:gd name="T9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8" h="470">
                  <a:moveTo>
                    <a:pt x="4208" y="0"/>
                  </a:moveTo>
                  <a:lnTo>
                    <a:pt x="1166" y="0"/>
                  </a:lnTo>
                  <a:lnTo>
                    <a:pt x="0" y="470"/>
                  </a:lnTo>
                  <a:lnTo>
                    <a:pt x="3042" y="470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BA7E0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415870" y="2682788"/>
              <a:ext cx="667170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M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968988" y="1827442"/>
            <a:ext cx="1015673" cy="853961"/>
            <a:chOff x="1699653" y="1827442"/>
            <a:chExt cx="1015673" cy="853961"/>
          </a:xfrm>
          <a:effectLst/>
        </p:grpSpPr>
        <p:sp>
          <p:nvSpPr>
            <p:cNvPr id="57" name="Rectangle 20"/>
            <p:cNvSpPr>
              <a:spLocks noChangeArrowheads="1"/>
            </p:cNvSpPr>
            <p:nvPr/>
          </p:nvSpPr>
          <p:spPr bwMode="auto">
            <a:xfrm>
              <a:off x="1699653" y="1940402"/>
              <a:ext cx="734722" cy="734723"/>
            </a:xfrm>
            <a:prstGeom prst="rect">
              <a:avLst/>
            </a:prstGeom>
            <a:solidFill>
              <a:srgbClr val="0D65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1"/>
            <p:cNvSpPr>
              <a:spLocks/>
            </p:cNvSpPr>
            <p:nvPr/>
          </p:nvSpPr>
          <p:spPr bwMode="auto">
            <a:xfrm>
              <a:off x="2434374" y="1827442"/>
              <a:ext cx="280952" cy="847682"/>
            </a:xfrm>
            <a:custGeom>
              <a:avLst/>
              <a:gdLst>
                <a:gd name="T0" fmla="*/ 0 w 1168"/>
                <a:gd name="T1" fmla="*/ 3512 h 3512"/>
                <a:gd name="T2" fmla="*/ 1168 w 1168"/>
                <a:gd name="T3" fmla="*/ 3043 h 3512"/>
                <a:gd name="T4" fmla="*/ 1168 w 1168"/>
                <a:gd name="T5" fmla="*/ 0 h 3512"/>
                <a:gd name="T6" fmla="*/ 0 w 1168"/>
                <a:gd name="T7" fmla="*/ 470 h 3512"/>
                <a:gd name="T8" fmla="*/ 0 w 1168"/>
                <a:gd name="T9" fmla="*/ 351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3512">
                  <a:moveTo>
                    <a:pt x="0" y="3512"/>
                  </a:moveTo>
                  <a:lnTo>
                    <a:pt x="1168" y="3043"/>
                  </a:lnTo>
                  <a:lnTo>
                    <a:pt x="1168" y="0"/>
                  </a:lnTo>
                  <a:lnTo>
                    <a:pt x="0" y="470"/>
                  </a:lnTo>
                  <a:lnTo>
                    <a:pt x="0" y="3512"/>
                  </a:lnTo>
                  <a:close/>
                </a:path>
              </a:pathLst>
            </a:custGeom>
            <a:solidFill>
              <a:srgbClr val="0A518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2"/>
            <p:cNvSpPr>
              <a:spLocks/>
            </p:cNvSpPr>
            <p:nvPr/>
          </p:nvSpPr>
          <p:spPr bwMode="auto">
            <a:xfrm>
              <a:off x="1699653" y="1827442"/>
              <a:ext cx="1015673" cy="112960"/>
            </a:xfrm>
            <a:custGeom>
              <a:avLst/>
              <a:gdLst>
                <a:gd name="T0" fmla="*/ 4208 w 4208"/>
                <a:gd name="T1" fmla="*/ 0 h 470"/>
                <a:gd name="T2" fmla="*/ 1166 w 4208"/>
                <a:gd name="T3" fmla="*/ 0 h 470"/>
                <a:gd name="T4" fmla="*/ 0 w 4208"/>
                <a:gd name="T5" fmla="*/ 470 h 470"/>
                <a:gd name="T6" fmla="*/ 3042 w 4208"/>
                <a:gd name="T7" fmla="*/ 470 h 470"/>
                <a:gd name="T8" fmla="*/ 4208 w 4208"/>
                <a:gd name="T9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8" h="470">
                  <a:moveTo>
                    <a:pt x="4208" y="0"/>
                  </a:moveTo>
                  <a:lnTo>
                    <a:pt x="1166" y="0"/>
                  </a:lnTo>
                  <a:lnTo>
                    <a:pt x="0" y="470"/>
                  </a:lnTo>
                  <a:lnTo>
                    <a:pt x="3042" y="470"/>
                  </a:lnTo>
                  <a:lnTo>
                    <a:pt x="4208" y="0"/>
                  </a:lnTo>
                  <a:close/>
                </a:path>
              </a:pathLst>
            </a:custGeom>
            <a:solidFill>
              <a:srgbClr val="0A518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870135" y="1911962"/>
              <a:ext cx="44435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400" dirty="0" smtClean="0">
                  <a:solidFill>
                    <a:schemeClr val="bg1"/>
                  </a:solidFill>
                </a:rPr>
                <a:t>S</a:t>
              </a:r>
              <a:endParaRPr lang="en-US" sz="4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2" name="Straight Connector 71"/>
          <p:cNvCxnSpPr/>
          <p:nvPr/>
        </p:nvCxnSpPr>
        <p:spPr>
          <a:xfrm>
            <a:off x="2923635" y="2237075"/>
            <a:ext cx="20839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2545810" y="2951450"/>
            <a:ext cx="2461746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2812510" y="3733800"/>
            <a:ext cx="2195046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555335" y="4448175"/>
            <a:ext cx="2452221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2850610" y="5200650"/>
            <a:ext cx="2156946" cy="0"/>
          </a:xfrm>
          <a:prstGeom prst="line">
            <a:avLst/>
          </a:prstGeom>
          <a:solidFill>
            <a:schemeClr val="accent1">
              <a:lumMod val="75000"/>
            </a:schemeClr>
          </a:solidFill>
          <a:ln w="12700" cmpd="sng">
            <a:solidFill>
              <a:srgbClr val="7F7F7F"/>
            </a:solidFill>
            <a:prstDash val="sysDash"/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Rectangle 33"/>
          <p:cNvSpPr>
            <a:spLocks/>
          </p:cNvSpPr>
          <p:nvPr/>
        </p:nvSpPr>
        <p:spPr bwMode="auto">
          <a:xfrm>
            <a:off x="5227481" y="1993488"/>
            <a:ext cx="2697319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La puissance du </a:t>
            </a:r>
            <a:r>
              <a:rPr lang="en-US" sz="1100" b="1" dirty="0" err="1" smtClean="0">
                <a:solidFill>
                  <a:schemeClr val="bg1"/>
                </a:solidFill>
              </a:rPr>
              <a:t>BigData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calibre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notre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précision</a:t>
            </a:r>
            <a:r>
              <a:rPr lang="en-US" sz="1100" b="1" dirty="0" smtClean="0">
                <a:solidFill>
                  <a:schemeClr val="bg1"/>
                </a:solidFill>
              </a:rPr>
              <a:t> pour se </a:t>
            </a:r>
            <a:r>
              <a:rPr lang="en-US" sz="1100" b="1" dirty="0" err="1" smtClean="0">
                <a:solidFill>
                  <a:schemeClr val="bg1"/>
                </a:solidFill>
              </a:rPr>
              <a:t>focaliser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sur</a:t>
            </a:r>
            <a:r>
              <a:rPr lang="en-US" sz="1100" b="1" dirty="0" smtClean="0">
                <a:solidFill>
                  <a:schemeClr val="bg1"/>
                </a:solidFill>
              </a:rPr>
              <a:t> un trait social en </a:t>
            </a:r>
            <a:r>
              <a:rPr lang="en-US" sz="1100" b="1" dirty="0" err="1" smtClean="0">
                <a:solidFill>
                  <a:schemeClr val="bg1"/>
                </a:solidFill>
              </a:rPr>
              <a:t>particulier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3" name="Rectangle 33"/>
          <p:cNvSpPr>
            <a:spLocks/>
          </p:cNvSpPr>
          <p:nvPr/>
        </p:nvSpPr>
        <p:spPr bwMode="auto">
          <a:xfrm>
            <a:off x="5227481" y="2699457"/>
            <a:ext cx="2697319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Les </a:t>
            </a:r>
            <a:r>
              <a:rPr lang="en-US" sz="1100" b="1" dirty="0" err="1" smtClean="0">
                <a:solidFill>
                  <a:schemeClr val="bg1"/>
                </a:solidFill>
              </a:rPr>
              <a:t>indicateurs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extraits</a:t>
            </a:r>
            <a:r>
              <a:rPr lang="en-US" sz="1100" b="1" dirty="0" smtClean="0">
                <a:solidFill>
                  <a:schemeClr val="bg1"/>
                </a:solidFill>
              </a:rPr>
              <a:t> de la </a:t>
            </a:r>
            <a:r>
              <a:rPr lang="en-US" sz="1100" b="1" dirty="0" err="1" smtClean="0">
                <a:solidFill>
                  <a:schemeClr val="bg1"/>
                </a:solidFill>
              </a:rPr>
              <a:t>foule</a:t>
            </a:r>
            <a:r>
              <a:rPr lang="en-US" sz="1100" b="1" dirty="0" smtClean="0">
                <a:solidFill>
                  <a:schemeClr val="bg1"/>
                </a:solidFill>
              </a:rPr>
              <a:t> de </a:t>
            </a:r>
            <a:r>
              <a:rPr lang="en-US" sz="1100" b="1" dirty="0" err="1" smtClean="0">
                <a:solidFill>
                  <a:schemeClr val="bg1"/>
                </a:solidFill>
              </a:rPr>
              <a:t>données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sont</a:t>
            </a:r>
            <a:r>
              <a:rPr lang="en-US" sz="1100" b="1" dirty="0" smtClean="0">
                <a:solidFill>
                  <a:schemeClr val="bg1"/>
                </a:solidFill>
              </a:rPr>
              <a:t> quantifiable et </a:t>
            </a:r>
            <a:r>
              <a:rPr lang="en-US" sz="1100" b="1" dirty="0" err="1" smtClean="0">
                <a:solidFill>
                  <a:schemeClr val="bg1"/>
                </a:solidFill>
              </a:rPr>
              <a:t>directemen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appréciables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mathématiquement</a:t>
            </a:r>
            <a:r>
              <a:rPr lang="en-US" sz="1100" b="1" dirty="0" smtClean="0">
                <a:solidFill>
                  <a:schemeClr val="bg1"/>
                </a:solidFill>
              </a:rPr>
              <a:t>.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7" name="Rectangle 33"/>
          <p:cNvSpPr>
            <a:spLocks/>
          </p:cNvSpPr>
          <p:nvPr/>
        </p:nvSpPr>
        <p:spPr bwMode="auto">
          <a:xfrm>
            <a:off x="5227481" y="3535118"/>
            <a:ext cx="2697319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Les </a:t>
            </a:r>
            <a:r>
              <a:rPr lang="en-US" sz="1100" b="1" dirty="0" err="1" smtClean="0">
                <a:solidFill>
                  <a:schemeClr val="bg1"/>
                </a:solidFill>
              </a:rPr>
              <a:t>objectifs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attaignables</a:t>
            </a:r>
            <a:r>
              <a:rPr lang="en-US" sz="1100" b="1" dirty="0" smtClean="0">
                <a:solidFill>
                  <a:schemeClr val="bg1"/>
                </a:solidFill>
              </a:rPr>
              <a:t> de </a:t>
            </a:r>
            <a:r>
              <a:rPr lang="en-US" sz="1100" b="1" dirty="0" err="1" smtClean="0">
                <a:solidFill>
                  <a:schemeClr val="bg1"/>
                </a:solidFill>
              </a:rPr>
              <a:t>nos</a:t>
            </a:r>
            <a:r>
              <a:rPr lang="en-US" sz="1100" b="1" dirty="0" smtClean="0">
                <a:solidFill>
                  <a:schemeClr val="bg1"/>
                </a:solidFill>
              </a:rPr>
              <a:t> clients </a:t>
            </a:r>
            <a:r>
              <a:rPr lang="en-US" sz="1100" b="1" dirty="0" err="1" smtClean="0">
                <a:solidFill>
                  <a:schemeClr val="bg1"/>
                </a:solidFill>
              </a:rPr>
              <a:t>son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revélés</a:t>
            </a:r>
            <a:r>
              <a:rPr lang="en-US" sz="1100" b="1" dirty="0" smtClean="0">
                <a:solidFill>
                  <a:schemeClr val="bg1"/>
                </a:solidFill>
              </a:rPr>
              <a:t> à </a:t>
            </a:r>
            <a:r>
              <a:rPr lang="en-US" sz="1100" b="1" dirty="0" err="1" smtClean="0">
                <a:solidFill>
                  <a:schemeClr val="bg1"/>
                </a:solidFill>
              </a:rPr>
              <a:t>l’odre</a:t>
            </a:r>
            <a:r>
              <a:rPr lang="en-US" sz="1100" b="1" dirty="0" smtClean="0">
                <a:solidFill>
                  <a:schemeClr val="bg1"/>
                </a:solidFill>
              </a:rPr>
              <a:t> du jour et </a:t>
            </a:r>
            <a:r>
              <a:rPr lang="en-US" sz="1100" b="1" dirty="0" err="1" smtClean="0">
                <a:solidFill>
                  <a:schemeClr val="bg1"/>
                </a:solidFill>
              </a:rPr>
              <a:t>son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exploités</a:t>
            </a:r>
            <a:r>
              <a:rPr lang="en-US" sz="1100" b="1" dirty="0" smtClean="0">
                <a:solidFill>
                  <a:schemeClr val="bg1"/>
                </a:solidFill>
              </a:rPr>
              <a:t> du </a:t>
            </a:r>
            <a:r>
              <a:rPr lang="en-US" sz="1100" b="1" dirty="0" err="1" smtClean="0">
                <a:solidFill>
                  <a:schemeClr val="bg1"/>
                </a:solidFill>
              </a:rPr>
              <a:t>mieux</a:t>
            </a:r>
            <a:r>
              <a:rPr lang="en-US" sz="1100" b="1" dirty="0" smtClean="0">
                <a:solidFill>
                  <a:schemeClr val="bg1"/>
                </a:solidFill>
              </a:rPr>
              <a:t> possible.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8" name="Rectangle 33"/>
          <p:cNvSpPr>
            <a:spLocks/>
          </p:cNvSpPr>
          <p:nvPr/>
        </p:nvSpPr>
        <p:spPr bwMode="auto">
          <a:xfrm>
            <a:off x="5227481" y="4241087"/>
            <a:ext cx="2697319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Les </a:t>
            </a:r>
            <a:r>
              <a:rPr lang="en-US" sz="1100" b="1" dirty="0" err="1" smtClean="0">
                <a:solidFill>
                  <a:schemeClr val="bg1"/>
                </a:solidFill>
              </a:rPr>
              <a:t>indicateurs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que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cultive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DataNes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son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stratégiques</a:t>
            </a:r>
            <a:r>
              <a:rPr lang="en-US" sz="1100" b="1" dirty="0" smtClean="0">
                <a:solidFill>
                  <a:schemeClr val="bg1"/>
                </a:solidFill>
              </a:rPr>
              <a:t> pour </a:t>
            </a:r>
            <a:r>
              <a:rPr lang="en-US" sz="1100" b="1" dirty="0" err="1" smtClean="0">
                <a:solidFill>
                  <a:schemeClr val="bg1"/>
                </a:solidFill>
              </a:rPr>
              <a:t>notre</a:t>
            </a:r>
            <a:r>
              <a:rPr lang="en-US" sz="1100" b="1" dirty="0" smtClean="0">
                <a:solidFill>
                  <a:schemeClr val="bg1"/>
                </a:solidFill>
              </a:rPr>
              <a:t> client et </a:t>
            </a:r>
            <a:r>
              <a:rPr lang="en-US" sz="1100" b="1" dirty="0" err="1" smtClean="0">
                <a:solidFill>
                  <a:schemeClr val="bg1"/>
                </a:solidFill>
              </a:rPr>
              <a:t>on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été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soigneusement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moulés</a:t>
            </a:r>
            <a:r>
              <a:rPr lang="en-US" sz="1100" b="1" dirty="0" smtClean="0">
                <a:solidFill>
                  <a:schemeClr val="bg1"/>
                </a:solidFill>
              </a:rPr>
              <a:t> à </a:t>
            </a:r>
            <a:r>
              <a:rPr lang="en-US" sz="1100" b="1" dirty="0" err="1" smtClean="0">
                <a:solidFill>
                  <a:schemeClr val="bg1"/>
                </a:solidFill>
              </a:rPr>
              <a:t>ses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besoins</a:t>
            </a:r>
            <a:r>
              <a:rPr lang="en-US" sz="1100" b="1" dirty="0" smtClean="0">
                <a:solidFill>
                  <a:schemeClr val="bg1"/>
                </a:solidFill>
              </a:rPr>
              <a:t>.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9" name="Rectangle 33"/>
          <p:cNvSpPr>
            <a:spLocks/>
          </p:cNvSpPr>
          <p:nvPr/>
        </p:nvSpPr>
        <p:spPr bwMode="auto">
          <a:xfrm>
            <a:off x="5227481" y="4934405"/>
            <a:ext cx="2316319" cy="487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38100" tIns="38100" rIns="38100" bIns="38100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Le </a:t>
            </a:r>
            <a:r>
              <a:rPr lang="en-US" sz="1100" b="1" dirty="0" err="1" smtClean="0">
                <a:solidFill>
                  <a:schemeClr val="bg1"/>
                </a:solidFill>
              </a:rPr>
              <a:t>facteur</a:t>
            </a:r>
            <a:r>
              <a:rPr lang="en-US" sz="1100" b="1" dirty="0" smtClean="0">
                <a:solidFill>
                  <a:schemeClr val="bg1"/>
                </a:solidFill>
              </a:rPr>
              <a:t>-temps fait </a:t>
            </a:r>
            <a:r>
              <a:rPr lang="en-US" sz="1100" b="1" dirty="0" err="1" smtClean="0">
                <a:solidFill>
                  <a:schemeClr val="bg1"/>
                </a:solidFill>
              </a:rPr>
              <a:t>partie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intégrante</a:t>
            </a:r>
            <a:r>
              <a:rPr lang="en-US" sz="1100" b="1" dirty="0" smtClean="0">
                <a:solidFill>
                  <a:schemeClr val="bg1"/>
                </a:solidFill>
              </a:rPr>
              <a:t> des </a:t>
            </a:r>
            <a:r>
              <a:rPr lang="en-US" sz="1100" b="1" dirty="0" err="1" smtClean="0">
                <a:solidFill>
                  <a:schemeClr val="bg1"/>
                </a:solidFill>
              </a:rPr>
              <a:t>sens</a:t>
            </a:r>
            <a:r>
              <a:rPr lang="en-US" sz="1100" b="1" dirty="0" smtClean="0">
                <a:solidFill>
                  <a:schemeClr val="bg1"/>
                </a:solidFill>
              </a:rPr>
              <a:t> de </a:t>
            </a:r>
            <a:r>
              <a:rPr lang="en-US" sz="1100" b="1" dirty="0" err="1" smtClean="0">
                <a:solidFill>
                  <a:schemeClr val="bg1"/>
                </a:solidFill>
              </a:rPr>
              <a:t>compréhension</a:t>
            </a:r>
            <a:r>
              <a:rPr lang="en-US" sz="1100" b="1" dirty="0" smtClean="0">
                <a:solidFill>
                  <a:schemeClr val="bg1"/>
                </a:solidFill>
              </a:rPr>
              <a:t> du </a:t>
            </a:r>
            <a:r>
              <a:rPr lang="en-US" sz="1100" b="1" dirty="0" err="1" smtClean="0">
                <a:solidFill>
                  <a:schemeClr val="bg1"/>
                </a:solidFill>
              </a:rPr>
              <a:t>moteur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</a:rPr>
              <a:t>DataNest</a:t>
            </a:r>
            <a:r>
              <a:rPr lang="en-US" sz="1100" b="1" dirty="0" smtClean="0">
                <a:solidFill>
                  <a:schemeClr val="bg1"/>
                </a:solidFill>
              </a:rPr>
              <a:t>.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12502" y="1970177"/>
            <a:ext cx="7290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SPECIFI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622112" y="2681773"/>
            <a:ext cx="10660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MEASURABL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000138" y="3471057"/>
            <a:ext cx="965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ATTAINABL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675127" y="4182653"/>
            <a:ext cx="8417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RELEVAN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005343" y="4946213"/>
            <a:ext cx="1050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TIME-BOUND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015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1" name="Straight Connector 220"/>
          <p:cNvCxnSpPr/>
          <p:nvPr/>
        </p:nvCxnSpPr>
        <p:spPr>
          <a:xfrm>
            <a:off x="3987800" y="2396692"/>
            <a:ext cx="1117600" cy="2726267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 flipH="1">
            <a:off x="3987800" y="2396692"/>
            <a:ext cx="1117600" cy="2726267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>
            <a:off x="3385585" y="3227298"/>
            <a:ext cx="2431327" cy="1134041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/>
        </p:nvCxnSpPr>
        <p:spPr>
          <a:xfrm flipH="1">
            <a:off x="3385585" y="3227298"/>
            <a:ext cx="2431327" cy="1134041"/>
          </a:xfrm>
          <a:prstGeom prst="line">
            <a:avLst/>
          </a:prstGeom>
          <a:ln w="12700">
            <a:solidFill>
              <a:srgbClr val="0D65A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smtClean="0"/>
              <a:t>Pour </a:t>
            </a:r>
            <a:r>
              <a:rPr lang="en-US" dirty="0" err="1" smtClean="0"/>
              <a:t>vous</a:t>
            </a:r>
            <a:r>
              <a:rPr lang="en-US" dirty="0" smtClean="0"/>
              <a:t>, </a:t>
            </a:r>
            <a:r>
              <a:rPr lang="en-US" dirty="0" err="1" smtClean="0"/>
              <a:t>dont</a:t>
            </a:r>
            <a:r>
              <a:rPr lang="en-US" dirty="0" smtClean="0"/>
              <a:t> le capital de </a:t>
            </a:r>
            <a:r>
              <a:rPr lang="en-US" dirty="0" err="1" smtClean="0"/>
              <a:t>notoriété</a:t>
            </a:r>
            <a:r>
              <a:rPr lang="en-US" dirty="0" smtClean="0"/>
              <a:t> </a:t>
            </a:r>
            <a:r>
              <a:rPr lang="en-US" dirty="0" err="1" smtClean="0"/>
              <a:t>social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décisif</a:t>
            </a:r>
            <a:r>
              <a:rPr lang="en-US" dirty="0" smtClean="0"/>
              <a:t> pour </a:t>
            </a:r>
            <a:r>
              <a:rPr lang="en-US" dirty="0" err="1" smtClean="0"/>
              <a:t>votre</a:t>
            </a:r>
            <a:r>
              <a:rPr lang="en-US" dirty="0" smtClean="0"/>
              <a:t> </a:t>
            </a:r>
            <a:r>
              <a:rPr lang="en-US" dirty="0" err="1" smtClean="0"/>
              <a:t>entreprise</a:t>
            </a:r>
            <a:r>
              <a:rPr lang="en-US" dirty="0"/>
              <a:t>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4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 dirty="0" err="1" smtClean="0"/>
              <a:t>DataNest</a:t>
            </a:r>
            <a:r>
              <a:rPr lang="en-US" dirty="0" smtClean="0"/>
              <a:t>, </a:t>
            </a:r>
            <a:r>
              <a:rPr lang="en-US" dirty="0" err="1" smtClean="0"/>
              <a:t>c’est</a:t>
            </a:r>
            <a:r>
              <a:rPr lang="en-US" dirty="0" smtClean="0"/>
              <a:t> pour qui ?</a:t>
            </a:r>
            <a:endParaRPr lang="en-US" dirty="0">
              <a:latin typeface="+mn-lt"/>
            </a:endParaRPr>
          </a:p>
        </p:txBody>
      </p:sp>
      <p:sp>
        <p:nvSpPr>
          <p:cNvPr id="201" name="Oval 200"/>
          <p:cNvSpPr/>
          <p:nvPr/>
        </p:nvSpPr>
        <p:spPr>
          <a:xfrm>
            <a:off x="2405304" y="2480308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2" name="Oval 201"/>
          <p:cNvSpPr/>
          <p:nvPr/>
        </p:nvSpPr>
        <p:spPr>
          <a:xfrm>
            <a:off x="2405304" y="3876716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3" name="Oval 202"/>
          <p:cNvSpPr/>
          <p:nvPr/>
        </p:nvSpPr>
        <p:spPr>
          <a:xfrm>
            <a:off x="5638800" y="2480308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4" name="Oval 203"/>
          <p:cNvSpPr/>
          <p:nvPr/>
        </p:nvSpPr>
        <p:spPr>
          <a:xfrm>
            <a:off x="5638800" y="3876717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5" name="Oval 204"/>
          <p:cNvSpPr/>
          <p:nvPr/>
        </p:nvSpPr>
        <p:spPr>
          <a:xfrm>
            <a:off x="3352800" y="15240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6" name="Oval 205"/>
          <p:cNvSpPr/>
          <p:nvPr/>
        </p:nvSpPr>
        <p:spPr>
          <a:xfrm>
            <a:off x="4648200" y="15240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7" name="Oval 206"/>
          <p:cNvSpPr/>
          <p:nvPr/>
        </p:nvSpPr>
        <p:spPr>
          <a:xfrm>
            <a:off x="3352800" y="48006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8" name="Oval 207"/>
          <p:cNvSpPr/>
          <p:nvPr/>
        </p:nvSpPr>
        <p:spPr>
          <a:xfrm>
            <a:off x="4648200" y="4800600"/>
            <a:ext cx="1135927" cy="1135927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3276600" y="1792069"/>
            <a:ext cx="12892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Les </a:t>
            </a:r>
            <a:r>
              <a:rPr lang="en-US" sz="1200" b="1" dirty="0" err="1" smtClean="0">
                <a:solidFill>
                  <a:srgbClr val="000000"/>
                </a:solidFill>
              </a:rPr>
              <a:t>personalités</a:t>
            </a:r>
            <a:r>
              <a:rPr lang="en-US" sz="1200" b="1" dirty="0" smtClean="0">
                <a:solidFill>
                  <a:srgbClr val="000000"/>
                </a:solidFill>
              </a:rPr>
              <a:t> du 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show-busines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4590642" y="1953464"/>
            <a:ext cx="12510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000000"/>
                </a:solidFill>
              </a:rPr>
              <a:t>Gouvernement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1" name="Rectangle 210"/>
          <p:cNvSpPr/>
          <p:nvPr/>
        </p:nvSpPr>
        <p:spPr>
          <a:xfrm>
            <a:off x="5719257" y="2817439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Offices de </a:t>
            </a:r>
            <a:r>
              <a:rPr lang="en-US" sz="1200" b="1" dirty="0" err="1" smtClean="0">
                <a:solidFill>
                  <a:srgbClr val="000000"/>
                </a:solidFill>
              </a:rPr>
              <a:t>Tourism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5638800" y="4154269"/>
            <a:ext cx="11387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000000"/>
                </a:solidFill>
              </a:rPr>
              <a:t>Sociétés</a:t>
            </a:r>
            <a:r>
              <a:rPr lang="en-US" sz="1200" b="1" dirty="0" smtClean="0">
                <a:solidFill>
                  <a:srgbClr val="000000"/>
                </a:solidFill>
              </a:rPr>
              <a:t> à fort aspect </a:t>
            </a:r>
            <a:r>
              <a:rPr lang="en-US" sz="1200" b="1" dirty="0" err="1" smtClean="0">
                <a:solidFill>
                  <a:srgbClr val="000000"/>
                </a:solidFill>
              </a:rPr>
              <a:t>technologiqu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4728657" y="4960203"/>
            <a:ext cx="975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000000"/>
                </a:solidFill>
              </a:rPr>
              <a:t>Société</a:t>
            </a:r>
            <a:r>
              <a:rPr lang="en-US" sz="1200" b="1" dirty="0" smtClean="0">
                <a:solidFill>
                  <a:srgbClr val="000000"/>
                </a:solidFill>
              </a:rPr>
              <a:t> au </a:t>
            </a:r>
            <a:r>
              <a:rPr lang="en-US" sz="1200" b="1" dirty="0" err="1" smtClean="0">
                <a:solidFill>
                  <a:srgbClr val="000000"/>
                </a:solidFill>
              </a:rPr>
              <a:t>spectre</a:t>
            </a:r>
            <a:r>
              <a:rPr lang="en-US" sz="1200" b="1" dirty="0" smtClean="0">
                <a:solidFill>
                  <a:srgbClr val="000000"/>
                </a:solidFill>
              </a:rPr>
              <a:t>-client large </a:t>
            </a:r>
            <a:r>
              <a:rPr lang="en-US" sz="1200" b="1" dirty="0" err="1" smtClean="0">
                <a:solidFill>
                  <a:srgbClr val="000000"/>
                </a:solidFill>
              </a:rPr>
              <a:t>bande</a:t>
            </a:r>
            <a:r>
              <a:rPr lang="en-US" sz="1200" b="1" dirty="0" smtClean="0">
                <a:solidFill>
                  <a:srgbClr val="000000"/>
                </a:solidFill>
              </a:rPr>
              <a:t>.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3402634" y="4960203"/>
            <a:ext cx="10597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000000"/>
                </a:solidFill>
              </a:rPr>
              <a:t>Corporations à besoin en recrutement spécifiques.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2485761" y="4213847"/>
            <a:ext cx="975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Les </a:t>
            </a:r>
            <a:r>
              <a:rPr lang="en-US" sz="1200" b="1" dirty="0" err="1" smtClean="0">
                <a:solidFill>
                  <a:srgbClr val="000000"/>
                </a:solidFill>
              </a:rPr>
              <a:t>acteurs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</a:rPr>
              <a:t>politique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2362200" y="2750403"/>
            <a:ext cx="12480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Les </a:t>
            </a:r>
            <a:r>
              <a:rPr lang="en-US" sz="1200" b="1" dirty="0" err="1" smtClean="0">
                <a:solidFill>
                  <a:srgbClr val="000000"/>
                </a:solidFill>
              </a:rPr>
              <a:t>investisseurs</a:t>
            </a:r>
            <a:r>
              <a:rPr lang="en-US" sz="1200" b="1" dirty="0" smtClean="0">
                <a:solidFill>
                  <a:srgbClr val="000000"/>
                </a:solidFill>
              </a:rPr>
              <a:t> se </a:t>
            </a:r>
            <a:r>
              <a:rPr lang="en-US" sz="1200" b="1" dirty="0" err="1" smtClean="0">
                <a:solidFill>
                  <a:srgbClr val="000000"/>
                </a:solidFill>
              </a:rPr>
              <a:t>tournant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 err="1" smtClean="0">
                <a:solidFill>
                  <a:srgbClr val="000000"/>
                </a:solidFill>
              </a:rPr>
              <a:t>vers</a:t>
            </a:r>
            <a:r>
              <a:rPr lang="en-US" sz="1200" b="1" dirty="0" smtClean="0">
                <a:solidFill>
                  <a:srgbClr val="000000"/>
                </a:solidFill>
              </a:rPr>
              <a:t> un nouveau </a:t>
            </a:r>
            <a:r>
              <a:rPr lang="en-US" sz="1200" b="1" dirty="0" err="1" smtClean="0">
                <a:solidFill>
                  <a:srgbClr val="000000"/>
                </a:solidFill>
              </a:rPr>
              <a:t>marché</a:t>
            </a:r>
            <a:endParaRPr lang="en-US" sz="1200" b="1" dirty="0">
              <a:solidFill>
                <a:srgbClr val="000000"/>
              </a:solidFill>
            </a:endParaRPr>
          </a:p>
        </p:txBody>
      </p:sp>
      <p:grpSp>
        <p:nvGrpSpPr>
          <p:cNvPr id="224" name="Group 223"/>
          <p:cNvGrpSpPr/>
          <p:nvPr/>
        </p:nvGrpSpPr>
        <p:grpSpPr>
          <a:xfrm>
            <a:off x="3541231" y="2716866"/>
            <a:ext cx="2061539" cy="2061539"/>
            <a:chOff x="3541231" y="2716866"/>
            <a:chExt cx="2061539" cy="2061539"/>
          </a:xfrm>
        </p:grpSpPr>
        <p:sp>
          <p:nvSpPr>
            <p:cNvPr id="200" name="Oval 199"/>
            <p:cNvSpPr/>
            <p:nvPr/>
          </p:nvSpPr>
          <p:spPr>
            <a:xfrm>
              <a:off x="3541231" y="2716866"/>
              <a:ext cx="2061539" cy="2061539"/>
            </a:xfrm>
            <a:prstGeom prst="ellipse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r>
                <a:rPr lang="fr-FR" sz="2400" b="1" dirty="0" smtClean="0">
                  <a:solidFill>
                    <a:schemeClr val="bg1"/>
                  </a:solidFill>
                </a:rPr>
                <a:t>Les prospects de </a:t>
              </a:r>
              <a:r>
                <a:rPr lang="fr-FR" sz="2400" b="1" dirty="0" err="1" smtClean="0">
                  <a:solidFill>
                    <a:schemeClr val="bg1"/>
                  </a:solidFill>
                </a:rPr>
                <a:t>DataNest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23" name="Oval 222"/>
            <p:cNvSpPr/>
            <p:nvPr/>
          </p:nvSpPr>
          <p:spPr>
            <a:xfrm>
              <a:off x="3625702" y="2801337"/>
              <a:ext cx="1892597" cy="1892597"/>
            </a:xfrm>
            <a:prstGeom prst="ellipse">
              <a:avLst/>
            </a:prstGeom>
            <a:noFill/>
            <a:ln>
              <a:solidFill>
                <a:srgbClr val="D5D5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fr-FR" dirty="0" err="1" smtClean="0"/>
              <a:t>DataNes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6180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1" grpId="0" animBg="1"/>
      <p:bldP spid="202" grpId="0" animBg="1"/>
      <p:bldP spid="203" grpId="0" animBg="1"/>
      <p:bldP spid="204" grpId="0" animBg="1"/>
      <p:bldP spid="205" grpId="0" animBg="1"/>
      <p:bldP spid="206" grpId="0" animBg="1"/>
      <p:bldP spid="207" grpId="0" animBg="1"/>
      <p:bldP spid="208" grpId="0" animBg="1"/>
      <p:bldP spid="209" grpId="0"/>
      <p:bldP spid="210" grpId="0"/>
      <p:bldP spid="211" grpId="0"/>
      <p:bldP spid="212" grpId="0"/>
      <p:bldP spid="213" grpId="0"/>
      <p:bldP spid="214" grpId="0"/>
      <p:bldP spid="215" grpId="0"/>
      <p:bldP spid="2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La valeur ajoutée de </a:t>
            </a:r>
            <a:r>
              <a:rPr lang="fr-FR" dirty="0" err="1" smtClean="0"/>
              <a:t>DataNest</a:t>
            </a:r>
            <a:endParaRPr lang="en-US" dirty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/>
              <a:t>5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COUTS</a:t>
            </a:r>
            <a:r>
              <a:rPr lang="en-US" sz="1100" dirty="0" smtClean="0">
                <a:solidFill>
                  <a:srgbClr val="7F8C8D"/>
                </a:solidFill>
                <a:latin typeface="Calibri Light" pitchFamily="34" charset="0"/>
              </a:rPr>
              <a:t> </a:t>
            </a:r>
            <a:endParaRPr lang="en-US" sz="1100" dirty="0">
              <a:solidFill>
                <a:srgbClr val="7F8C8D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101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02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03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108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09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10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111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675396" y="5715000"/>
            <a:ext cx="392447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Cost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280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La valeur ajoutée de </a:t>
            </a:r>
            <a:r>
              <a:rPr lang="fr-FR" dirty="0" err="1"/>
              <a:t>DataNest</a:t>
            </a:r>
            <a:endParaRPr lang="en-US" dirty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/>
              <a:t>6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2224117" y="5706070"/>
            <a:ext cx="474360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Human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839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La valeur ajoutée de </a:t>
            </a:r>
            <a:r>
              <a:rPr lang="fr-FR" dirty="0" err="1" smtClean="0"/>
              <a:t>DataNest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/>
              <a:t>7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795621" y="5715000"/>
            <a:ext cx="368402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ROI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7878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7F8C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La valeur ajoutée de </a:t>
            </a:r>
            <a:r>
              <a:rPr lang="fr-FR" dirty="0" err="1"/>
              <a:t>DataNest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 dirty="0"/>
              <a:t>8</a:t>
            </a:r>
            <a:endParaRPr lang="en-US" dirty="0"/>
          </a:p>
        </p:txBody>
      </p:sp>
      <p:sp>
        <p:nvSpPr>
          <p:cNvPr id="237" name="Rectangle 236"/>
          <p:cNvSpPr/>
          <p:nvPr/>
        </p:nvSpPr>
        <p:spPr>
          <a:xfrm>
            <a:off x="695469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OUTS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95469" y="2413251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SSISE CLIENTE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95469" y="3238005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CAPITAL SOCIAL MESURAB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95469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DONNEES FIABLES</a:t>
            </a:r>
            <a:endParaRPr lang="id-ID" sz="1200" dirty="0" smtClean="0">
              <a:solidFill>
                <a:schemeClr val="tx2">
                  <a:lumMod val="60000"/>
                  <a:lumOff val="4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42468" y="1480922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Ingénierie Clientè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6842468" y="2413251"/>
            <a:ext cx="1605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FLUIDITE COMMERCIALE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6842468" y="3238005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SERVICES</a:t>
            </a:r>
            <a:r>
              <a:rPr lang="fr-FR" sz="1200" b="1" dirty="0">
                <a:solidFill>
                  <a:srgbClr val="7F8C8D"/>
                </a:solidFill>
                <a:latin typeface="Calibri Light" panose="020F0302020204030204" pitchFamily="34" charset="0"/>
              </a:rPr>
              <a:t> </a:t>
            </a:r>
            <a:r>
              <a:rPr lang="fr-FR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ADAPTES</a:t>
            </a:r>
            <a:endParaRPr lang="id-ID" sz="1200" dirty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842468" y="4170334"/>
            <a:ext cx="16054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d-ID" sz="1200" b="1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MANAGEMENT</a:t>
            </a:r>
            <a:endParaRPr lang="id-ID" sz="1200" dirty="0" smtClean="0">
              <a:solidFill>
                <a:srgbClr val="7F8C8D"/>
              </a:solidFill>
              <a:latin typeface="Calibri Light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268135" y="2092933"/>
            <a:ext cx="2613632" cy="2613631"/>
          </a:xfrm>
          <a:prstGeom prst="ellipse">
            <a:avLst/>
          </a:prstGeom>
          <a:noFill/>
          <a:ln w="38100" cap="rnd">
            <a:solidFill>
              <a:srgbClr val="D6DAD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15" name="Group 214"/>
          <p:cNvGrpSpPr/>
          <p:nvPr/>
        </p:nvGrpSpPr>
        <p:grpSpPr>
          <a:xfrm>
            <a:off x="4018921" y="2843718"/>
            <a:ext cx="1112060" cy="1112060"/>
            <a:chOff x="930222" y="2819400"/>
            <a:chExt cx="1219200" cy="1219200"/>
          </a:xfrm>
        </p:grpSpPr>
        <p:sp>
          <p:nvSpPr>
            <p:cNvPr id="216" name="Oval 215"/>
            <p:cNvSpPr/>
            <p:nvPr/>
          </p:nvSpPr>
          <p:spPr>
            <a:xfrm>
              <a:off x="930222" y="2819400"/>
              <a:ext cx="1219200" cy="121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17" name="Oval 216"/>
            <p:cNvSpPr/>
            <p:nvPr/>
          </p:nvSpPr>
          <p:spPr>
            <a:xfrm>
              <a:off x="1015387" y="2904565"/>
              <a:ext cx="1048871" cy="1048871"/>
            </a:xfrm>
            <a:prstGeom prst="ellipse">
              <a:avLst/>
            </a:prstGeom>
            <a:solidFill>
              <a:srgbClr val="E74C3C"/>
            </a:solidFill>
            <a:ln w="38100">
              <a:solidFill>
                <a:srgbClr val="D6DA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190" name="Oval 189"/>
          <p:cNvSpPr/>
          <p:nvPr/>
        </p:nvSpPr>
        <p:spPr>
          <a:xfrm>
            <a:off x="2915368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9" name="Oval 198"/>
          <p:cNvSpPr/>
          <p:nvPr/>
        </p:nvSpPr>
        <p:spPr>
          <a:xfrm>
            <a:off x="5494514" y="30297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52" name="Oval 151"/>
          <p:cNvSpPr/>
          <p:nvPr/>
        </p:nvSpPr>
        <p:spPr>
          <a:xfrm>
            <a:off x="3307530" y="2191537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3" name="Oval 192"/>
          <p:cNvSpPr/>
          <p:nvPr/>
        </p:nvSpPr>
        <p:spPr>
          <a:xfrm>
            <a:off x="3307530" y="3867938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196" name="Oval 195"/>
          <p:cNvSpPr/>
          <p:nvPr/>
        </p:nvSpPr>
        <p:spPr>
          <a:xfrm>
            <a:off x="5033265" y="2184825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2" name="Oval 201"/>
          <p:cNvSpPr/>
          <p:nvPr/>
        </p:nvSpPr>
        <p:spPr>
          <a:xfrm>
            <a:off x="5033265" y="3874651"/>
            <a:ext cx="740020" cy="74002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5" name="Oval 204"/>
          <p:cNvSpPr/>
          <p:nvPr/>
        </p:nvSpPr>
        <p:spPr>
          <a:xfrm>
            <a:off x="4170397" y="4305034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08" name="Oval 207"/>
          <p:cNvSpPr/>
          <p:nvPr/>
        </p:nvSpPr>
        <p:spPr>
          <a:xfrm>
            <a:off x="4170397" y="1754442"/>
            <a:ext cx="740020" cy="740020"/>
          </a:xfrm>
          <a:prstGeom prst="ellipse">
            <a:avLst/>
          </a:prstGeom>
          <a:solidFill>
            <a:srgbClr val="7F8C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/>
          </a:p>
        </p:txBody>
      </p:sp>
      <p:sp>
        <p:nvSpPr>
          <p:cNvPr id="214" name="Rectangle 213"/>
          <p:cNvSpPr/>
          <p:nvPr/>
        </p:nvSpPr>
        <p:spPr>
          <a:xfrm>
            <a:off x="4104009" y="3087469"/>
            <a:ext cx="9418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La valeur ajoutée </a:t>
            </a:r>
            <a:r>
              <a:rPr lang="fr-FR" sz="1200" b="1" dirty="0" err="1" smtClean="0">
                <a:solidFill>
                  <a:schemeClr val="bg1"/>
                </a:solidFill>
                <a:latin typeface="Calibri Light" panose="020F0302020204030204" pitchFamily="34" charset="0"/>
              </a:rPr>
              <a:t>DataNest</a:t>
            </a:r>
            <a:endParaRPr lang="id-ID" sz="1200" b="1" dirty="0">
              <a:solidFill>
                <a:schemeClr val="bg1"/>
              </a:solidFill>
            </a:endParaRPr>
          </a:p>
        </p:txBody>
      </p:sp>
      <p:sp>
        <p:nvSpPr>
          <p:cNvPr id="218" name="Oval 217"/>
          <p:cNvSpPr/>
          <p:nvPr/>
        </p:nvSpPr>
        <p:spPr>
          <a:xfrm>
            <a:off x="3254123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19" name="Oval 218"/>
          <p:cNvSpPr/>
          <p:nvPr/>
        </p:nvSpPr>
        <p:spPr>
          <a:xfrm>
            <a:off x="5575084" y="2198862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4408109" y="164390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1" name="Oval 220"/>
          <p:cNvSpPr/>
          <p:nvPr/>
        </p:nvSpPr>
        <p:spPr>
          <a:xfrm>
            <a:off x="4412443" y="4900354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2" name="Oval 221"/>
          <p:cNvSpPr/>
          <p:nvPr/>
        </p:nvSpPr>
        <p:spPr>
          <a:xfrm>
            <a:off x="2808783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6070620" y="3267450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3254123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225" name="Oval 224"/>
          <p:cNvSpPr/>
          <p:nvPr/>
        </p:nvSpPr>
        <p:spPr>
          <a:xfrm>
            <a:off x="5575084" y="43167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5700938" y="3237441"/>
            <a:ext cx="351793" cy="308952"/>
            <a:chOff x="0" y="4483101"/>
            <a:chExt cx="677863" cy="595313"/>
          </a:xfrm>
          <a:solidFill>
            <a:schemeClr val="bg1"/>
          </a:solidFill>
        </p:grpSpPr>
        <p:sp>
          <p:nvSpPr>
            <p:cNvPr id="250" name="Freeform 201"/>
            <p:cNvSpPr>
              <a:spLocks noEditPoints="1"/>
            </p:cNvSpPr>
            <p:nvPr/>
          </p:nvSpPr>
          <p:spPr bwMode="auto">
            <a:xfrm>
              <a:off x="84138" y="4802188"/>
              <a:ext cx="138113" cy="276225"/>
            </a:xfrm>
            <a:custGeom>
              <a:avLst/>
              <a:gdLst>
                <a:gd name="T0" fmla="*/ 52 w 261"/>
                <a:gd name="T1" fmla="*/ 469 h 521"/>
                <a:gd name="T2" fmla="*/ 209 w 261"/>
                <a:gd name="T3" fmla="*/ 469 h 521"/>
                <a:gd name="T4" fmla="*/ 209 w 261"/>
                <a:gd name="T5" fmla="*/ 52 h 521"/>
                <a:gd name="T6" fmla="*/ 52 w 261"/>
                <a:gd name="T7" fmla="*/ 52 h 521"/>
                <a:gd name="T8" fmla="*/ 52 w 261"/>
                <a:gd name="T9" fmla="*/ 469 h 521"/>
                <a:gd name="T10" fmla="*/ 235 w 261"/>
                <a:gd name="T11" fmla="*/ 521 h 521"/>
                <a:gd name="T12" fmla="*/ 26 w 261"/>
                <a:gd name="T13" fmla="*/ 521 h 521"/>
                <a:gd name="T14" fmla="*/ 21 w 261"/>
                <a:gd name="T15" fmla="*/ 521 h 521"/>
                <a:gd name="T16" fmla="*/ 16 w 261"/>
                <a:gd name="T17" fmla="*/ 520 h 521"/>
                <a:gd name="T18" fmla="*/ 12 w 261"/>
                <a:gd name="T19" fmla="*/ 517 h 521"/>
                <a:gd name="T20" fmla="*/ 8 w 261"/>
                <a:gd name="T21" fmla="*/ 514 h 521"/>
                <a:gd name="T22" fmla="*/ 5 w 261"/>
                <a:gd name="T23" fmla="*/ 510 h 521"/>
                <a:gd name="T24" fmla="*/ 2 w 261"/>
                <a:gd name="T25" fmla="*/ 505 h 521"/>
                <a:gd name="T26" fmla="*/ 0 w 261"/>
                <a:gd name="T27" fmla="*/ 501 h 521"/>
                <a:gd name="T28" fmla="*/ 0 w 261"/>
                <a:gd name="T29" fmla="*/ 495 h 521"/>
                <a:gd name="T30" fmla="*/ 0 w 261"/>
                <a:gd name="T31" fmla="*/ 26 h 521"/>
                <a:gd name="T32" fmla="*/ 0 w 261"/>
                <a:gd name="T33" fmla="*/ 20 h 521"/>
                <a:gd name="T34" fmla="*/ 2 w 261"/>
                <a:gd name="T35" fmla="*/ 16 h 521"/>
                <a:gd name="T36" fmla="*/ 5 w 261"/>
                <a:gd name="T37" fmla="*/ 11 h 521"/>
                <a:gd name="T38" fmla="*/ 8 w 261"/>
                <a:gd name="T39" fmla="*/ 7 h 521"/>
                <a:gd name="T40" fmla="*/ 12 w 261"/>
                <a:gd name="T41" fmla="*/ 4 h 521"/>
                <a:gd name="T42" fmla="*/ 16 w 261"/>
                <a:gd name="T43" fmla="*/ 1 h 521"/>
                <a:gd name="T44" fmla="*/ 21 w 261"/>
                <a:gd name="T45" fmla="*/ 0 h 521"/>
                <a:gd name="T46" fmla="*/ 26 w 261"/>
                <a:gd name="T47" fmla="*/ 0 h 521"/>
                <a:gd name="T48" fmla="*/ 235 w 261"/>
                <a:gd name="T49" fmla="*/ 0 h 521"/>
                <a:gd name="T50" fmla="*/ 241 w 261"/>
                <a:gd name="T51" fmla="*/ 0 h 521"/>
                <a:gd name="T52" fmla="*/ 245 w 261"/>
                <a:gd name="T53" fmla="*/ 1 h 521"/>
                <a:gd name="T54" fmla="*/ 250 w 261"/>
                <a:gd name="T55" fmla="*/ 4 h 521"/>
                <a:gd name="T56" fmla="*/ 254 w 261"/>
                <a:gd name="T57" fmla="*/ 7 h 521"/>
                <a:gd name="T58" fmla="*/ 257 w 261"/>
                <a:gd name="T59" fmla="*/ 11 h 521"/>
                <a:gd name="T60" fmla="*/ 260 w 261"/>
                <a:gd name="T61" fmla="*/ 16 h 521"/>
                <a:gd name="T62" fmla="*/ 261 w 261"/>
                <a:gd name="T63" fmla="*/ 20 h 521"/>
                <a:gd name="T64" fmla="*/ 261 w 261"/>
                <a:gd name="T65" fmla="*/ 26 h 521"/>
                <a:gd name="T66" fmla="*/ 261 w 261"/>
                <a:gd name="T67" fmla="*/ 495 h 521"/>
                <a:gd name="T68" fmla="*/ 261 w 261"/>
                <a:gd name="T69" fmla="*/ 501 h 521"/>
                <a:gd name="T70" fmla="*/ 260 w 261"/>
                <a:gd name="T71" fmla="*/ 505 h 521"/>
                <a:gd name="T72" fmla="*/ 257 w 261"/>
                <a:gd name="T73" fmla="*/ 510 h 521"/>
                <a:gd name="T74" fmla="*/ 254 w 261"/>
                <a:gd name="T75" fmla="*/ 514 h 521"/>
                <a:gd name="T76" fmla="*/ 250 w 261"/>
                <a:gd name="T77" fmla="*/ 517 h 521"/>
                <a:gd name="T78" fmla="*/ 245 w 261"/>
                <a:gd name="T79" fmla="*/ 520 h 521"/>
                <a:gd name="T80" fmla="*/ 241 w 261"/>
                <a:gd name="T81" fmla="*/ 521 h 521"/>
                <a:gd name="T82" fmla="*/ 235 w 261"/>
                <a:gd name="T83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521">
                  <a:moveTo>
                    <a:pt x="52" y="469"/>
                  </a:moveTo>
                  <a:lnTo>
                    <a:pt x="209" y="469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469"/>
                  </a:lnTo>
                  <a:close/>
                  <a:moveTo>
                    <a:pt x="235" y="521"/>
                  </a:moveTo>
                  <a:lnTo>
                    <a:pt x="26" y="521"/>
                  </a:lnTo>
                  <a:lnTo>
                    <a:pt x="21" y="521"/>
                  </a:lnTo>
                  <a:lnTo>
                    <a:pt x="16" y="520"/>
                  </a:lnTo>
                  <a:lnTo>
                    <a:pt x="12" y="517"/>
                  </a:lnTo>
                  <a:lnTo>
                    <a:pt x="8" y="514"/>
                  </a:lnTo>
                  <a:lnTo>
                    <a:pt x="5" y="510"/>
                  </a:lnTo>
                  <a:lnTo>
                    <a:pt x="2" y="505"/>
                  </a:lnTo>
                  <a:lnTo>
                    <a:pt x="0" y="501"/>
                  </a:lnTo>
                  <a:lnTo>
                    <a:pt x="0" y="49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0"/>
                  </a:lnTo>
                  <a:lnTo>
                    <a:pt x="245" y="1"/>
                  </a:lnTo>
                  <a:lnTo>
                    <a:pt x="250" y="4"/>
                  </a:lnTo>
                  <a:lnTo>
                    <a:pt x="254" y="7"/>
                  </a:lnTo>
                  <a:lnTo>
                    <a:pt x="257" y="11"/>
                  </a:lnTo>
                  <a:lnTo>
                    <a:pt x="260" y="16"/>
                  </a:lnTo>
                  <a:lnTo>
                    <a:pt x="261" y="20"/>
                  </a:lnTo>
                  <a:lnTo>
                    <a:pt x="261" y="26"/>
                  </a:lnTo>
                  <a:lnTo>
                    <a:pt x="261" y="495"/>
                  </a:lnTo>
                  <a:lnTo>
                    <a:pt x="261" y="501"/>
                  </a:lnTo>
                  <a:lnTo>
                    <a:pt x="260" y="505"/>
                  </a:lnTo>
                  <a:lnTo>
                    <a:pt x="257" y="510"/>
                  </a:lnTo>
                  <a:lnTo>
                    <a:pt x="254" y="514"/>
                  </a:lnTo>
                  <a:lnTo>
                    <a:pt x="250" y="517"/>
                  </a:lnTo>
                  <a:lnTo>
                    <a:pt x="245" y="520"/>
                  </a:lnTo>
                  <a:lnTo>
                    <a:pt x="241" y="521"/>
                  </a:lnTo>
                  <a:lnTo>
                    <a:pt x="235" y="5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02"/>
            <p:cNvSpPr>
              <a:spLocks noEditPoints="1"/>
            </p:cNvSpPr>
            <p:nvPr/>
          </p:nvSpPr>
          <p:spPr bwMode="auto">
            <a:xfrm>
              <a:off x="277813" y="4664076"/>
              <a:ext cx="138113" cy="414338"/>
            </a:xfrm>
            <a:custGeom>
              <a:avLst/>
              <a:gdLst>
                <a:gd name="T0" fmla="*/ 52 w 261"/>
                <a:gd name="T1" fmla="*/ 731 h 783"/>
                <a:gd name="T2" fmla="*/ 209 w 261"/>
                <a:gd name="T3" fmla="*/ 731 h 783"/>
                <a:gd name="T4" fmla="*/ 209 w 261"/>
                <a:gd name="T5" fmla="*/ 52 h 783"/>
                <a:gd name="T6" fmla="*/ 52 w 261"/>
                <a:gd name="T7" fmla="*/ 52 h 783"/>
                <a:gd name="T8" fmla="*/ 52 w 261"/>
                <a:gd name="T9" fmla="*/ 731 h 783"/>
                <a:gd name="T10" fmla="*/ 235 w 261"/>
                <a:gd name="T11" fmla="*/ 783 h 783"/>
                <a:gd name="T12" fmla="*/ 26 w 261"/>
                <a:gd name="T13" fmla="*/ 783 h 783"/>
                <a:gd name="T14" fmla="*/ 20 w 261"/>
                <a:gd name="T15" fmla="*/ 783 h 783"/>
                <a:gd name="T16" fmla="*/ 16 w 261"/>
                <a:gd name="T17" fmla="*/ 782 h 783"/>
                <a:gd name="T18" fmla="*/ 12 w 261"/>
                <a:gd name="T19" fmla="*/ 779 h 783"/>
                <a:gd name="T20" fmla="*/ 7 w 261"/>
                <a:gd name="T21" fmla="*/ 776 h 783"/>
                <a:gd name="T22" fmla="*/ 4 w 261"/>
                <a:gd name="T23" fmla="*/ 772 h 783"/>
                <a:gd name="T24" fmla="*/ 2 w 261"/>
                <a:gd name="T25" fmla="*/ 767 h 783"/>
                <a:gd name="T26" fmla="*/ 0 w 261"/>
                <a:gd name="T27" fmla="*/ 763 h 783"/>
                <a:gd name="T28" fmla="*/ 0 w 261"/>
                <a:gd name="T29" fmla="*/ 757 h 783"/>
                <a:gd name="T30" fmla="*/ 0 w 261"/>
                <a:gd name="T31" fmla="*/ 26 h 783"/>
                <a:gd name="T32" fmla="*/ 0 w 261"/>
                <a:gd name="T33" fmla="*/ 21 h 783"/>
                <a:gd name="T34" fmla="*/ 2 w 261"/>
                <a:gd name="T35" fmla="*/ 16 h 783"/>
                <a:gd name="T36" fmla="*/ 4 w 261"/>
                <a:gd name="T37" fmla="*/ 11 h 783"/>
                <a:gd name="T38" fmla="*/ 7 w 261"/>
                <a:gd name="T39" fmla="*/ 8 h 783"/>
                <a:gd name="T40" fmla="*/ 12 w 261"/>
                <a:gd name="T41" fmla="*/ 4 h 783"/>
                <a:gd name="T42" fmla="*/ 16 w 261"/>
                <a:gd name="T43" fmla="*/ 3 h 783"/>
                <a:gd name="T44" fmla="*/ 20 w 261"/>
                <a:gd name="T45" fmla="*/ 1 h 783"/>
                <a:gd name="T46" fmla="*/ 26 w 261"/>
                <a:gd name="T47" fmla="*/ 0 h 783"/>
                <a:gd name="T48" fmla="*/ 235 w 261"/>
                <a:gd name="T49" fmla="*/ 0 h 783"/>
                <a:gd name="T50" fmla="*/ 241 w 261"/>
                <a:gd name="T51" fmla="*/ 1 h 783"/>
                <a:gd name="T52" fmla="*/ 245 w 261"/>
                <a:gd name="T53" fmla="*/ 3 h 783"/>
                <a:gd name="T54" fmla="*/ 249 w 261"/>
                <a:gd name="T55" fmla="*/ 4 h 783"/>
                <a:gd name="T56" fmla="*/ 254 w 261"/>
                <a:gd name="T57" fmla="*/ 8 h 783"/>
                <a:gd name="T58" fmla="*/ 256 w 261"/>
                <a:gd name="T59" fmla="*/ 11 h 783"/>
                <a:gd name="T60" fmla="*/ 259 w 261"/>
                <a:gd name="T61" fmla="*/ 16 h 783"/>
                <a:gd name="T62" fmla="*/ 261 w 261"/>
                <a:gd name="T63" fmla="*/ 21 h 783"/>
                <a:gd name="T64" fmla="*/ 261 w 261"/>
                <a:gd name="T65" fmla="*/ 26 h 783"/>
                <a:gd name="T66" fmla="*/ 261 w 261"/>
                <a:gd name="T67" fmla="*/ 757 h 783"/>
                <a:gd name="T68" fmla="*/ 261 w 261"/>
                <a:gd name="T69" fmla="*/ 763 h 783"/>
                <a:gd name="T70" fmla="*/ 259 w 261"/>
                <a:gd name="T71" fmla="*/ 767 h 783"/>
                <a:gd name="T72" fmla="*/ 256 w 261"/>
                <a:gd name="T73" fmla="*/ 772 h 783"/>
                <a:gd name="T74" fmla="*/ 254 w 261"/>
                <a:gd name="T75" fmla="*/ 776 h 783"/>
                <a:gd name="T76" fmla="*/ 249 w 261"/>
                <a:gd name="T77" fmla="*/ 779 h 783"/>
                <a:gd name="T78" fmla="*/ 245 w 261"/>
                <a:gd name="T79" fmla="*/ 782 h 783"/>
                <a:gd name="T80" fmla="*/ 241 w 261"/>
                <a:gd name="T81" fmla="*/ 783 h 783"/>
                <a:gd name="T82" fmla="*/ 235 w 261"/>
                <a:gd name="T83" fmla="*/ 78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783">
                  <a:moveTo>
                    <a:pt x="52" y="731"/>
                  </a:moveTo>
                  <a:lnTo>
                    <a:pt x="209" y="731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731"/>
                  </a:lnTo>
                  <a:close/>
                  <a:moveTo>
                    <a:pt x="235" y="783"/>
                  </a:moveTo>
                  <a:lnTo>
                    <a:pt x="26" y="783"/>
                  </a:lnTo>
                  <a:lnTo>
                    <a:pt x="20" y="783"/>
                  </a:lnTo>
                  <a:lnTo>
                    <a:pt x="16" y="782"/>
                  </a:lnTo>
                  <a:lnTo>
                    <a:pt x="12" y="779"/>
                  </a:lnTo>
                  <a:lnTo>
                    <a:pt x="7" y="776"/>
                  </a:lnTo>
                  <a:lnTo>
                    <a:pt x="4" y="772"/>
                  </a:lnTo>
                  <a:lnTo>
                    <a:pt x="2" y="767"/>
                  </a:lnTo>
                  <a:lnTo>
                    <a:pt x="0" y="763"/>
                  </a:lnTo>
                  <a:lnTo>
                    <a:pt x="0" y="757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6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757"/>
                  </a:lnTo>
                  <a:lnTo>
                    <a:pt x="261" y="763"/>
                  </a:lnTo>
                  <a:lnTo>
                    <a:pt x="259" y="767"/>
                  </a:lnTo>
                  <a:lnTo>
                    <a:pt x="256" y="772"/>
                  </a:lnTo>
                  <a:lnTo>
                    <a:pt x="254" y="776"/>
                  </a:lnTo>
                  <a:lnTo>
                    <a:pt x="249" y="779"/>
                  </a:lnTo>
                  <a:lnTo>
                    <a:pt x="245" y="782"/>
                  </a:lnTo>
                  <a:lnTo>
                    <a:pt x="241" y="783"/>
                  </a:lnTo>
                  <a:lnTo>
                    <a:pt x="235" y="7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03"/>
            <p:cNvSpPr>
              <a:spLocks noEditPoints="1"/>
            </p:cNvSpPr>
            <p:nvPr/>
          </p:nvSpPr>
          <p:spPr bwMode="auto">
            <a:xfrm>
              <a:off x="471488" y="4552951"/>
              <a:ext cx="138113" cy="525463"/>
            </a:xfrm>
            <a:custGeom>
              <a:avLst/>
              <a:gdLst>
                <a:gd name="T0" fmla="*/ 52 w 261"/>
                <a:gd name="T1" fmla="*/ 940 h 992"/>
                <a:gd name="T2" fmla="*/ 209 w 261"/>
                <a:gd name="T3" fmla="*/ 940 h 992"/>
                <a:gd name="T4" fmla="*/ 209 w 261"/>
                <a:gd name="T5" fmla="*/ 52 h 992"/>
                <a:gd name="T6" fmla="*/ 52 w 261"/>
                <a:gd name="T7" fmla="*/ 52 h 992"/>
                <a:gd name="T8" fmla="*/ 52 w 261"/>
                <a:gd name="T9" fmla="*/ 940 h 992"/>
                <a:gd name="T10" fmla="*/ 235 w 261"/>
                <a:gd name="T11" fmla="*/ 992 h 992"/>
                <a:gd name="T12" fmla="*/ 26 w 261"/>
                <a:gd name="T13" fmla="*/ 992 h 992"/>
                <a:gd name="T14" fmla="*/ 20 w 261"/>
                <a:gd name="T15" fmla="*/ 992 h 992"/>
                <a:gd name="T16" fmla="*/ 16 w 261"/>
                <a:gd name="T17" fmla="*/ 991 h 992"/>
                <a:gd name="T18" fmla="*/ 11 w 261"/>
                <a:gd name="T19" fmla="*/ 988 h 992"/>
                <a:gd name="T20" fmla="*/ 7 w 261"/>
                <a:gd name="T21" fmla="*/ 985 h 992"/>
                <a:gd name="T22" fmla="*/ 4 w 261"/>
                <a:gd name="T23" fmla="*/ 981 h 992"/>
                <a:gd name="T24" fmla="*/ 1 w 261"/>
                <a:gd name="T25" fmla="*/ 976 h 992"/>
                <a:gd name="T26" fmla="*/ 0 w 261"/>
                <a:gd name="T27" fmla="*/ 972 h 992"/>
                <a:gd name="T28" fmla="*/ 0 w 261"/>
                <a:gd name="T29" fmla="*/ 966 h 992"/>
                <a:gd name="T30" fmla="*/ 0 w 261"/>
                <a:gd name="T31" fmla="*/ 26 h 992"/>
                <a:gd name="T32" fmla="*/ 0 w 261"/>
                <a:gd name="T33" fmla="*/ 22 h 992"/>
                <a:gd name="T34" fmla="*/ 1 w 261"/>
                <a:gd name="T35" fmla="*/ 16 h 992"/>
                <a:gd name="T36" fmla="*/ 4 w 261"/>
                <a:gd name="T37" fmla="*/ 11 h 992"/>
                <a:gd name="T38" fmla="*/ 7 w 261"/>
                <a:gd name="T39" fmla="*/ 7 h 992"/>
                <a:gd name="T40" fmla="*/ 11 w 261"/>
                <a:gd name="T41" fmla="*/ 4 h 992"/>
                <a:gd name="T42" fmla="*/ 16 w 261"/>
                <a:gd name="T43" fmla="*/ 3 h 992"/>
                <a:gd name="T44" fmla="*/ 20 w 261"/>
                <a:gd name="T45" fmla="*/ 0 h 992"/>
                <a:gd name="T46" fmla="*/ 26 w 261"/>
                <a:gd name="T47" fmla="*/ 0 h 992"/>
                <a:gd name="T48" fmla="*/ 235 w 261"/>
                <a:gd name="T49" fmla="*/ 0 h 992"/>
                <a:gd name="T50" fmla="*/ 240 w 261"/>
                <a:gd name="T51" fmla="*/ 0 h 992"/>
                <a:gd name="T52" fmla="*/ 245 w 261"/>
                <a:gd name="T53" fmla="*/ 3 h 992"/>
                <a:gd name="T54" fmla="*/ 249 w 261"/>
                <a:gd name="T55" fmla="*/ 4 h 992"/>
                <a:gd name="T56" fmla="*/ 253 w 261"/>
                <a:gd name="T57" fmla="*/ 7 h 992"/>
                <a:gd name="T58" fmla="*/ 256 w 261"/>
                <a:gd name="T59" fmla="*/ 11 h 992"/>
                <a:gd name="T60" fmla="*/ 259 w 261"/>
                <a:gd name="T61" fmla="*/ 16 h 992"/>
                <a:gd name="T62" fmla="*/ 261 w 261"/>
                <a:gd name="T63" fmla="*/ 22 h 992"/>
                <a:gd name="T64" fmla="*/ 261 w 261"/>
                <a:gd name="T65" fmla="*/ 26 h 992"/>
                <a:gd name="T66" fmla="*/ 261 w 261"/>
                <a:gd name="T67" fmla="*/ 966 h 992"/>
                <a:gd name="T68" fmla="*/ 261 w 261"/>
                <a:gd name="T69" fmla="*/ 972 h 992"/>
                <a:gd name="T70" fmla="*/ 259 w 261"/>
                <a:gd name="T71" fmla="*/ 976 h 992"/>
                <a:gd name="T72" fmla="*/ 256 w 261"/>
                <a:gd name="T73" fmla="*/ 981 h 992"/>
                <a:gd name="T74" fmla="*/ 253 w 261"/>
                <a:gd name="T75" fmla="*/ 985 h 992"/>
                <a:gd name="T76" fmla="*/ 249 w 261"/>
                <a:gd name="T77" fmla="*/ 988 h 992"/>
                <a:gd name="T78" fmla="*/ 245 w 261"/>
                <a:gd name="T79" fmla="*/ 991 h 992"/>
                <a:gd name="T80" fmla="*/ 240 w 261"/>
                <a:gd name="T81" fmla="*/ 992 h 992"/>
                <a:gd name="T82" fmla="*/ 235 w 261"/>
                <a:gd name="T83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1" h="992">
                  <a:moveTo>
                    <a:pt x="52" y="940"/>
                  </a:moveTo>
                  <a:lnTo>
                    <a:pt x="209" y="940"/>
                  </a:lnTo>
                  <a:lnTo>
                    <a:pt x="209" y="52"/>
                  </a:lnTo>
                  <a:lnTo>
                    <a:pt x="52" y="52"/>
                  </a:lnTo>
                  <a:lnTo>
                    <a:pt x="52" y="940"/>
                  </a:lnTo>
                  <a:close/>
                  <a:moveTo>
                    <a:pt x="235" y="992"/>
                  </a:moveTo>
                  <a:lnTo>
                    <a:pt x="26" y="992"/>
                  </a:lnTo>
                  <a:lnTo>
                    <a:pt x="20" y="992"/>
                  </a:lnTo>
                  <a:lnTo>
                    <a:pt x="16" y="991"/>
                  </a:lnTo>
                  <a:lnTo>
                    <a:pt x="11" y="988"/>
                  </a:lnTo>
                  <a:lnTo>
                    <a:pt x="7" y="985"/>
                  </a:lnTo>
                  <a:lnTo>
                    <a:pt x="4" y="981"/>
                  </a:lnTo>
                  <a:lnTo>
                    <a:pt x="1" y="976"/>
                  </a:lnTo>
                  <a:lnTo>
                    <a:pt x="0" y="972"/>
                  </a:lnTo>
                  <a:lnTo>
                    <a:pt x="0" y="96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0" y="0"/>
                  </a:lnTo>
                  <a:lnTo>
                    <a:pt x="245" y="3"/>
                  </a:lnTo>
                  <a:lnTo>
                    <a:pt x="249" y="4"/>
                  </a:lnTo>
                  <a:lnTo>
                    <a:pt x="253" y="7"/>
                  </a:lnTo>
                  <a:lnTo>
                    <a:pt x="256" y="11"/>
                  </a:lnTo>
                  <a:lnTo>
                    <a:pt x="259" y="16"/>
                  </a:lnTo>
                  <a:lnTo>
                    <a:pt x="261" y="22"/>
                  </a:lnTo>
                  <a:lnTo>
                    <a:pt x="261" y="26"/>
                  </a:lnTo>
                  <a:lnTo>
                    <a:pt x="261" y="966"/>
                  </a:lnTo>
                  <a:lnTo>
                    <a:pt x="261" y="972"/>
                  </a:lnTo>
                  <a:lnTo>
                    <a:pt x="259" y="976"/>
                  </a:lnTo>
                  <a:lnTo>
                    <a:pt x="256" y="981"/>
                  </a:lnTo>
                  <a:lnTo>
                    <a:pt x="253" y="985"/>
                  </a:lnTo>
                  <a:lnTo>
                    <a:pt x="249" y="988"/>
                  </a:lnTo>
                  <a:lnTo>
                    <a:pt x="245" y="991"/>
                  </a:lnTo>
                  <a:lnTo>
                    <a:pt x="240" y="992"/>
                  </a:lnTo>
                  <a:lnTo>
                    <a:pt x="235" y="9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04"/>
            <p:cNvSpPr>
              <a:spLocks/>
            </p:cNvSpPr>
            <p:nvPr/>
          </p:nvSpPr>
          <p:spPr bwMode="auto">
            <a:xfrm>
              <a:off x="0" y="4483101"/>
              <a:ext cx="677863" cy="595313"/>
            </a:xfrm>
            <a:custGeom>
              <a:avLst/>
              <a:gdLst>
                <a:gd name="T0" fmla="*/ 1281 w 1281"/>
                <a:gd name="T1" fmla="*/ 1123 h 1123"/>
                <a:gd name="T2" fmla="*/ 0 w 1281"/>
                <a:gd name="T3" fmla="*/ 1123 h 1123"/>
                <a:gd name="T4" fmla="*/ 0 w 1281"/>
                <a:gd name="T5" fmla="*/ 0 h 1123"/>
                <a:gd name="T6" fmla="*/ 52 w 1281"/>
                <a:gd name="T7" fmla="*/ 0 h 1123"/>
                <a:gd name="T8" fmla="*/ 52 w 1281"/>
                <a:gd name="T9" fmla="*/ 1071 h 1123"/>
                <a:gd name="T10" fmla="*/ 1281 w 1281"/>
                <a:gd name="T11" fmla="*/ 1071 h 1123"/>
                <a:gd name="T12" fmla="*/ 1281 w 1281"/>
                <a:gd name="T13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1" h="1123">
                  <a:moveTo>
                    <a:pt x="1281" y="1123"/>
                  </a:moveTo>
                  <a:lnTo>
                    <a:pt x="0" y="1123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071"/>
                  </a:lnTo>
                  <a:lnTo>
                    <a:pt x="1281" y="1071"/>
                  </a:lnTo>
                  <a:lnTo>
                    <a:pt x="1281" y="1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5222317" y="4028278"/>
            <a:ext cx="373931" cy="354645"/>
            <a:chOff x="4478338" y="3613151"/>
            <a:chExt cx="554038" cy="525463"/>
          </a:xfrm>
          <a:solidFill>
            <a:schemeClr val="bg1"/>
          </a:solidFill>
        </p:grpSpPr>
        <p:sp>
          <p:nvSpPr>
            <p:cNvPr id="255" name="Freeform 164"/>
            <p:cNvSpPr>
              <a:spLocks/>
            </p:cNvSpPr>
            <p:nvPr/>
          </p:nvSpPr>
          <p:spPr bwMode="auto">
            <a:xfrm>
              <a:off x="4883150" y="3892551"/>
              <a:ext cx="134938" cy="50800"/>
            </a:xfrm>
            <a:custGeom>
              <a:avLst/>
              <a:gdLst>
                <a:gd name="T0" fmla="*/ 227 w 253"/>
                <a:gd name="T1" fmla="*/ 96 h 96"/>
                <a:gd name="T2" fmla="*/ 225 w 253"/>
                <a:gd name="T3" fmla="*/ 94 h 96"/>
                <a:gd name="T4" fmla="*/ 222 w 253"/>
                <a:gd name="T5" fmla="*/ 94 h 96"/>
                <a:gd name="T6" fmla="*/ 20 w 253"/>
                <a:gd name="T7" fmla="*/ 52 h 96"/>
                <a:gd name="T8" fmla="*/ 16 w 253"/>
                <a:gd name="T9" fmla="*/ 51 h 96"/>
                <a:gd name="T10" fmla="*/ 11 w 253"/>
                <a:gd name="T11" fmla="*/ 48 h 96"/>
                <a:gd name="T12" fmla="*/ 7 w 253"/>
                <a:gd name="T13" fmla="*/ 45 h 96"/>
                <a:gd name="T14" fmla="*/ 4 w 253"/>
                <a:gd name="T15" fmla="*/ 41 h 96"/>
                <a:gd name="T16" fmla="*/ 1 w 253"/>
                <a:gd name="T17" fmla="*/ 36 h 96"/>
                <a:gd name="T18" fmla="*/ 0 w 253"/>
                <a:gd name="T19" fmla="*/ 31 h 96"/>
                <a:gd name="T20" fmla="*/ 0 w 253"/>
                <a:gd name="T21" fmla="*/ 26 h 96"/>
                <a:gd name="T22" fmla="*/ 0 w 253"/>
                <a:gd name="T23" fmla="*/ 21 h 96"/>
                <a:gd name="T24" fmla="*/ 3 w 253"/>
                <a:gd name="T25" fmla="*/ 16 h 96"/>
                <a:gd name="T26" fmla="*/ 4 w 253"/>
                <a:gd name="T27" fmla="*/ 12 h 96"/>
                <a:gd name="T28" fmla="*/ 9 w 253"/>
                <a:gd name="T29" fmla="*/ 8 h 96"/>
                <a:gd name="T30" fmla="*/ 11 w 253"/>
                <a:gd name="T31" fmla="*/ 5 h 96"/>
                <a:gd name="T32" fmla="*/ 16 w 253"/>
                <a:gd name="T33" fmla="*/ 2 h 96"/>
                <a:gd name="T34" fmla="*/ 22 w 253"/>
                <a:gd name="T35" fmla="*/ 0 h 96"/>
                <a:gd name="T36" fmla="*/ 26 w 253"/>
                <a:gd name="T37" fmla="*/ 0 h 96"/>
                <a:gd name="T38" fmla="*/ 32 w 253"/>
                <a:gd name="T39" fmla="*/ 0 h 96"/>
                <a:gd name="T40" fmla="*/ 233 w 253"/>
                <a:gd name="T41" fmla="*/ 44 h 96"/>
                <a:gd name="T42" fmla="*/ 238 w 253"/>
                <a:gd name="T43" fmla="*/ 45 h 96"/>
                <a:gd name="T44" fmla="*/ 243 w 253"/>
                <a:gd name="T45" fmla="*/ 47 h 96"/>
                <a:gd name="T46" fmla="*/ 246 w 253"/>
                <a:gd name="T47" fmla="*/ 51 h 96"/>
                <a:gd name="T48" fmla="*/ 249 w 253"/>
                <a:gd name="T49" fmla="*/ 54 h 96"/>
                <a:gd name="T50" fmla="*/ 252 w 253"/>
                <a:gd name="T51" fmla="*/ 60 h 96"/>
                <a:gd name="T52" fmla="*/ 253 w 253"/>
                <a:gd name="T53" fmla="*/ 64 h 96"/>
                <a:gd name="T54" fmla="*/ 253 w 253"/>
                <a:gd name="T55" fmla="*/ 68 h 96"/>
                <a:gd name="T56" fmla="*/ 253 w 253"/>
                <a:gd name="T57" fmla="*/ 74 h 96"/>
                <a:gd name="T58" fmla="*/ 252 w 253"/>
                <a:gd name="T59" fmla="*/ 78 h 96"/>
                <a:gd name="T60" fmla="*/ 251 w 253"/>
                <a:gd name="T61" fmla="*/ 83 h 96"/>
                <a:gd name="T62" fmla="*/ 248 w 253"/>
                <a:gd name="T63" fmla="*/ 85 h 96"/>
                <a:gd name="T64" fmla="*/ 245 w 253"/>
                <a:gd name="T65" fmla="*/ 90 h 96"/>
                <a:gd name="T66" fmla="*/ 240 w 253"/>
                <a:gd name="T67" fmla="*/ 91 h 96"/>
                <a:gd name="T68" fmla="*/ 236 w 253"/>
                <a:gd name="T69" fmla="*/ 93 h 96"/>
                <a:gd name="T70" fmla="*/ 232 w 253"/>
                <a:gd name="T71" fmla="*/ 94 h 96"/>
                <a:gd name="T72" fmla="*/ 227 w 253"/>
                <a:gd name="T7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3" h="96">
                  <a:moveTo>
                    <a:pt x="227" y="96"/>
                  </a:moveTo>
                  <a:lnTo>
                    <a:pt x="225" y="94"/>
                  </a:lnTo>
                  <a:lnTo>
                    <a:pt x="222" y="94"/>
                  </a:lnTo>
                  <a:lnTo>
                    <a:pt x="20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3" y="16"/>
                  </a:lnTo>
                  <a:lnTo>
                    <a:pt x="4" y="12"/>
                  </a:lnTo>
                  <a:lnTo>
                    <a:pt x="9" y="8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233" y="44"/>
                  </a:lnTo>
                  <a:lnTo>
                    <a:pt x="238" y="45"/>
                  </a:lnTo>
                  <a:lnTo>
                    <a:pt x="243" y="47"/>
                  </a:lnTo>
                  <a:lnTo>
                    <a:pt x="246" y="51"/>
                  </a:lnTo>
                  <a:lnTo>
                    <a:pt x="249" y="54"/>
                  </a:lnTo>
                  <a:lnTo>
                    <a:pt x="252" y="60"/>
                  </a:lnTo>
                  <a:lnTo>
                    <a:pt x="253" y="64"/>
                  </a:lnTo>
                  <a:lnTo>
                    <a:pt x="253" y="68"/>
                  </a:lnTo>
                  <a:lnTo>
                    <a:pt x="253" y="74"/>
                  </a:lnTo>
                  <a:lnTo>
                    <a:pt x="252" y="78"/>
                  </a:lnTo>
                  <a:lnTo>
                    <a:pt x="251" y="83"/>
                  </a:lnTo>
                  <a:lnTo>
                    <a:pt x="248" y="85"/>
                  </a:lnTo>
                  <a:lnTo>
                    <a:pt x="245" y="90"/>
                  </a:lnTo>
                  <a:lnTo>
                    <a:pt x="240" y="91"/>
                  </a:lnTo>
                  <a:lnTo>
                    <a:pt x="236" y="93"/>
                  </a:lnTo>
                  <a:lnTo>
                    <a:pt x="232" y="94"/>
                  </a:lnTo>
                  <a:lnTo>
                    <a:pt x="2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5"/>
            <p:cNvSpPr>
              <a:spLocks/>
            </p:cNvSpPr>
            <p:nvPr/>
          </p:nvSpPr>
          <p:spPr bwMode="auto">
            <a:xfrm>
              <a:off x="4870450" y="3967163"/>
              <a:ext cx="138113" cy="49213"/>
            </a:xfrm>
            <a:custGeom>
              <a:avLst/>
              <a:gdLst>
                <a:gd name="T0" fmla="*/ 235 w 261"/>
                <a:gd name="T1" fmla="*/ 92 h 92"/>
                <a:gd name="T2" fmla="*/ 232 w 261"/>
                <a:gd name="T3" fmla="*/ 90 h 92"/>
                <a:gd name="T4" fmla="*/ 229 w 261"/>
                <a:gd name="T5" fmla="*/ 90 h 92"/>
                <a:gd name="T6" fmla="*/ 22 w 261"/>
                <a:gd name="T7" fmla="*/ 51 h 92"/>
                <a:gd name="T8" fmla="*/ 16 w 261"/>
                <a:gd name="T9" fmla="*/ 50 h 92"/>
                <a:gd name="T10" fmla="*/ 12 w 261"/>
                <a:gd name="T11" fmla="*/ 47 h 92"/>
                <a:gd name="T12" fmla="*/ 7 w 261"/>
                <a:gd name="T13" fmla="*/ 44 h 92"/>
                <a:gd name="T14" fmla="*/ 4 w 261"/>
                <a:gd name="T15" fmla="*/ 40 h 92"/>
                <a:gd name="T16" fmla="*/ 1 w 261"/>
                <a:gd name="T17" fmla="*/ 36 h 92"/>
                <a:gd name="T18" fmla="*/ 0 w 261"/>
                <a:gd name="T19" fmla="*/ 31 h 92"/>
                <a:gd name="T20" fmla="*/ 0 w 261"/>
                <a:gd name="T21" fmla="*/ 26 h 92"/>
                <a:gd name="T22" fmla="*/ 0 w 261"/>
                <a:gd name="T23" fmla="*/ 21 h 92"/>
                <a:gd name="T24" fmla="*/ 1 w 261"/>
                <a:gd name="T25" fmla="*/ 15 h 92"/>
                <a:gd name="T26" fmla="*/ 4 w 261"/>
                <a:gd name="T27" fmla="*/ 11 h 92"/>
                <a:gd name="T28" fmla="*/ 7 w 261"/>
                <a:gd name="T29" fmla="*/ 7 h 92"/>
                <a:gd name="T30" fmla="*/ 12 w 261"/>
                <a:gd name="T31" fmla="*/ 4 h 92"/>
                <a:gd name="T32" fmla="*/ 16 w 261"/>
                <a:gd name="T33" fmla="*/ 1 h 92"/>
                <a:gd name="T34" fmla="*/ 20 w 261"/>
                <a:gd name="T35" fmla="*/ 0 h 92"/>
                <a:gd name="T36" fmla="*/ 26 w 261"/>
                <a:gd name="T37" fmla="*/ 0 h 92"/>
                <a:gd name="T38" fmla="*/ 30 w 261"/>
                <a:gd name="T39" fmla="*/ 0 h 92"/>
                <a:gd name="T40" fmla="*/ 239 w 261"/>
                <a:gd name="T41" fmla="*/ 40 h 92"/>
                <a:gd name="T42" fmla="*/ 245 w 261"/>
                <a:gd name="T43" fmla="*/ 41 h 92"/>
                <a:gd name="T44" fmla="*/ 249 w 261"/>
                <a:gd name="T45" fmla="*/ 43 h 92"/>
                <a:gd name="T46" fmla="*/ 253 w 261"/>
                <a:gd name="T47" fmla="*/ 46 h 92"/>
                <a:gd name="T48" fmla="*/ 256 w 261"/>
                <a:gd name="T49" fmla="*/ 50 h 92"/>
                <a:gd name="T50" fmla="*/ 259 w 261"/>
                <a:gd name="T51" fmla="*/ 54 h 92"/>
                <a:gd name="T52" fmla="*/ 261 w 261"/>
                <a:gd name="T53" fmla="*/ 60 h 92"/>
                <a:gd name="T54" fmla="*/ 261 w 261"/>
                <a:gd name="T55" fmla="*/ 64 h 92"/>
                <a:gd name="T56" fmla="*/ 261 w 261"/>
                <a:gd name="T57" fmla="*/ 70 h 92"/>
                <a:gd name="T58" fmla="*/ 259 w 261"/>
                <a:gd name="T59" fmla="*/ 74 h 92"/>
                <a:gd name="T60" fmla="*/ 256 w 261"/>
                <a:gd name="T61" fmla="*/ 79 h 92"/>
                <a:gd name="T62" fmla="*/ 255 w 261"/>
                <a:gd name="T63" fmla="*/ 82 h 92"/>
                <a:gd name="T64" fmla="*/ 251 w 261"/>
                <a:gd name="T65" fmla="*/ 85 h 92"/>
                <a:gd name="T66" fmla="*/ 248 w 261"/>
                <a:gd name="T67" fmla="*/ 87 h 92"/>
                <a:gd name="T68" fmla="*/ 243 w 261"/>
                <a:gd name="T69" fmla="*/ 89 h 92"/>
                <a:gd name="T70" fmla="*/ 239 w 261"/>
                <a:gd name="T71" fmla="*/ 90 h 92"/>
                <a:gd name="T72" fmla="*/ 235 w 261"/>
                <a:gd name="T7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1" h="92">
                  <a:moveTo>
                    <a:pt x="235" y="92"/>
                  </a:moveTo>
                  <a:lnTo>
                    <a:pt x="232" y="90"/>
                  </a:lnTo>
                  <a:lnTo>
                    <a:pt x="229" y="90"/>
                  </a:lnTo>
                  <a:lnTo>
                    <a:pt x="22" y="51"/>
                  </a:lnTo>
                  <a:lnTo>
                    <a:pt x="16" y="50"/>
                  </a:lnTo>
                  <a:lnTo>
                    <a:pt x="12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239" y="40"/>
                  </a:lnTo>
                  <a:lnTo>
                    <a:pt x="245" y="41"/>
                  </a:lnTo>
                  <a:lnTo>
                    <a:pt x="249" y="43"/>
                  </a:lnTo>
                  <a:lnTo>
                    <a:pt x="253" y="46"/>
                  </a:lnTo>
                  <a:lnTo>
                    <a:pt x="256" y="50"/>
                  </a:lnTo>
                  <a:lnTo>
                    <a:pt x="259" y="54"/>
                  </a:lnTo>
                  <a:lnTo>
                    <a:pt x="261" y="60"/>
                  </a:lnTo>
                  <a:lnTo>
                    <a:pt x="261" y="64"/>
                  </a:lnTo>
                  <a:lnTo>
                    <a:pt x="261" y="70"/>
                  </a:lnTo>
                  <a:lnTo>
                    <a:pt x="259" y="74"/>
                  </a:lnTo>
                  <a:lnTo>
                    <a:pt x="256" y="79"/>
                  </a:lnTo>
                  <a:lnTo>
                    <a:pt x="255" y="82"/>
                  </a:lnTo>
                  <a:lnTo>
                    <a:pt x="251" y="85"/>
                  </a:lnTo>
                  <a:lnTo>
                    <a:pt x="248" y="87"/>
                  </a:lnTo>
                  <a:lnTo>
                    <a:pt x="243" y="89"/>
                  </a:lnTo>
                  <a:lnTo>
                    <a:pt x="239" y="90"/>
                  </a:lnTo>
                  <a:lnTo>
                    <a:pt x="235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6"/>
            <p:cNvSpPr>
              <a:spLocks/>
            </p:cNvSpPr>
            <p:nvPr/>
          </p:nvSpPr>
          <p:spPr bwMode="auto">
            <a:xfrm>
              <a:off x="4860925" y="4037013"/>
              <a:ext cx="130175" cy="39688"/>
            </a:xfrm>
            <a:custGeom>
              <a:avLst/>
              <a:gdLst>
                <a:gd name="T0" fmla="*/ 219 w 245"/>
                <a:gd name="T1" fmla="*/ 76 h 76"/>
                <a:gd name="T2" fmla="*/ 218 w 245"/>
                <a:gd name="T3" fmla="*/ 76 h 76"/>
                <a:gd name="T4" fmla="*/ 216 w 245"/>
                <a:gd name="T5" fmla="*/ 76 h 76"/>
                <a:gd name="T6" fmla="*/ 23 w 245"/>
                <a:gd name="T7" fmla="*/ 51 h 76"/>
                <a:gd name="T8" fmla="*/ 17 w 245"/>
                <a:gd name="T9" fmla="*/ 50 h 76"/>
                <a:gd name="T10" fmla="*/ 13 w 245"/>
                <a:gd name="T11" fmla="*/ 47 h 76"/>
                <a:gd name="T12" fmla="*/ 9 w 245"/>
                <a:gd name="T13" fmla="*/ 44 h 76"/>
                <a:gd name="T14" fmla="*/ 6 w 245"/>
                <a:gd name="T15" fmla="*/ 41 h 76"/>
                <a:gd name="T16" fmla="*/ 3 w 245"/>
                <a:gd name="T17" fmla="*/ 37 h 76"/>
                <a:gd name="T18" fmla="*/ 0 w 245"/>
                <a:gd name="T19" fmla="*/ 33 h 76"/>
                <a:gd name="T20" fmla="*/ 0 w 245"/>
                <a:gd name="T21" fmla="*/ 27 h 76"/>
                <a:gd name="T22" fmla="*/ 0 w 245"/>
                <a:gd name="T23" fmla="*/ 23 h 76"/>
                <a:gd name="T24" fmla="*/ 2 w 245"/>
                <a:gd name="T25" fmla="*/ 17 h 76"/>
                <a:gd name="T26" fmla="*/ 3 w 245"/>
                <a:gd name="T27" fmla="*/ 13 h 76"/>
                <a:gd name="T28" fmla="*/ 6 w 245"/>
                <a:gd name="T29" fmla="*/ 8 h 76"/>
                <a:gd name="T30" fmla="*/ 10 w 245"/>
                <a:gd name="T31" fmla="*/ 4 h 76"/>
                <a:gd name="T32" fmla="*/ 15 w 245"/>
                <a:gd name="T33" fmla="*/ 3 h 76"/>
                <a:gd name="T34" fmla="*/ 19 w 245"/>
                <a:gd name="T35" fmla="*/ 0 h 76"/>
                <a:gd name="T36" fmla="*/ 23 w 245"/>
                <a:gd name="T37" fmla="*/ 0 h 76"/>
                <a:gd name="T38" fmla="*/ 29 w 245"/>
                <a:gd name="T39" fmla="*/ 0 h 76"/>
                <a:gd name="T40" fmla="*/ 223 w 245"/>
                <a:gd name="T41" fmla="*/ 24 h 76"/>
                <a:gd name="T42" fmla="*/ 228 w 245"/>
                <a:gd name="T43" fmla="*/ 24 h 76"/>
                <a:gd name="T44" fmla="*/ 232 w 245"/>
                <a:gd name="T45" fmla="*/ 27 h 76"/>
                <a:gd name="T46" fmla="*/ 236 w 245"/>
                <a:gd name="T47" fmla="*/ 30 h 76"/>
                <a:gd name="T48" fmla="*/ 241 w 245"/>
                <a:gd name="T49" fmla="*/ 33 h 76"/>
                <a:gd name="T50" fmla="*/ 244 w 245"/>
                <a:gd name="T51" fmla="*/ 37 h 76"/>
                <a:gd name="T52" fmla="*/ 245 w 245"/>
                <a:gd name="T53" fmla="*/ 43 h 76"/>
                <a:gd name="T54" fmla="*/ 245 w 245"/>
                <a:gd name="T55" fmla="*/ 47 h 76"/>
                <a:gd name="T56" fmla="*/ 245 w 245"/>
                <a:gd name="T57" fmla="*/ 53 h 76"/>
                <a:gd name="T58" fmla="*/ 245 w 245"/>
                <a:gd name="T59" fmla="*/ 57 h 76"/>
                <a:gd name="T60" fmla="*/ 242 w 245"/>
                <a:gd name="T61" fmla="*/ 62 h 76"/>
                <a:gd name="T62" fmla="*/ 241 w 245"/>
                <a:gd name="T63" fmla="*/ 66 h 76"/>
                <a:gd name="T64" fmla="*/ 236 w 245"/>
                <a:gd name="T65" fmla="*/ 69 h 76"/>
                <a:gd name="T66" fmla="*/ 233 w 245"/>
                <a:gd name="T67" fmla="*/ 72 h 76"/>
                <a:gd name="T68" fmla="*/ 229 w 245"/>
                <a:gd name="T69" fmla="*/ 73 h 76"/>
                <a:gd name="T70" fmla="*/ 225 w 245"/>
                <a:gd name="T71" fmla="*/ 75 h 76"/>
                <a:gd name="T72" fmla="*/ 219 w 245"/>
                <a:gd name="T7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5" h="76">
                  <a:moveTo>
                    <a:pt x="219" y="76"/>
                  </a:moveTo>
                  <a:lnTo>
                    <a:pt x="218" y="76"/>
                  </a:lnTo>
                  <a:lnTo>
                    <a:pt x="216" y="76"/>
                  </a:lnTo>
                  <a:lnTo>
                    <a:pt x="23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9" y="44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23" y="24"/>
                  </a:lnTo>
                  <a:lnTo>
                    <a:pt x="228" y="24"/>
                  </a:lnTo>
                  <a:lnTo>
                    <a:pt x="232" y="27"/>
                  </a:lnTo>
                  <a:lnTo>
                    <a:pt x="236" y="30"/>
                  </a:lnTo>
                  <a:lnTo>
                    <a:pt x="241" y="33"/>
                  </a:lnTo>
                  <a:lnTo>
                    <a:pt x="244" y="37"/>
                  </a:lnTo>
                  <a:lnTo>
                    <a:pt x="245" y="43"/>
                  </a:lnTo>
                  <a:lnTo>
                    <a:pt x="245" y="47"/>
                  </a:lnTo>
                  <a:lnTo>
                    <a:pt x="245" y="53"/>
                  </a:lnTo>
                  <a:lnTo>
                    <a:pt x="245" y="57"/>
                  </a:lnTo>
                  <a:lnTo>
                    <a:pt x="242" y="62"/>
                  </a:lnTo>
                  <a:lnTo>
                    <a:pt x="241" y="66"/>
                  </a:lnTo>
                  <a:lnTo>
                    <a:pt x="236" y="69"/>
                  </a:lnTo>
                  <a:lnTo>
                    <a:pt x="233" y="72"/>
                  </a:lnTo>
                  <a:lnTo>
                    <a:pt x="229" y="73"/>
                  </a:lnTo>
                  <a:lnTo>
                    <a:pt x="225" y="75"/>
                  </a:lnTo>
                  <a:lnTo>
                    <a:pt x="219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/>
            <p:cNvSpPr>
              <a:spLocks noEditPoints="1"/>
            </p:cNvSpPr>
            <p:nvPr/>
          </p:nvSpPr>
          <p:spPr bwMode="auto">
            <a:xfrm>
              <a:off x="4478338" y="3613151"/>
              <a:ext cx="554038" cy="525463"/>
            </a:xfrm>
            <a:custGeom>
              <a:avLst/>
              <a:gdLst>
                <a:gd name="T0" fmla="*/ 897 w 1046"/>
                <a:gd name="T1" fmla="*/ 941 h 993"/>
                <a:gd name="T2" fmla="*/ 700 w 1046"/>
                <a:gd name="T3" fmla="*/ 444 h 993"/>
                <a:gd name="T4" fmla="*/ 692 w 1046"/>
                <a:gd name="T5" fmla="*/ 440 h 993"/>
                <a:gd name="T6" fmla="*/ 686 w 1046"/>
                <a:gd name="T7" fmla="*/ 434 h 993"/>
                <a:gd name="T8" fmla="*/ 681 w 1046"/>
                <a:gd name="T9" fmla="*/ 427 h 993"/>
                <a:gd name="T10" fmla="*/ 680 w 1046"/>
                <a:gd name="T11" fmla="*/ 418 h 993"/>
                <a:gd name="T12" fmla="*/ 679 w 1046"/>
                <a:gd name="T13" fmla="*/ 215 h 993"/>
                <a:gd name="T14" fmla="*/ 668 w 1046"/>
                <a:gd name="T15" fmla="*/ 157 h 993"/>
                <a:gd name="T16" fmla="*/ 656 w 1046"/>
                <a:gd name="T17" fmla="*/ 126 h 993"/>
                <a:gd name="T18" fmla="*/ 643 w 1046"/>
                <a:gd name="T19" fmla="*/ 106 h 993"/>
                <a:gd name="T20" fmla="*/ 624 w 1046"/>
                <a:gd name="T21" fmla="*/ 87 h 993"/>
                <a:gd name="T22" fmla="*/ 596 w 1046"/>
                <a:gd name="T23" fmla="*/ 72 h 993"/>
                <a:gd name="T24" fmla="*/ 566 w 1046"/>
                <a:gd name="T25" fmla="*/ 62 h 993"/>
                <a:gd name="T26" fmla="*/ 536 w 1046"/>
                <a:gd name="T27" fmla="*/ 55 h 993"/>
                <a:gd name="T28" fmla="*/ 523 w 1046"/>
                <a:gd name="T29" fmla="*/ 264 h 993"/>
                <a:gd name="T30" fmla="*/ 522 w 1046"/>
                <a:gd name="T31" fmla="*/ 273 h 993"/>
                <a:gd name="T32" fmla="*/ 516 w 1046"/>
                <a:gd name="T33" fmla="*/ 281 h 993"/>
                <a:gd name="T34" fmla="*/ 363 w 1046"/>
                <a:gd name="T35" fmla="*/ 440 h 993"/>
                <a:gd name="T36" fmla="*/ 355 w 1046"/>
                <a:gd name="T37" fmla="*/ 444 h 993"/>
                <a:gd name="T38" fmla="*/ 54 w 1046"/>
                <a:gd name="T39" fmla="*/ 444 h 993"/>
                <a:gd name="T40" fmla="*/ 353 w 1046"/>
                <a:gd name="T41" fmla="*/ 887 h 993"/>
                <a:gd name="T42" fmla="*/ 359 w 1046"/>
                <a:gd name="T43" fmla="*/ 889 h 993"/>
                <a:gd name="T44" fmla="*/ 919 w 1046"/>
                <a:gd name="T45" fmla="*/ 993 h 993"/>
                <a:gd name="T46" fmla="*/ 595 w 1046"/>
                <a:gd name="T47" fmla="*/ 993 h 993"/>
                <a:gd name="T48" fmla="*/ 350 w 1046"/>
                <a:gd name="T49" fmla="*/ 941 h 993"/>
                <a:gd name="T50" fmla="*/ 22 w 1046"/>
                <a:gd name="T51" fmla="*/ 939 h 993"/>
                <a:gd name="T52" fmla="*/ 12 w 1046"/>
                <a:gd name="T53" fmla="*/ 936 h 993"/>
                <a:gd name="T54" fmla="*/ 5 w 1046"/>
                <a:gd name="T55" fmla="*/ 929 h 993"/>
                <a:gd name="T56" fmla="*/ 2 w 1046"/>
                <a:gd name="T57" fmla="*/ 919 h 993"/>
                <a:gd name="T58" fmla="*/ 0 w 1046"/>
                <a:gd name="T59" fmla="*/ 418 h 993"/>
                <a:gd name="T60" fmla="*/ 3 w 1046"/>
                <a:gd name="T61" fmla="*/ 408 h 993"/>
                <a:gd name="T62" fmla="*/ 9 w 1046"/>
                <a:gd name="T63" fmla="*/ 399 h 993"/>
                <a:gd name="T64" fmla="*/ 16 w 1046"/>
                <a:gd name="T65" fmla="*/ 394 h 993"/>
                <a:gd name="T66" fmla="*/ 26 w 1046"/>
                <a:gd name="T67" fmla="*/ 392 h 993"/>
                <a:gd name="T68" fmla="*/ 471 w 1046"/>
                <a:gd name="T69" fmla="*/ 252 h 993"/>
                <a:gd name="T70" fmla="*/ 471 w 1046"/>
                <a:gd name="T71" fmla="*/ 21 h 993"/>
                <a:gd name="T72" fmla="*/ 476 w 1046"/>
                <a:gd name="T73" fmla="*/ 12 h 993"/>
                <a:gd name="T74" fmla="*/ 483 w 1046"/>
                <a:gd name="T75" fmla="*/ 5 h 993"/>
                <a:gd name="T76" fmla="*/ 491 w 1046"/>
                <a:gd name="T77" fmla="*/ 0 h 993"/>
                <a:gd name="T78" fmla="*/ 519 w 1046"/>
                <a:gd name="T79" fmla="*/ 0 h 993"/>
                <a:gd name="T80" fmla="*/ 578 w 1046"/>
                <a:gd name="T81" fmla="*/ 11 h 993"/>
                <a:gd name="T82" fmla="*/ 607 w 1046"/>
                <a:gd name="T83" fmla="*/ 19 h 993"/>
                <a:gd name="T84" fmla="*/ 634 w 1046"/>
                <a:gd name="T85" fmla="*/ 32 h 993"/>
                <a:gd name="T86" fmla="*/ 660 w 1046"/>
                <a:gd name="T87" fmla="*/ 49 h 993"/>
                <a:gd name="T88" fmla="*/ 683 w 1046"/>
                <a:gd name="T89" fmla="*/ 71 h 993"/>
                <a:gd name="T90" fmla="*/ 700 w 1046"/>
                <a:gd name="T91" fmla="*/ 97 h 993"/>
                <a:gd name="T92" fmla="*/ 712 w 1046"/>
                <a:gd name="T93" fmla="*/ 124 h 993"/>
                <a:gd name="T94" fmla="*/ 722 w 1046"/>
                <a:gd name="T95" fmla="*/ 152 h 993"/>
                <a:gd name="T96" fmla="*/ 730 w 1046"/>
                <a:gd name="T97" fmla="*/ 209 h 993"/>
                <a:gd name="T98" fmla="*/ 732 w 1046"/>
                <a:gd name="T99" fmla="*/ 396 h 993"/>
                <a:gd name="T100" fmla="*/ 1030 w 1046"/>
                <a:gd name="T101" fmla="*/ 464 h 993"/>
                <a:gd name="T102" fmla="*/ 1039 w 1046"/>
                <a:gd name="T103" fmla="*/ 470 h 993"/>
                <a:gd name="T104" fmla="*/ 1044 w 1046"/>
                <a:gd name="T105" fmla="*/ 477 h 993"/>
                <a:gd name="T106" fmla="*/ 1046 w 1046"/>
                <a:gd name="T107" fmla="*/ 487 h 993"/>
                <a:gd name="T108" fmla="*/ 945 w 1046"/>
                <a:gd name="T109" fmla="*/ 971 h 993"/>
                <a:gd name="T110" fmla="*/ 942 w 1046"/>
                <a:gd name="T111" fmla="*/ 980 h 993"/>
                <a:gd name="T112" fmla="*/ 936 w 1046"/>
                <a:gd name="T113" fmla="*/ 987 h 993"/>
                <a:gd name="T114" fmla="*/ 928 w 1046"/>
                <a:gd name="T115" fmla="*/ 991 h 993"/>
                <a:gd name="T116" fmla="*/ 919 w 1046"/>
                <a:gd name="T117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6" h="993">
                  <a:moveTo>
                    <a:pt x="599" y="941"/>
                  </a:moveTo>
                  <a:lnTo>
                    <a:pt x="897" y="941"/>
                  </a:lnTo>
                  <a:lnTo>
                    <a:pt x="988" y="507"/>
                  </a:lnTo>
                  <a:lnTo>
                    <a:pt x="700" y="444"/>
                  </a:lnTo>
                  <a:lnTo>
                    <a:pt x="696" y="443"/>
                  </a:lnTo>
                  <a:lnTo>
                    <a:pt x="692" y="440"/>
                  </a:lnTo>
                  <a:lnTo>
                    <a:pt x="689" y="437"/>
                  </a:lnTo>
                  <a:lnTo>
                    <a:pt x="686" y="434"/>
                  </a:lnTo>
                  <a:lnTo>
                    <a:pt x="683" y="431"/>
                  </a:lnTo>
                  <a:lnTo>
                    <a:pt x="681" y="427"/>
                  </a:lnTo>
                  <a:lnTo>
                    <a:pt x="680" y="422"/>
                  </a:lnTo>
                  <a:lnTo>
                    <a:pt x="680" y="418"/>
                  </a:lnTo>
                  <a:lnTo>
                    <a:pt x="680" y="231"/>
                  </a:lnTo>
                  <a:lnTo>
                    <a:pt x="679" y="215"/>
                  </a:lnTo>
                  <a:lnTo>
                    <a:pt x="674" y="179"/>
                  </a:lnTo>
                  <a:lnTo>
                    <a:pt x="668" y="157"/>
                  </a:lnTo>
                  <a:lnTo>
                    <a:pt x="661" y="136"/>
                  </a:lnTo>
                  <a:lnTo>
                    <a:pt x="656" y="126"/>
                  </a:lnTo>
                  <a:lnTo>
                    <a:pt x="650" y="114"/>
                  </a:lnTo>
                  <a:lnTo>
                    <a:pt x="643" y="106"/>
                  </a:lnTo>
                  <a:lnTo>
                    <a:pt x="635" y="97"/>
                  </a:lnTo>
                  <a:lnTo>
                    <a:pt x="624" y="87"/>
                  </a:lnTo>
                  <a:lnTo>
                    <a:pt x="611" y="78"/>
                  </a:lnTo>
                  <a:lnTo>
                    <a:pt x="596" y="72"/>
                  </a:lnTo>
                  <a:lnTo>
                    <a:pt x="582" y="67"/>
                  </a:lnTo>
                  <a:lnTo>
                    <a:pt x="566" y="62"/>
                  </a:lnTo>
                  <a:lnTo>
                    <a:pt x="550" y="58"/>
                  </a:lnTo>
                  <a:lnTo>
                    <a:pt x="536" y="55"/>
                  </a:lnTo>
                  <a:lnTo>
                    <a:pt x="523" y="54"/>
                  </a:lnTo>
                  <a:lnTo>
                    <a:pt x="523" y="264"/>
                  </a:lnTo>
                  <a:lnTo>
                    <a:pt x="523" y="268"/>
                  </a:lnTo>
                  <a:lnTo>
                    <a:pt x="522" y="273"/>
                  </a:lnTo>
                  <a:lnTo>
                    <a:pt x="519" y="278"/>
                  </a:lnTo>
                  <a:lnTo>
                    <a:pt x="516" y="281"/>
                  </a:lnTo>
                  <a:lnTo>
                    <a:pt x="368" y="435"/>
                  </a:lnTo>
                  <a:lnTo>
                    <a:pt x="363" y="440"/>
                  </a:lnTo>
                  <a:lnTo>
                    <a:pt x="359" y="441"/>
                  </a:lnTo>
                  <a:lnTo>
                    <a:pt x="355" y="444"/>
                  </a:lnTo>
                  <a:lnTo>
                    <a:pt x="349" y="444"/>
                  </a:lnTo>
                  <a:lnTo>
                    <a:pt x="54" y="444"/>
                  </a:lnTo>
                  <a:lnTo>
                    <a:pt x="54" y="887"/>
                  </a:lnTo>
                  <a:lnTo>
                    <a:pt x="353" y="887"/>
                  </a:lnTo>
                  <a:lnTo>
                    <a:pt x="356" y="887"/>
                  </a:lnTo>
                  <a:lnTo>
                    <a:pt x="359" y="889"/>
                  </a:lnTo>
                  <a:lnTo>
                    <a:pt x="599" y="941"/>
                  </a:lnTo>
                  <a:close/>
                  <a:moveTo>
                    <a:pt x="919" y="993"/>
                  </a:moveTo>
                  <a:lnTo>
                    <a:pt x="596" y="993"/>
                  </a:lnTo>
                  <a:lnTo>
                    <a:pt x="595" y="993"/>
                  </a:lnTo>
                  <a:lnTo>
                    <a:pt x="592" y="991"/>
                  </a:lnTo>
                  <a:lnTo>
                    <a:pt x="350" y="941"/>
                  </a:lnTo>
                  <a:lnTo>
                    <a:pt x="26" y="941"/>
                  </a:lnTo>
                  <a:lnTo>
                    <a:pt x="22" y="939"/>
                  </a:lnTo>
                  <a:lnTo>
                    <a:pt x="16" y="938"/>
                  </a:lnTo>
                  <a:lnTo>
                    <a:pt x="12" y="936"/>
                  </a:lnTo>
                  <a:lnTo>
                    <a:pt x="9" y="932"/>
                  </a:lnTo>
                  <a:lnTo>
                    <a:pt x="5" y="929"/>
                  </a:lnTo>
                  <a:lnTo>
                    <a:pt x="3" y="925"/>
                  </a:lnTo>
                  <a:lnTo>
                    <a:pt x="2" y="919"/>
                  </a:lnTo>
                  <a:lnTo>
                    <a:pt x="0" y="913"/>
                  </a:lnTo>
                  <a:lnTo>
                    <a:pt x="0" y="418"/>
                  </a:lnTo>
                  <a:lnTo>
                    <a:pt x="2" y="412"/>
                  </a:lnTo>
                  <a:lnTo>
                    <a:pt x="3" y="408"/>
                  </a:lnTo>
                  <a:lnTo>
                    <a:pt x="5" y="404"/>
                  </a:lnTo>
                  <a:lnTo>
                    <a:pt x="9" y="399"/>
                  </a:lnTo>
                  <a:lnTo>
                    <a:pt x="12" y="396"/>
                  </a:lnTo>
                  <a:lnTo>
                    <a:pt x="16" y="394"/>
                  </a:lnTo>
                  <a:lnTo>
                    <a:pt x="22" y="392"/>
                  </a:lnTo>
                  <a:lnTo>
                    <a:pt x="26" y="392"/>
                  </a:lnTo>
                  <a:lnTo>
                    <a:pt x="337" y="392"/>
                  </a:lnTo>
                  <a:lnTo>
                    <a:pt x="471" y="252"/>
                  </a:lnTo>
                  <a:lnTo>
                    <a:pt x="471" y="26"/>
                  </a:lnTo>
                  <a:lnTo>
                    <a:pt x="471" y="21"/>
                  </a:lnTo>
                  <a:lnTo>
                    <a:pt x="473" y="16"/>
                  </a:lnTo>
                  <a:lnTo>
                    <a:pt x="476" y="12"/>
                  </a:lnTo>
                  <a:lnTo>
                    <a:pt x="478" y="8"/>
                  </a:lnTo>
                  <a:lnTo>
                    <a:pt x="483" y="5"/>
                  </a:lnTo>
                  <a:lnTo>
                    <a:pt x="487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19" y="0"/>
                  </a:lnTo>
                  <a:lnTo>
                    <a:pt x="565" y="8"/>
                  </a:lnTo>
                  <a:lnTo>
                    <a:pt x="578" y="11"/>
                  </a:lnTo>
                  <a:lnTo>
                    <a:pt x="592" y="15"/>
                  </a:lnTo>
                  <a:lnTo>
                    <a:pt x="607" y="19"/>
                  </a:lnTo>
                  <a:lnTo>
                    <a:pt x="621" y="25"/>
                  </a:lnTo>
                  <a:lnTo>
                    <a:pt x="634" y="32"/>
                  </a:lnTo>
                  <a:lnTo>
                    <a:pt x="648" y="41"/>
                  </a:lnTo>
                  <a:lnTo>
                    <a:pt x="660" y="49"/>
                  </a:lnTo>
                  <a:lnTo>
                    <a:pt x="673" y="60"/>
                  </a:lnTo>
                  <a:lnTo>
                    <a:pt x="683" y="71"/>
                  </a:lnTo>
                  <a:lnTo>
                    <a:pt x="692" y="84"/>
                  </a:lnTo>
                  <a:lnTo>
                    <a:pt x="700" y="97"/>
                  </a:lnTo>
                  <a:lnTo>
                    <a:pt x="706" y="111"/>
                  </a:lnTo>
                  <a:lnTo>
                    <a:pt x="712" y="124"/>
                  </a:lnTo>
                  <a:lnTo>
                    <a:pt x="717" y="139"/>
                  </a:lnTo>
                  <a:lnTo>
                    <a:pt x="722" y="152"/>
                  </a:lnTo>
                  <a:lnTo>
                    <a:pt x="725" y="166"/>
                  </a:lnTo>
                  <a:lnTo>
                    <a:pt x="730" y="209"/>
                  </a:lnTo>
                  <a:lnTo>
                    <a:pt x="732" y="231"/>
                  </a:lnTo>
                  <a:lnTo>
                    <a:pt x="732" y="396"/>
                  </a:lnTo>
                  <a:lnTo>
                    <a:pt x="1026" y="461"/>
                  </a:lnTo>
                  <a:lnTo>
                    <a:pt x="1030" y="464"/>
                  </a:lnTo>
                  <a:lnTo>
                    <a:pt x="1034" y="466"/>
                  </a:lnTo>
                  <a:lnTo>
                    <a:pt x="1039" y="470"/>
                  </a:lnTo>
                  <a:lnTo>
                    <a:pt x="1041" y="473"/>
                  </a:lnTo>
                  <a:lnTo>
                    <a:pt x="1044" y="477"/>
                  </a:lnTo>
                  <a:lnTo>
                    <a:pt x="1046" y="483"/>
                  </a:lnTo>
                  <a:lnTo>
                    <a:pt x="1046" y="487"/>
                  </a:lnTo>
                  <a:lnTo>
                    <a:pt x="1044" y="493"/>
                  </a:lnTo>
                  <a:lnTo>
                    <a:pt x="945" y="971"/>
                  </a:lnTo>
                  <a:lnTo>
                    <a:pt x="944" y="975"/>
                  </a:lnTo>
                  <a:lnTo>
                    <a:pt x="942" y="980"/>
                  </a:lnTo>
                  <a:lnTo>
                    <a:pt x="939" y="984"/>
                  </a:lnTo>
                  <a:lnTo>
                    <a:pt x="936" y="987"/>
                  </a:lnTo>
                  <a:lnTo>
                    <a:pt x="932" y="990"/>
                  </a:lnTo>
                  <a:lnTo>
                    <a:pt x="928" y="991"/>
                  </a:lnTo>
                  <a:lnTo>
                    <a:pt x="923" y="993"/>
                  </a:lnTo>
                  <a:lnTo>
                    <a:pt x="919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/>
            <p:cNvSpPr>
              <a:spLocks/>
            </p:cNvSpPr>
            <p:nvPr/>
          </p:nvSpPr>
          <p:spPr bwMode="auto">
            <a:xfrm>
              <a:off x="4560888" y="3838576"/>
              <a:ext cx="26988" cy="257175"/>
            </a:xfrm>
            <a:custGeom>
              <a:avLst/>
              <a:gdLst>
                <a:gd name="T0" fmla="*/ 26 w 52"/>
                <a:gd name="T1" fmla="*/ 486 h 486"/>
                <a:gd name="T2" fmla="*/ 21 w 52"/>
                <a:gd name="T3" fmla="*/ 486 h 486"/>
                <a:gd name="T4" fmla="*/ 16 w 52"/>
                <a:gd name="T5" fmla="*/ 485 h 486"/>
                <a:gd name="T6" fmla="*/ 12 w 52"/>
                <a:gd name="T7" fmla="*/ 482 h 486"/>
                <a:gd name="T8" fmla="*/ 8 w 52"/>
                <a:gd name="T9" fmla="*/ 479 h 486"/>
                <a:gd name="T10" fmla="*/ 5 w 52"/>
                <a:gd name="T11" fmla="*/ 475 h 486"/>
                <a:gd name="T12" fmla="*/ 2 w 52"/>
                <a:gd name="T13" fmla="*/ 471 h 486"/>
                <a:gd name="T14" fmla="*/ 0 w 52"/>
                <a:gd name="T15" fmla="*/ 466 h 486"/>
                <a:gd name="T16" fmla="*/ 0 w 52"/>
                <a:gd name="T17" fmla="*/ 460 h 486"/>
                <a:gd name="T18" fmla="*/ 0 w 52"/>
                <a:gd name="T19" fmla="*/ 26 h 486"/>
                <a:gd name="T20" fmla="*/ 0 w 52"/>
                <a:gd name="T21" fmla="*/ 20 h 486"/>
                <a:gd name="T22" fmla="*/ 2 w 52"/>
                <a:gd name="T23" fmla="*/ 16 h 486"/>
                <a:gd name="T24" fmla="*/ 5 w 52"/>
                <a:gd name="T25" fmla="*/ 11 h 486"/>
                <a:gd name="T26" fmla="*/ 8 w 52"/>
                <a:gd name="T27" fmla="*/ 7 h 486"/>
                <a:gd name="T28" fmla="*/ 12 w 52"/>
                <a:gd name="T29" fmla="*/ 4 h 486"/>
                <a:gd name="T30" fmla="*/ 16 w 52"/>
                <a:gd name="T31" fmla="*/ 1 h 486"/>
                <a:gd name="T32" fmla="*/ 21 w 52"/>
                <a:gd name="T33" fmla="*/ 0 h 486"/>
                <a:gd name="T34" fmla="*/ 26 w 52"/>
                <a:gd name="T35" fmla="*/ 0 h 486"/>
                <a:gd name="T36" fmla="*/ 32 w 52"/>
                <a:gd name="T37" fmla="*/ 0 h 486"/>
                <a:gd name="T38" fmla="*/ 36 w 52"/>
                <a:gd name="T39" fmla="*/ 1 h 486"/>
                <a:gd name="T40" fmla="*/ 41 w 52"/>
                <a:gd name="T41" fmla="*/ 4 h 486"/>
                <a:gd name="T42" fmla="*/ 45 w 52"/>
                <a:gd name="T43" fmla="*/ 7 h 486"/>
                <a:gd name="T44" fmla="*/ 48 w 52"/>
                <a:gd name="T45" fmla="*/ 11 h 486"/>
                <a:gd name="T46" fmla="*/ 51 w 52"/>
                <a:gd name="T47" fmla="*/ 16 h 486"/>
                <a:gd name="T48" fmla="*/ 52 w 52"/>
                <a:gd name="T49" fmla="*/ 20 h 486"/>
                <a:gd name="T50" fmla="*/ 52 w 52"/>
                <a:gd name="T51" fmla="*/ 26 h 486"/>
                <a:gd name="T52" fmla="*/ 52 w 52"/>
                <a:gd name="T53" fmla="*/ 460 h 486"/>
                <a:gd name="T54" fmla="*/ 52 w 52"/>
                <a:gd name="T55" fmla="*/ 466 h 486"/>
                <a:gd name="T56" fmla="*/ 51 w 52"/>
                <a:gd name="T57" fmla="*/ 471 h 486"/>
                <a:gd name="T58" fmla="*/ 48 w 52"/>
                <a:gd name="T59" fmla="*/ 475 h 486"/>
                <a:gd name="T60" fmla="*/ 45 w 52"/>
                <a:gd name="T61" fmla="*/ 479 h 486"/>
                <a:gd name="T62" fmla="*/ 41 w 52"/>
                <a:gd name="T63" fmla="*/ 482 h 486"/>
                <a:gd name="T64" fmla="*/ 36 w 52"/>
                <a:gd name="T65" fmla="*/ 485 h 486"/>
                <a:gd name="T66" fmla="*/ 32 w 52"/>
                <a:gd name="T67" fmla="*/ 486 h 486"/>
                <a:gd name="T68" fmla="*/ 26 w 52"/>
                <a:gd name="T69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486">
                  <a:moveTo>
                    <a:pt x="26" y="486"/>
                  </a:moveTo>
                  <a:lnTo>
                    <a:pt x="21" y="486"/>
                  </a:lnTo>
                  <a:lnTo>
                    <a:pt x="16" y="485"/>
                  </a:lnTo>
                  <a:lnTo>
                    <a:pt x="12" y="482"/>
                  </a:lnTo>
                  <a:lnTo>
                    <a:pt x="8" y="479"/>
                  </a:lnTo>
                  <a:lnTo>
                    <a:pt x="5" y="475"/>
                  </a:lnTo>
                  <a:lnTo>
                    <a:pt x="2" y="471"/>
                  </a:lnTo>
                  <a:lnTo>
                    <a:pt x="0" y="466"/>
                  </a:lnTo>
                  <a:lnTo>
                    <a:pt x="0" y="460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6" y="1"/>
                  </a:lnTo>
                  <a:lnTo>
                    <a:pt x="41" y="4"/>
                  </a:lnTo>
                  <a:lnTo>
                    <a:pt x="45" y="7"/>
                  </a:lnTo>
                  <a:lnTo>
                    <a:pt x="48" y="11"/>
                  </a:lnTo>
                  <a:lnTo>
                    <a:pt x="51" y="16"/>
                  </a:lnTo>
                  <a:lnTo>
                    <a:pt x="52" y="20"/>
                  </a:lnTo>
                  <a:lnTo>
                    <a:pt x="52" y="26"/>
                  </a:lnTo>
                  <a:lnTo>
                    <a:pt x="52" y="460"/>
                  </a:lnTo>
                  <a:lnTo>
                    <a:pt x="52" y="466"/>
                  </a:lnTo>
                  <a:lnTo>
                    <a:pt x="51" y="471"/>
                  </a:lnTo>
                  <a:lnTo>
                    <a:pt x="48" y="475"/>
                  </a:lnTo>
                  <a:lnTo>
                    <a:pt x="45" y="479"/>
                  </a:lnTo>
                  <a:lnTo>
                    <a:pt x="41" y="482"/>
                  </a:lnTo>
                  <a:lnTo>
                    <a:pt x="36" y="485"/>
                  </a:lnTo>
                  <a:lnTo>
                    <a:pt x="32" y="486"/>
                  </a:lnTo>
                  <a:lnTo>
                    <a:pt x="26" y="4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4348245" y="1962655"/>
            <a:ext cx="384324" cy="384324"/>
            <a:chOff x="5370928" y="4037271"/>
            <a:chExt cx="664188" cy="664189"/>
          </a:xfrm>
          <a:solidFill>
            <a:schemeClr val="bg1"/>
          </a:solidFill>
        </p:grpSpPr>
        <p:sp>
          <p:nvSpPr>
            <p:cNvPr id="261" name="Freeform 41"/>
            <p:cNvSpPr>
              <a:spLocks noEditPoints="1"/>
            </p:cNvSpPr>
            <p:nvPr/>
          </p:nvSpPr>
          <p:spPr bwMode="auto">
            <a:xfrm>
              <a:off x="5370928" y="4037271"/>
              <a:ext cx="664188" cy="664189"/>
            </a:xfrm>
            <a:custGeom>
              <a:avLst/>
              <a:gdLst>
                <a:gd name="T0" fmla="*/ 440 w 1081"/>
                <a:gd name="T1" fmla="*/ 51 h 1080"/>
                <a:gd name="T2" fmla="*/ 324 w 1081"/>
                <a:gd name="T3" fmla="*/ 90 h 1080"/>
                <a:gd name="T4" fmla="*/ 222 w 1081"/>
                <a:gd name="T5" fmla="*/ 154 h 1080"/>
                <a:gd name="T6" fmla="*/ 140 w 1081"/>
                <a:gd name="T7" fmla="*/ 241 h 1080"/>
                <a:gd name="T8" fmla="*/ 80 w 1081"/>
                <a:gd name="T9" fmla="*/ 346 h 1080"/>
                <a:gd name="T10" fmla="*/ 46 w 1081"/>
                <a:gd name="T11" fmla="*/ 465 h 1080"/>
                <a:gd name="T12" fmla="*/ 44 w 1081"/>
                <a:gd name="T13" fmla="*/ 591 h 1080"/>
                <a:gd name="T14" fmla="*/ 71 w 1081"/>
                <a:gd name="T15" fmla="*/ 712 h 1080"/>
                <a:gd name="T16" fmla="*/ 126 w 1081"/>
                <a:gd name="T17" fmla="*/ 820 h 1080"/>
                <a:gd name="T18" fmla="*/ 204 w 1081"/>
                <a:gd name="T19" fmla="*/ 911 h 1080"/>
                <a:gd name="T20" fmla="*/ 302 w 1081"/>
                <a:gd name="T21" fmla="*/ 980 h 1080"/>
                <a:gd name="T22" fmla="*/ 415 w 1081"/>
                <a:gd name="T23" fmla="*/ 1025 h 1080"/>
                <a:gd name="T24" fmla="*/ 540 w 1081"/>
                <a:gd name="T25" fmla="*/ 1040 h 1080"/>
                <a:gd name="T26" fmla="*/ 665 w 1081"/>
                <a:gd name="T27" fmla="*/ 1025 h 1080"/>
                <a:gd name="T28" fmla="*/ 779 w 1081"/>
                <a:gd name="T29" fmla="*/ 980 h 1080"/>
                <a:gd name="T30" fmla="*/ 876 w 1081"/>
                <a:gd name="T31" fmla="*/ 911 h 1080"/>
                <a:gd name="T32" fmla="*/ 955 w 1081"/>
                <a:gd name="T33" fmla="*/ 820 h 1080"/>
                <a:gd name="T34" fmla="*/ 1010 w 1081"/>
                <a:gd name="T35" fmla="*/ 712 h 1080"/>
                <a:gd name="T36" fmla="*/ 1037 w 1081"/>
                <a:gd name="T37" fmla="*/ 591 h 1080"/>
                <a:gd name="T38" fmla="*/ 1035 w 1081"/>
                <a:gd name="T39" fmla="*/ 465 h 1080"/>
                <a:gd name="T40" fmla="*/ 1001 w 1081"/>
                <a:gd name="T41" fmla="*/ 346 h 1080"/>
                <a:gd name="T42" fmla="*/ 940 w 1081"/>
                <a:gd name="T43" fmla="*/ 241 h 1080"/>
                <a:gd name="T44" fmla="*/ 858 w 1081"/>
                <a:gd name="T45" fmla="*/ 154 h 1080"/>
                <a:gd name="T46" fmla="*/ 756 w 1081"/>
                <a:gd name="T47" fmla="*/ 90 h 1080"/>
                <a:gd name="T48" fmla="*/ 641 w 1081"/>
                <a:gd name="T49" fmla="*/ 51 h 1080"/>
                <a:gd name="T50" fmla="*/ 540 w 1081"/>
                <a:gd name="T51" fmla="*/ 1080 h 1080"/>
                <a:gd name="T52" fmla="*/ 405 w 1081"/>
                <a:gd name="T53" fmla="*/ 1064 h 1080"/>
                <a:gd name="T54" fmla="*/ 283 w 1081"/>
                <a:gd name="T55" fmla="*/ 1015 h 1080"/>
                <a:gd name="T56" fmla="*/ 178 w 1081"/>
                <a:gd name="T57" fmla="*/ 939 h 1080"/>
                <a:gd name="T58" fmla="*/ 93 w 1081"/>
                <a:gd name="T59" fmla="*/ 842 h 1080"/>
                <a:gd name="T60" fmla="*/ 34 w 1081"/>
                <a:gd name="T61" fmla="*/ 726 h 1080"/>
                <a:gd name="T62" fmla="*/ 4 w 1081"/>
                <a:gd name="T63" fmla="*/ 595 h 1080"/>
                <a:gd name="T64" fmla="*/ 6 w 1081"/>
                <a:gd name="T65" fmla="*/ 459 h 1080"/>
                <a:gd name="T66" fmla="*/ 44 w 1081"/>
                <a:gd name="T67" fmla="*/ 331 h 1080"/>
                <a:gd name="T68" fmla="*/ 108 w 1081"/>
                <a:gd name="T69" fmla="*/ 218 h 1080"/>
                <a:gd name="T70" fmla="*/ 198 w 1081"/>
                <a:gd name="T71" fmla="*/ 124 h 1080"/>
                <a:gd name="T72" fmla="*/ 307 w 1081"/>
                <a:gd name="T73" fmla="*/ 54 h 1080"/>
                <a:gd name="T74" fmla="*/ 431 w 1081"/>
                <a:gd name="T75" fmla="*/ 11 h 1080"/>
                <a:gd name="T76" fmla="*/ 568 w 1081"/>
                <a:gd name="T77" fmla="*/ 1 h 1080"/>
                <a:gd name="T78" fmla="*/ 701 w 1081"/>
                <a:gd name="T79" fmla="*/ 25 h 1080"/>
                <a:gd name="T80" fmla="*/ 820 w 1081"/>
                <a:gd name="T81" fmla="*/ 78 h 1080"/>
                <a:gd name="T82" fmla="*/ 922 w 1081"/>
                <a:gd name="T83" fmla="*/ 159 h 1080"/>
                <a:gd name="T84" fmla="*/ 1002 w 1081"/>
                <a:gd name="T85" fmla="*/ 261 h 1080"/>
                <a:gd name="T86" fmla="*/ 1056 w 1081"/>
                <a:gd name="T87" fmla="*/ 380 h 1080"/>
                <a:gd name="T88" fmla="*/ 1079 w 1081"/>
                <a:gd name="T89" fmla="*/ 513 h 1080"/>
                <a:gd name="T90" fmla="*/ 1069 w 1081"/>
                <a:gd name="T91" fmla="*/ 649 h 1080"/>
                <a:gd name="T92" fmla="*/ 1027 w 1081"/>
                <a:gd name="T93" fmla="*/ 774 h 1080"/>
                <a:gd name="T94" fmla="*/ 956 w 1081"/>
                <a:gd name="T95" fmla="*/ 883 h 1080"/>
                <a:gd name="T96" fmla="*/ 863 w 1081"/>
                <a:gd name="T97" fmla="*/ 973 h 1080"/>
                <a:gd name="T98" fmla="*/ 750 w 1081"/>
                <a:gd name="T99" fmla="*/ 1038 h 1080"/>
                <a:gd name="T100" fmla="*/ 622 w 1081"/>
                <a:gd name="T101" fmla="*/ 1074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81" h="1080">
                  <a:moveTo>
                    <a:pt x="540" y="40"/>
                  </a:moveTo>
                  <a:lnTo>
                    <a:pt x="514" y="41"/>
                  </a:lnTo>
                  <a:lnTo>
                    <a:pt x="489" y="44"/>
                  </a:lnTo>
                  <a:lnTo>
                    <a:pt x="465" y="46"/>
                  </a:lnTo>
                  <a:lnTo>
                    <a:pt x="440" y="51"/>
                  </a:lnTo>
                  <a:lnTo>
                    <a:pt x="415" y="56"/>
                  </a:lnTo>
                  <a:lnTo>
                    <a:pt x="391" y="63"/>
                  </a:lnTo>
                  <a:lnTo>
                    <a:pt x="369" y="71"/>
                  </a:lnTo>
                  <a:lnTo>
                    <a:pt x="345" y="80"/>
                  </a:lnTo>
                  <a:lnTo>
                    <a:pt x="324" y="90"/>
                  </a:lnTo>
                  <a:lnTo>
                    <a:pt x="302" y="101"/>
                  </a:lnTo>
                  <a:lnTo>
                    <a:pt x="281" y="113"/>
                  </a:lnTo>
                  <a:lnTo>
                    <a:pt x="261" y="126"/>
                  </a:lnTo>
                  <a:lnTo>
                    <a:pt x="241" y="141"/>
                  </a:lnTo>
                  <a:lnTo>
                    <a:pt x="222" y="154"/>
                  </a:lnTo>
                  <a:lnTo>
                    <a:pt x="204" y="170"/>
                  </a:lnTo>
                  <a:lnTo>
                    <a:pt x="188" y="186"/>
                  </a:lnTo>
                  <a:lnTo>
                    <a:pt x="170" y="204"/>
                  </a:lnTo>
                  <a:lnTo>
                    <a:pt x="155" y="223"/>
                  </a:lnTo>
                  <a:lnTo>
                    <a:pt x="140" y="241"/>
                  </a:lnTo>
                  <a:lnTo>
                    <a:pt x="126" y="261"/>
                  </a:lnTo>
                  <a:lnTo>
                    <a:pt x="113" y="281"/>
                  </a:lnTo>
                  <a:lnTo>
                    <a:pt x="101" y="302"/>
                  </a:lnTo>
                  <a:lnTo>
                    <a:pt x="90" y="324"/>
                  </a:lnTo>
                  <a:lnTo>
                    <a:pt x="80" y="346"/>
                  </a:lnTo>
                  <a:lnTo>
                    <a:pt x="71" y="369"/>
                  </a:lnTo>
                  <a:lnTo>
                    <a:pt x="63" y="391"/>
                  </a:lnTo>
                  <a:lnTo>
                    <a:pt x="56" y="415"/>
                  </a:lnTo>
                  <a:lnTo>
                    <a:pt x="51" y="440"/>
                  </a:lnTo>
                  <a:lnTo>
                    <a:pt x="46" y="465"/>
                  </a:lnTo>
                  <a:lnTo>
                    <a:pt x="44" y="490"/>
                  </a:lnTo>
                  <a:lnTo>
                    <a:pt x="41" y="514"/>
                  </a:lnTo>
                  <a:lnTo>
                    <a:pt x="41" y="541"/>
                  </a:lnTo>
                  <a:lnTo>
                    <a:pt x="41" y="567"/>
                  </a:lnTo>
                  <a:lnTo>
                    <a:pt x="44" y="591"/>
                  </a:lnTo>
                  <a:lnTo>
                    <a:pt x="46" y="616"/>
                  </a:lnTo>
                  <a:lnTo>
                    <a:pt x="51" y="641"/>
                  </a:lnTo>
                  <a:lnTo>
                    <a:pt x="56" y="665"/>
                  </a:lnTo>
                  <a:lnTo>
                    <a:pt x="63" y="688"/>
                  </a:lnTo>
                  <a:lnTo>
                    <a:pt x="71" y="712"/>
                  </a:lnTo>
                  <a:lnTo>
                    <a:pt x="80" y="734"/>
                  </a:lnTo>
                  <a:lnTo>
                    <a:pt x="90" y="757"/>
                  </a:lnTo>
                  <a:lnTo>
                    <a:pt x="101" y="779"/>
                  </a:lnTo>
                  <a:lnTo>
                    <a:pt x="113" y="799"/>
                  </a:lnTo>
                  <a:lnTo>
                    <a:pt x="126" y="820"/>
                  </a:lnTo>
                  <a:lnTo>
                    <a:pt x="140" y="840"/>
                  </a:lnTo>
                  <a:lnTo>
                    <a:pt x="155" y="859"/>
                  </a:lnTo>
                  <a:lnTo>
                    <a:pt x="170" y="876"/>
                  </a:lnTo>
                  <a:lnTo>
                    <a:pt x="188" y="893"/>
                  </a:lnTo>
                  <a:lnTo>
                    <a:pt x="204" y="911"/>
                  </a:lnTo>
                  <a:lnTo>
                    <a:pt x="222" y="926"/>
                  </a:lnTo>
                  <a:lnTo>
                    <a:pt x="241" y="941"/>
                  </a:lnTo>
                  <a:lnTo>
                    <a:pt x="261" y="954"/>
                  </a:lnTo>
                  <a:lnTo>
                    <a:pt x="281" y="968"/>
                  </a:lnTo>
                  <a:lnTo>
                    <a:pt x="302" y="980"/>
                  </a:lnTo>
                  <a:lnTo>
                    <a:pt x="324" y="992"/>
                  </a:lnTo>
                  <a:lnTo>
                    <a:pt x="345" y="1001"/>
                  </a:lnTo>
                  <a:lnTo>
                    <a:pt x="369" y="1010"/>
                  </a:lnTo>
                  <a:lnTo>
                    <a:pt x="391" y="1018"/>
                  </a:lnTo>
                  <a:lnTo>
                    <a:pt x="415" y="1025"/>
                  </a:lnTo>
                  <a:lnTo>
                    <a:pt x="440" y="1030"/>
                  </a:lnTo>
                  <a:lnTo>
                    <a:pt x="465" y="1035"/>
                  </a:lnTo>
                  <a:lnTo>
                    <a:pt x="489" y="1038"/>
                  </a:lnTo>
                  <a:lnTo>
                    <a:pt x="514" y="1040"/>
                  </a:lnTo>
                  <a:lnTo>
                    <a:pt x="540" y="1040"/>
                  </a:lnTo>
                  <a:lnTo>
                    <a:pt x="566" y="1040"/>
                  </a:lnTo>
                  <a:lnTo>
                    <a:pt x="591" y="1038"/>
                  </a:lnTo>
                  <a:lnTo>
                    <a:pt x="616" y="1035"/>
                  </a:lnTo>
                  <a:lnTo>
                    <a:pt x="641" y="1030"/>
                  </a:lnTo>
                  <a:lnTo>
                    <a:pt x="665" y="1025"/>
                  </a:lnTo>
                  <a:lnTo>
                    <a:pt x="688" y="1018"/>
                  </a:lnTo>
                  <a:lnTo>
                    <a:pt x="712" y="1010"/>
                  </a:lnTo>
                  <a:lnTo>
                    <a:pt x="734" y="1001"/>
                  </a:lnTo>
                  <a:lnTo>
                    <a:pt x="756" y="992"/>
                  </a:lnTo>
                  <a:lnTo>
                    <a:pt x="779" y="980"/>
                  </a:lnTo>
                  <a:lnTo>
                    <a:pt x="799" y="968"/>
                  </a:lnTo>
                  <a:lnTo>
                    <a:pt x="820" y="954"/>
                  </a:lnTo>
                  <a:lnTo>
                    <a:pt x="840" y="941"/>
                  </a:lnTo>
                  <a:lnTo>
                    <a:pt x="858" y="926"/>
                  </a:lnTo>
                  <a:lnTo>
                    <a:pt x="876" y="911"/>
                  </a:lnTo>
                  <a:lnTo>
                    <a:pt x="893" y="893"/>
                  </a:lnTo>
                  <a:lnTo>
                    <a:pt x="910" y="876"/>
                  </a:lnTo>
                  <a:lnTo>
                    <a:pt x="925" y="859"/>
                  </a:lnTo>
                  <a:lnTo>
                    <a:pt x="940" y="840"/>
                  </a:lnTo>
                  <a:lnTo>
                    <a:pt x="955" y="820"/>
                  </a:lnTo>
                  <a:lnTo>
                    <a:pt x="968" y="799"/>
                  </a:lnTo>
                  <a:lnTo>
                    <a:pt x="980" y="779"/>
                  </a:lnTo>
                  <a:lnTo>
                    <a:pt x="991" y="757"/>
                  </a:lnTo>
                  <a:lnTo>
                    <a:pt x="1001" y="734"/>
                  </a:lnTo>
                  <a:lnTo>
                    <a:pt x="1010" y="712"/>
                  </a:lnTo>
                  <a:lnTo>
                    <a:pt x="1017" y="688"/>
                  </a:lnTo>
                  <a:lnTo>
                    <a:pt x="1025" y="665"/>
                  </a:lnTo>
                  <a:lnTo>
                    <a:pt x="1030" y="641"/>
                  </a:lnTo>
                  <a:lnTo>
                    <a:pt x="1035" y="616"/>
                  </a:lnTo>
                  <a:lnTo>
                    <a:pt x="1037" y="591"/>
                  </a:lnTo>
                  <a:lnTo>
                    <a:pt x="1040" y="567"/>
                  </a:lnTo>
                  <a:lnTo>
                    <a:pt x="1040" y="541"/>
                  </a:lnTo>
                  <a:lnTo>
                    <a:pt x="1040" y="514"/>
                  </a:lnTo>
                  <a:lnTo>
                    <a:pt x="1037" y="490"/>
                  </a:lnTo>
                  <a:lnTo>
                    <a:pt x="1035" y="465"/>
                  </a:lnTo>
                  <a:lnTo>
                    <a:pt x="1030" y="440"/>
                  </a:lnTo>
                  <a:lnTo>
                    <a:pt x="1025" y="415"/>
                  </a:lnTo>
                  <a:lnTo>
                    <a:pt x="1017" y="391"/>
                  </a:lnTo>
                  <a:lnTo>
                    <a:pt x="1010" y="369"/>
                  </a:lnTo>
                  <a:lnTo>
                    <a:pt x="1001" y="346"/>
                  </a:lnTo>
                  <a:lnTo>
                    <a:pt x="991" y="324"/>
                  </a:lnTo>
                  <a:lnTo>
                    <a:pt x="980" y="302"/>
                  </a:lnTo>
                  <a:lnTo>
                    <a:pt x="968" y="281"/>
                  </a:lnTo>
                  <a:lnTo>
                    <a:pt x="955" y="261"/>
                  </a:lnTo>
                  <a:lnTo>
                    <a:pt x="940" y="241"/>
                  </a:lnTo>
                  <a:lnTo>
                    <a:pt x="925" y="223"/>
                  </a:lnTo>
                  <a:lnTo>
                    <a:pt x="910" y="204"/>
                  </a:lnTo>
                  <a:lnTo>
                    <a:pt x="893" y="186"/>
                  </a:lnTo>
                  <a:lnTo>
                    <a:pt x="876" y="170"/>
                  </a:lnTo>
                  <a:lnTo>
                    <a:pt x="858" y="154"/>
                  </a:lnTo>
                  <a:lnTo>
                    <a:pt x="840" y="141"/>
                  </a:lnTo>
                  <a:lnTo>
                    <a:pt x="820" y="126"/>
                  </a:lnTo>
                  <a:lnTo>
                    <a:pt x="799" y="113"/>
                  </a:lnTo>
                  <a:lnTo>
                    <a:pt x="779" y="101"/>
                  </a:lnTo>
                  <a:lnTo>
                    <a:pt x="756" y="90"/>
                  </a:lnTo>
                  <a:lnTo>
                    <a:pt x="734" y="80"/>
                  </a:lnTo>
                  <a:lnTo>
                    <a:pt x="712" y="71"/>
                  </a:lnTo>
                  <a:lnTo>
                    <a:pt x="688" y="63"/>
                  </a:lnTo>
                  <a:lnTo>
                    <a:pt x="665" y="56"/>
                  </a:lnTo>
                  <a:lnTo>
                    <a:pt x="641" y="51"/>
                  </a:lnTo>
                  <a:lnTo>
                    <a:pt x="616" y="46"/>
                  </a:lnTo>
                  <a:lnTo>
                    <a:pt x="591" y="44"/>
                  </a:lnTo>
                  <a:lnTo>
                    <a:pt x="566" y="41"/>
                  </a:lnTo>
                  <a:lnTo>
                    <a:pt x="540" y="40"/>
                  </a:lnTo>
                  <a:close/>
                  <a:moveTo>
                    <a:pt x="540" y="1080"/>
                  </a:moveTo>
                  <a:lnTo>
                    <a:pt x="513" y="1080"/>
                  </a:lnTo>
                  <a:lnTo>
                    <a:pt x="486" y="1077"/>
                  </a:lnTo>
                  <a:lnTo>
                    <a:pt x="458" y="1074"/>
                  </a:lnTo>
                  <a:lnTo>
                    <a:pt x="431" y="1070"/>
                  </a:lnTo>
                  <a:lnTo>
                    <a:pt x="405" y="1064"/>
                  </a:lnTo>
                  <a:lnTo>
                    <a:pt x="380" y="1056"/>
                  </a:lnTo>
                  <a:lnTo>
                    <a:pt x="355" y="1047"/>
                  </a:lnTo>
                  <a:lnTo>
                    <a:pt x="330" y="1038"/>
                  </a:lnTo>
                  <a:lnTo>
                    <a:pt x="307" y="1028"/>
                  </a:lnTo>
                  <a:lnTo>
                    <a:pt x="283" y="1015"/>
                  </a:lnTo>
                  <a:lnTo>
                    <a:pt x="261" y="1001"/>
                  </a:lnTo>
                  <a:lnTo>
                    <a:pt x="239" y="988"/>
                  </a:lnTo>
                  <a:lnTo>
                    <a:pt x="217" y="973"/>
                  </a:lnTo>
                  <a:lnTo>
                    <a:pt x="198" y="957"/>
                  </a:lnTo>
                  <a:lnTo>
                    <a:pt x="178" y="939"/>
                  </a:lnTo>
                  <a:lnTo>
                    <a:pt x="159" y="922"/>
                  </a:lnTo>
                  <a:lnTo>
                    <a:pt x="140" y="903"/>
                  </a:lnTo>
                  <a:lnTo>
                    <a:pt x="124" y="883"/>
                  </a:lnTo>
                  <a:lnTo>
                    <a:pt x="108" y="864"/>
                  </a:lnTo>
                  <a:lnTo>
                    <a:pt x="93" y="842"/>
                  </a:lnTo>
                  <a:lnTo>
                    <a:pt x="78" y="820"/>
                  </a:lnTo>
                  <a:lnTo>
                    <a:pt x="66" y="798"/>
                  </a:lnTo>
                  <a:lnTo>
                    <a:pt x="54" y="774"/>
                  </a:lnTo>
                  <a:lnTo>
                    <a:pt x="44" y="751"/>
                  </a:lnTo>
                  <a:lnTo>
                    <a:pt x="34" y="726"/>
                  </a:lnTo>
                  <a:lnTo>
                    <a:pt x="25" y="701"/>
                  </a:lnTo>
                  <a:lnTo>
                    <a:pt x="17" y="675"/>
                  </a:lnTo>
                  <a:lnTo>
                    <a:pt x="11" y="649"/>
                  </a:lnTo>
                  <a:lnTo>
                    <a:pt x="6" y="623"/>
                  </a:lnTo>
                  <a:lnTo>
                    <a:pt x="4" y="595"/>
                  </a:lnTo>
                  <a:lnTo>
                    <a:pt x="1" y="568"/>
                  </a:lnTo>
                  <a:lnTo>
                    <a:pt x="0" y="541"/>
                  </a:lnTo>
                  <a:lnTo>
                    <a:pt x="1" y="513"/>
                  </a:lnTo>
                  <a:lnTo>
                    <a:pt x="4" y="486"/>
                  </a:lnTo>
                  <a:lnTo>
                    <a:pt x="6" y="459"/>
                  </a:lnTo>
                  <a:lnTo>
                    <a:pt x="11" y="431"/>
                  </a:lnTo>
                  <a:lnTo>
                    <a:pt x="17" y="405"/>
                  </a:lnTo>
                  <a:lnTo>
                    <a:pt x="25" y="380"/>
                  </a:lnTo>
                  <a:lnTo>
                    <a:pt x="34" y="355"/>
                  </a:lnTo>
                  <a:lnTo>
                    <a:pt x="44" y="331"/>
                  </a:lnTo>
                  <a:lnTo>
                    <a:pt x="54" y="307"/>
                  </a:lnTo>
                  <a:lnTo>
                    <a:pt x="66" y="283"/>
                  </a:lnTo>
                  <a:lnTo>
                    <a:pt x="78" y="261"/>
                  </a:lnTo>
                  <a:lnTo>
                    <a:pt x="93" y="239"/>
                  </a:lnTo>
                  <a:lnTo>
                    <a:pt x="108" y="218"/>
                  </a:lnTo>
                  <a:lnTo>
                    <a:pt x="124" y="198"/>
                  </a:lnTo>
                  <a:lnTo>
                    <a:pt x="140" y="178"/>
                  </a:lnTo>
                  <a:lnTo>
                    <a:pt x="159" y="159"/>
                  </a:lnTo>
                  <a:lnTo>
                    <a:pt x="178" y="141"/>
                  </a:lnTo>
                  <a:lnTo>
                    <a:pt x="198" y="124"/>
                  </a:lnTo>
                  <a:lnTo>
                    <a:pt x="217" y="108"/>
                  </a:lnTo>
                  <a:lnTo>
                    <a:pt x="239" y="93"/>
                  </a:lnTo>
                  <a:lnTo>
                    <a:pt x="261" y="78"/>
                  </a:lnTo>
                  <a:lnTo>
                    <a:pt x="283" y="66"/>
                  </a:lnTo>
                  <a:lnTo>
                    <a:pt x="307" y="54"/>
                  </a:lnTo>
                  <a:lnTo>
                    <a:pt x="330" y="42"/>
                  </a:lnTo>
                  <a:lnTo>
                    <a:pt x="355" y="34"/>
                  </a:lnTo>
                  <a:lnTo>
                    <a:pt x="380" y="25"/>
                  </a:lnTo>
                  <a:lnTo>
                    <a:pt x="405" y="18"/>
                  </a:lnTo>
                  <a:lnTo>
                    <a:pt x="431" y="11"/>
                  </a:lnTo>
                  <a:lnTo>
                    <a:pt x="458" y="6"/>
                  </a:lnTo>
                  <a:lnTo>
                    <a:pt x="486" y="4"/>
                  </a:lnTo>
                  <a:lnTo>
                    <a:pt x="513" y="1"/>
                  </a:lnTo>
                  <a:lnTo>
                    <a:pt x="540" y="0"/>
                  </a:lnTo>
                  <a:lnTo>
                    <a:pt x="568" y="1"/>
                  </a:lnTo>
                  <a:lnTo>
                    <a:pt x="595" y="4"/>
                  </a:lnTo>
                  <a:lnTo>
                    <a:pt x="622" y="6"/>
                  </a:lnTo>
                  <a:lnTo>
                    <a:pt x="648" y="11"/>
                  </a:lnTo>
                  <a:lnTo>
                    <a:pt x="675" y="18"/>
                  </a:lnTo>
                  <a:lnTo>
                    <a:pt x="701" y="25"/>
                  </a:lnTo>
                  <a:lnTo>
                    <a:pt x="725" y="34"/>
                  </a:lnTo>
                  <a:lnTo>
                    <a:pt x="750" y="42"/>
                  </a:lnTo>
                  <a:lnTo>
                    <a:pt x="774" y="54"/>
                  </a:lnTo>
                  <a:lnTo>
                    <a:pt x="797" y="66"/>
                  </a:lnTo>
                  <a:lnTo>
                    <a:pt x="820" y="78"/>
                  </a:lnTo>
                  <a:lnTo>
                    <a:pt x="842" y="93"/>
                  </a:lnTo>
                  <a:lnTo>
                    <a:pt x="863" y="108"/>
                  </a:lnTo>
                  <a:lnTo>
                    <a:pt x="883" y="124"/>
                  </a:lnTo>
                  <a:lnTo>
                    <a:pt x="903" y="141"/>
                  </a:lnTo>
                  <a:lnTo>
                    <a:pt x="922" y="159"/>
                  </a:lnTo>
                  <a:lnTo>
                    <a:pt x="940" y="178"/>
                  </a:lnTo>
                  <a:lnTo>
                    <a:pt x="956" y="198"/>
                  </a:lnTo>
                  <a:lnTo>
                    <a:pt x="973" y="218"/>
                  </a:lnTo>
                  <a:lnTo>
                    <a:pt x="987" y="239"/>
                  </a:lnTo>
                  <a:lnTo>
                    <a:pt x="1002" y="261"/>
                  </a:lnTo>
                  <a:lnTo>
                    <a:pt x="1015" y="283"/>
                  </a:lnTo>
                  <a:lnTo>
                    <a:pt x="1027" y="307"/>
                  </a:lnTo>
                  <a:lnTo>
                    <a:pt x="1037" y="331"/>
                  </a:lnTo>
                  <a:lnTo>
                    <a:pt x="1047" y="355"/>
                  </a:lnTo>
                  <a:lnTo>
                    <a:pt x="1056" y="380"/>
                  </a:lnTo>
                  <a:lnTo>
                    <a:pt x="1063" y="405"/>
                  </a:lnTo>
                  <a:lnTo>
                    <a:pt x="1069" y="431"/>
                  </a:lnTo>
                  <a:lnTo>
                    <a:pt x="1074" y="459"/>
                  </a:lnTo>
                  <a:lnTo>
                    <a:pt x="1077" y="486"/>
                  </a:lnTo>
                  <a:lnTo>
                    <a:pt x="1079" y="513"/>
                  </a:lnTo>
                  <a:lnTo>
                    <a:pt x="1081" y="541"/>
                  </a:lnTo>
                  <a:lnTo>
                    <a:pt x="1079" y="568"/>
                  </a:lnTo>
                  <a:lnTo>
                    <a:pt x="1077" y="595"/>
                  </a:lnTo>
                  <a:lnTo>
                    <a:pt x="1074" y="623"/>
                  </a:lnTo>
                  <a:lnTo>
                    <a:pt x="1069" y="649"/>
                  </a:lnTo>
                  <a:lnTo>
                    <a:pt x="1063" y="675"/>
                  </a:lnTo>
                  <a:lnTo>
                    <a:pt x="1056" y="701"/>
                  </a:lnTo>
                  <a:lnTo>
                    <a:pt x="1047" y="726"/>
                  </a:lnTo>
                  <a:lnTo>
                    <a:pt x="1037" y="751"/>
                  </a:lnTo>
                  <a:lnTo>
                    <a:pt x="1027" y="774"/>
                  </a:lnTo>
                  <a:lnTo>
                    <a:pt x="1015" y="798"/>
                  </a:lnTo>
                  <a:lnTo>
                    <a:pt x="1002" y="820"/>
                  </a:lnTo>
                  <a:lnTo>
                    <a:pt x="987" y="842"/>
                  </a:lnTo>
                  <a:lnTo>
                    <a:pt x="973" y="864"/>
                  </a:lnTo>
                  <a:lnTo>
                    <a:pt x="956" y="883"/>
                  </a:lnTo>
                  <a:lnTo>
                    <a:pt x="939" y="903"/>
                  </a:lnTo>
                  <a:lnTo>
                    <a:pt x="922" y="922"/>
                  </a:lnTo>
                  <a:lnTo>
                    <a:pt x="903" y="939"/>
                  </a:lnTo>
                  <a:lnTo>
                    <a:pt x="883" y="957"/>
                  </a:lnTo>
                  <a:lnTo>
                    <a:pt x="863" y="973"/>
                  </a:lnTo>
                  <a:lnTo>
                    <a:pt x="842" y="988"/>
                  </a:lnTo>
                  <a:lnTo>
                    <a:pt x="820" y="1001"/>
                  </a:lnTo>
                  <a:lnTo>
                    <a:pt x="797" y="1015"/>
                  </a:lnTo>
                  <a:lnTo>
                    <a:pt x="774" y="1028"/>
                  </a:lnTo>
                  <a:lnTo>
                    <a:pt x="750" y="1038"/>
                  </a:lnTo>
                  <a:lnTo>
                    <a:pt x="725" y="1047"/>
                  </a:lnTo>
                  <a:lnTo>
                    <a:pt x="701" y="1056"/>
                  </a:lnTo>
                  <a:lnTo>
                    <a:pt x="675" y="1064"/>
                  </a:lnTo>
                  <a:lnTo>
                    <a:pt x="648" y="1070"/>
                  </a:lnTo>
                  <a:lnTo>
                    <a:pt x="622" y="1074"/>
                  </a:lnTo>
                  <a:lnTo>
                    <a:pt x="595" y="1077"/>
                  </a:lnTo>
                  <a:lnTo>
                    <a:pt x="568" y="1080"/>
                  </a:lnTo>
                  <a:lnTo>
                    <a:pt x="540" y="10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5594169" y="4146124"/>
              <a:ext cx="204791" cy="448327"/>
            </a:xfrm>
            <a:custGeom>
              <a:avLst/>
              <a:gdLst>
                <a:gd name="T0" fmla="*/ 117 w 333"/>
                <a:gd name="T1" fmla="*/ 639 h 730"/>
                <a:gd name="T2" fmla="*/ 61 w 333"/>
                <a:gd name="T3" fmla="*/ 628 h 730"/>
                <a:gd name="T4" fmla="*/ 14 w 333"/>
                <a:gd name="T5" fmla="*/ 609 h 730"/>
                <a:gd name="T6" fmla="*/ 35 w 333"/>
                <a:gd name="T7" fmla="*/ 549 h 730"/>
                <a:gd name="T8" fmla="*/ 79 w 333"/>
                <a:gd name="T9" fmla="*/ 568 h 730"/>
                <a:gd name="T10" fmla="*/ 132 w 333"/>
                <a:gd name="T11" fmla="*/ 578 h 730"/>
                <a:gd name="T12" fmla="*/ 173 w 333"/>
                <a:gd name="T13" fmla="*/ 578 h 730"/>
                <a:gd name="T14" fmla="*/ 202 w 333"/>
                <a:gd name="T15" fmla="*/ 569 h 730"/>
                <a:gd name="T16" fmla="*/ 226 w 333"/>
                <a:gd name="T17" fmla="*/ 554 h 730"/>
                <a:gd name="T18" fmla="*/ 243 w 333"/>
                <a:gd name="T19" fmla="*/ 535 h 730"/>
                <a:gd name="T20" fmla="*/ 253 w 333"/>
                <a:gd name="T21" fmla="*/ 511 h 730"/>
                <a:gd name="T22" fmla="*/ 255 w 333"/>
                <a:gd name="T23" fmla="*/ 484 h 730"/>
                <a:gd name="T24" fmla="*/ 248 w 333"/>
                <a:gd name="T25" fmla="*/ 459 h 730"/>
                <a:gd name="T26" fmla="*/ 236 w 333"/>
                <a:gd name="T27" fmla="*/ 438 h 730"/>
                <a:gd name="T28" fmla="*/ 216 w 333"/>
                <a:gd name="T29" fmla="*/ 419 h 730"/>
                <a:gd name="T30" fmla="*/ 179 w 333"/>
                <a:gd name="T31" fmla="*/ 397 h 730"/>
                <a:gd name="T32" fmla="*/ 94 w 333"/>
                <a:gd name="T33" fmla="*/ 358 h 730"/>
                <a:gd name="T34" fmla="*/ 58 w 333"/>
                <a:gd name="T35" fmla="*/ 335 h 730"/>
                <a:gd name="T36" fmla="*/ 31 w 333"/>
                <a:gd name="T37" fmla="*/ 306 h 730"/>
                <a:gd name="T38" fmla="*/ 15 w 333"/>
                <a:gd name="T39" fmla="*/ 272 h 730"/>
                <a:gd name="T40" fmla="*/ 9 w 333"/>
                <a:gd name="T41" fmla="*/ 233 h 730"/>
                <a:gd name="T42" fmla="*/ 14 w 333"/>
                <a:gd name="T43" fmla="*/ 193 h 730"/>
                <a:gd name="T44" fmla="*/ 30 w 333"/>
                <a:gd name="T45" fmla="*/ 159 h 730"/>
                <a:gd name="T46" fmla="*/ 55 w 333"/>
                <a:gd name="T47" fmla="*/ 130 h 730"/>
                <a:gd name="T48" fmla="*/ 87 w 333"/>
                <a:gd name="T49" fmla="*/ 107 h 730"/>
                <a:gd name="T50" fmla="*/ 128 w 333"/>
                <a:gd name="T51" fmla="*/ 92 h 730"/>
                <a:gd name="T52" fmla="*/ 197 w 333"/>
                <a:gd name="T53" fmla="*/ 0 h 730"/>
                <a:gd name="T54" fmla="*/ 235 w 333"/>
                <a:gd name="T55" fmla="*/ 90 h 730"/>
                <a:gd name="T56" fmla="*/ 279 w 333"/>
                <a:gd name="T57" fmla="*/ 101 h 730"/>
                <a:gd name="T58" fmla="*/ 313 w 333"/>
                <a:gd name="T59" fmla="*/ 117 h 730"/>
                <a:gd name="T60" fmla="*/ 250 w 333"/>
                <a:gd name="T61" fmla="*/ 157 h 730"/>
                <a:gd name="T62" fmla="*/ 200 w 333"/>
                <a:gd name="T63" fmla="*/ 147 h 730"/>
                <a:gd name="T64" fmla="*/ 155 w 333"/>
                <a:gd name="T65" fmla="*/ 148 h 730"/>
                <a:gd name="T66" fmla="*/ 127 w 333"/>
                <a:gd name="T67" fmla="*/ 157 h 730"/>
                <a:gd name="T68" fmla="*/ 107 w 333"/>
                <a:gd name="T69" fmla="*/ 171 h 730"/>
                <a:gd name="T70" fmla="*/ 93 w 333"/>
                <a:gd name="T71" fmla="*/ 189 h 730"/>
                <a:gd name="T72" fmla="*/ 86 w 333"/>
                <a:gd name="T73" fmla="*/ 209 h 730"/>
                <a:gd name="T74" fmla="*/ 86 w 333"/>
                <a:gd name="T75" fmla="*/ 230 h 730"/>
                <a:gd name="T76" fmla="*/ 91 w 333"/>
                <a:gd name="T77" fmla="*/ 253 h 730"/>
                <a:gd name="T78" fmla="*/ 104 w 333"/>
                <a:gd name="T79" fmla="*/ 272 h 730"/>
                <a:gd name="T80" fmla="*/ 145 w 333"/>
                <a:gd name="T81" fmla="*/ 301 h 730"/>
                <a:gd name="T82" fmla="*/ 211 w 333"/>
                <a:gd name="T83" fmla="*/ 331 h 730"/>
                <a:gd name="T84" fmla="*/ 255 w 333"/>
                <a:gd name="T85" fmla="*/ 353 h 730"/>
                <a:gd name="T86" fmla="*/ 289 w 333"/>
                <a:gd name="T87" fmla="*/ 379 h 730"/>
                <a:gd name="T88" fmla="*/ 313 w 333"/>
                <a:gd name="T89" fmla="*/ 410 h 730"/>
                <a:gd name="T90" fmla="*/ 328 w 333"/>
                <a:gd name="T91" fmla="*/ 445 h 730"/>
                <a:gd name="T92" fmla="*/ 333 w 333"/>
                <a:gd name="T93" fmla="*/ 486 h 730"/>
                <a:gd name="T94" fmla="*/ 328 w 333"/>
                <a:gd name="T95" fmla="*/ 525 h 730"/>
                <a:gd name="T96" fmla="*/ 313 w 333"/>
                <a:gd name="T97" fmla="*/ 561 h 730"/>
                <a:gd name="T98" fmla="*/ 287 w 333"/>
                <a:gd name="T99" fmla="*/ 592 h 730"/>
                <a:gd name="T100" fmla="*/ 253 w 333"/>
                <a:gd name="T101" fmla="*/ 617 h 730"/>
                <a:gd name="T102" fmla="*/ 209 w 333"/>
                <a:gd name="T103" fmla="*/ 634 h 730"/>
                <a:gd name="T104" fmla="*/ 137 w 333"/>
                <a:gd name="T105" fmla="*/ 7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730">
                  <a:moveTo>
                    <a:pt x="137" y="730"/>
                  </a:moveTo>
                  <a:lnTo>
                    <a:pt x="137" y="640"/>
                  </a:lnTo>
                  <a:lnTo>
                    <a:pt x="117" y="639"/>
                  </a:lnTo>
                  <a:lnTo>
                    <a:pt x="98" y="636"/>
                  </a:lnTo>
                  <a:lnTo>
                    <a:pt x="79" y="633"/>
                  </a:lnTo>
                  <a:lnTo>
                    <a:pt x="61" y="628"/>
                  </a:lnTo>
                  <a:lnTo>
                    <a:pt x="43" y="623"/>
                  </a:lnTo>
                  <a:lnTo>
                    <a:pt x="27" y="617"/>
                  </a:lnTo>
                  <a:lnTo>
                    <a:pt x="14" y="609"/>
                  </a:lnTo>
                  <a:lnTo>
                    <a:pt x="0" y="600"/>
                  </a:lnTo>
                  <a:lnTo>
                    <a:pt x="22" y="541"/>
                  </a:lnTo>
                  <a:lnTo>
                    <a:pt x="35" y="549"/>
                  </a:lnTo>
                  <a:lnTo>
                    <a:pt x="48" y="556"/>
                  </a:lnTo>
                  <a:lnTo>
                    <a:pt x="63" y="563"/>
                  </a:lnTo>
                  <a:lnTo>
                    <a:pt x="79" y="568"/>
                  </a:lnTo>
                  <a:lnTo>
                    <a:pt x="96" y="573"/>
                  </a:lnTo>
                  <a:lnTo>
                    <a:pt x="113" y="577"/>
                  </a:lnTo>
                  <a:lnTo>
                    <a:pt x="132" y="578"/>
                  </a:lnTo>
                  <a:lnTo>
                    <a:pt x="150" y="579"/>
                  </a:lnTo>
                  <a:lnTo>
                    <a:pt x="161" y="579"/>
                  </a:lnTo>
                  <a:lnTo>
                    <a:pt x="173" y="578"/>
                  </a:lnTo>
                  <a:lnTo>
                    <a:pt x="183" y="576"/>
                  </a:lnTo>
                  <a:lnTo>
                    <a:pt x="193" y="573"/>
                  </a:lnTo>
                  <a:lnTo>
                    <a:pt x="202" y="569"/>
                  </a:lnTo>
                  <a:lnTo>
                    <a:pt x="211" y="566"/>
                  </a:lnTo>
                  <a:lnTo>
                    <a:pt x="219" y="561"/>
                  </a:lnTo>
                  <a:lnTo>
                    <a:pt x="226" y="554"/>
                  </a:lnTo>
                  <a:lnTo>
                    <a:pt x="232" y="548"/>
                  </a:lnTo>
                  <a:lnTo>
                    <a:pt x="238" y="542"/>
                  </a:lnTo>
                  <a:lnTo>
                    <a:pt x="243" y="535"/>
                  </a:lnTo>
                  <a:lnTo>
                    <a:pt x="248" y="527"/>
                  </a:lnTo>
                  <a:lnTo>
                    <a:pt x="251" y="520"/>
                  </a:lnTo>
                  <a:lnTo>
                    <a:pt x="253" y="511"/>
                  </a:lnTo>
                  <a:lnTo>
                    <a:pt x="255" y="502"/>
                  </a:lnTo>
                  <a:lnTo>
                    <a:pt x="256" y="492"/>
                  </a:lnTo>
                  <a:lnTo>
                    <a:pt x="255" y="484"/>
                  </a:lnTo>
                  <a:lnTo>
                    <a:pt x="253" y="475"/>
                  </a:lnTo>
                  <a:lnTo>
                    <a:pt x="252" y="466"/>
                  </a:lnTo>
                  <a:lnTo>
                    <a:pt x="248" y="459"/>
                  </a:lnTo>
                  <a:lnTo>
                    <a:pt x="246" y="451"/>
                  </a:lnTo>
                  <a:lnTo>
                    <a:pt x="241" y="444"/>
                  </a:lnTo>
                  <a:lnTo>
                    <a:pt x="236" y="438"/>
                  </a:lnTo>
                  <a:lnTo>
                    <a:pt x="230" y="431"/>
                  </a:lnTo>
                  <a:lnTo>
                    <a:pt x="224" y="425"/>
                  </a:lnTo>
                  <a:lnTo>
                    <a:pt x="216" y="419"/>
                  </a:lnTo>
                  <a:lnTo>
                    <a:pt x="207" y="413"/>
                  </a:lnTo>
                  <a:lnTo>
                    <a:pt x="199" y="408"/>
                  </a:lnTo>
                  <a:lnTo>
                    <a:pt x="179" y="397"/>
                  </a:lnTo>
                  <a:lnTo>
                    <a:pt x="155" y="387"/>
                  </a:lnTo>
                  <a:lnTo>
                    <a:pt x="123" y="373"/>
                  </a:lnTo>
                  <a:lnTo>
                    <a:pt x="94" y="358"/>
                  </a:lnTo>
                  <a:lnTo>
                    <a:pt x="81" y="351"/>
                  </a:lnTo>
                  <a:lnTo>
                    <a:pt x="68" y="343"/>
                  </a:lnTo>
                  <a:lnTo>
                    <a:pt x="58" y="335"/>
                  </a:lnTo>
                  <a:lnTo>
                    <a:pt x="48" y="326"/>
                  </a:lnTo>
                  <a:lnTo>
                    <a:pt x="39" y="316"/>
                  </a:lnTo>
                  <a:lnTo>
                    <a:pt x="31" y="306"/>
                  </a:lnTo>
                  <a:lnTo>
                    <a:pt x="25" y="296"/>
                  </a:lnTo>
                  <a:lnTo>
                    <a:pt x="19" y="285"/>
                  </a:lnTo>
                  <a:lnTo>
                    <a:pt x="15" y="272"/>
                  </a:lnTo>
                  <a:lnTo>
                    <a:pt x="11" y="260"/>
                  </a:lnTo>
                  <a:lnTo>
                    <a:pt x="9" y="248"/>
                  </a:lnTo>
                  <a:lnTo>
                    <a:pt x="9" y="233"/>
                  </a:lnTo>
                  <a:lnTo>
                    <a:pt x="9" y="219"/>
                  </a:lnTo>
                  <a:lnTo>
                    <a:pt x="11" y="207"/>
                  </a:lnTo>
                  <a:lnTo>
                    <a:pt x="14" y="193"/>
                  </a:lnTo>
                  <a:lnTo>
                    <a:pt x="19" y="182"/>
                  </a:lnTo>
                  <a:lnTo>
                    <a:pt x="24" y="169"/>
                  </a:lnTo>
                  <a:lnTo>
                    <a:pt x="30" y="159"/>
                  </a:lnTo>
                  <a:lnTo>
                    <a:pt x="37" y="148"/>
                  </a:lnTo>
                  <a:lnTo>
                    <a:pt x="45" y="138"/>
                  </a:lnTo>
                  <a:lnTo>
                    <a:pt x="55" y="130"/>
                  </a:lnTo>
                  <a:lnTo>
                    <a:pt x="65" y="122"/>
                  </a:lnTo>
                  <a:lnTo>
                    <a:pt x="76" y="115"/>
                  </a:lnTo>
                  <a:lnTo>
                    <a:pt x="87" y="107"/>
                  </a:lnTo>
                  <a:lnTo>
                    <a:pt x="99" y="102"/>
                  </a:lnTo>
                  <a:lnTo>
                    <a:pt x="113" y="97"/>
                  </a:lnTo>
                  <a:lnTo>
                    <a:pt x="128" y="92"/>
                  </a:lnTo>
                  <a:lnTo>
                    <a:pt x="143" y="90"/>
                  </a:lnTo>
                  <a:lnTo>
                    <a:pt x="143" y="0"/>
                  </a:lnTo>
                  <a:lnTo>
                    <a:pt x="197" y="0"/>
                  </a:lnTo>
                  <a:lnTo>
                    <a:pt x="197" y="86"/>
                  </a:lnTo>
                  <a:lnTo>
                    <a:pt x="217" y="87"/>
                  </a:lnTo>
                  <a:lnTo>
                    <a:pt x="235" y="90"/>
                  </a:lnTo>
                  <a:lnTo>
                    <a:pt x="251" y="93"/>
                  </a:lnTo>
                  <a:lnTo>
                    <a:pt x="266" y="97"/>
                  </a:lnTo>
                  <a:lnTo>
                    <a:pt x="279" y="101"/>
                  </a:lnTo>
                  <a:lnTo>
                    <a:pt x="292" y="106"/>
                  </a:lnTo>
                  <a:lnTo>
                    <a:pt x="303" y="112"/>
                  </a:lnTo>
                  <a:lnTo>
                    <a:pt x="313" y="117"/>
                  </a:lnTo>
                  <a:lnTo>
                    <a:pt x="291" y="175"/>
                  </a:lnTo>
                  <a:lnTo>
                    <a:pt x="273" y="167"/>
                  </a:lnTo>
                  <a:lnTo>
                    <a:pt x="250" y="157"/>
                  </a:lnTo>
                  <a:lnTo>
                    <a:pt x="235" y="153"/>
                  </a:lnTo>
                  <a:lnTo>
                    <a:pt x="217" y="149"/>
                  </a:lnTo>
                  <a:lnTo>
                    <a:pt x="200" y="147"/>
                  </a:lnTo>
                  <a:lnTo>
                    <a:pt x="179" y="146"/>
                  </a:lnTo>
                  <a:lnTo>
                    <a:pt x="166" y="147"/>
                  </a:lnTo>
                  <a:lnTo>
                    <a:pt x="155" y="148"/>
                  </a:lnTo>
                  <a:lnTo>
                    <a:pt x="145" y="149"/>
                  </a:lnTo>
                  <a:lnTo>
                    <a:pt x="135" y="153"/>
                  </a:lnTo>
                  <a:lnTo>
                    <a:pt x="127" y="157"/>
                  </a:lnTo>
                  <a:lnTo>
                    <a:pt x="119" y="161"/>
                  </a:lnTo>
                  <a:lnTo>
                    <a:pt x="112" y="166"/>
                  </a:lnTo>
                  <a:lnTo>
                    <a:pt x="107" y="171"/>
                  </a:lnTo>
                  <a:lnTo>
                    <a:pt x="101" y="177"/>
                  </a:lnTo>
                  <a:lnTo>
                    <a:pt x="97" y="183"/>
                  </a:lnTo>
                  <a:lnTo>
                    <a:pt x="93" y="189"/>
                  </a:lnTo>
                  <a:lnTo>
                    <a:pt x="89" y="195"/>
                  </a:lnTo>
                  <a:lnTo>
                    <a:pt x="88" y="202"/>
                  </a:lnTo>
                  <a:lnTo>
                    <a:pt x="86" y="209"/>
                  </a:lnTo>
                  <a:lnTo>
                    <a:pt x="86" y="215"/>
                  </a:lnTo>
                  <a:lnTo>
                    <a:pt x="84" y="223"/>
                  </a:lnTo>
                  <a:lnTo>
                    <a:pt x="86" y="230"/>
                  </a:lnTo>
                  <a:lnTo>
                    <a:pt x="87" y="239"/>
                  </a:lnTo>
                  <a:lnTo>
                    <a:pt x="88" y="246"/>
                  </a:lnTo>
                  <a:lnTo>
                    <a:pt x="91" y="253"/>
                  </a:lnTo>
                  <a:lnTo>
                    <a:pt x="94" y="260"/>
                  </a:lnTo>
                  <a:lnTo>
                    <a:pt x="99" y="266"/>
                  </a:lnTo>
                  <a:lnTo>
                    <a:pt x="104" y="272"/>
                  </a:lnTo>
                  <a:lnTo>
                    <a:pt x="111" y="279"/>
                  </a:lnTo>
                  <a:lnTo>
                    <a:pt x="127" y="290"/>
                  </a:lnTo>
                  <a:lnTo>
                    <a:pt x="145" y="301"/>
                  </a:lnTo>
                  <a:lnTo>
                    <a:pt x="168" y="312"/>
                  </a:lnTo>
                  <a:lnTo>
                    <a:pt x="195" y="323"/>
                  </a:lnTo>
                  <a:lnTo>
                    <a:pt x="211" y="331"/>
                  </a:lnTo>
                  <a:lnTo>
                    <a:pt x="227" y="338"/>
                  </a:lnTo>
                  <a:lnTo>
                    <a:pt x="242" y="346"/>
                  </a:lnTo>
                  <a:lnTo>
                    <a:pt x="255" y="353"/>
                  </a:lnTo>
                  <a:lnTo>
                    <a:pt x="267" y="362"/>
                  </a:lnTo>
                  <a:lnTo>
                    <a:pt x="278" y="371"/>
                  </a:lnTo>
                  <a:lnTo>
                    <a:pt x="289" y="379"/>
                  </a:lnTo>
                  <a:lnTo>
                    <a:pt x="298" y="389"/>
                  </a:lnTo>
                  <a:lnTo>
                    <a:pt x="307" y="399"/>
                  </a:lnTo>
                  <a:lnTo>
                    <a:pt x="313" y="410"/>
                  </a:lnTo>
                  <a:lnTo>
                    <a:pt x="319" y="420"/>
                  </a:lnTo>
                  <a:lnTo>
                    <a:pt x="324" y="433"/>
                  </a:lnTo>
                  <a:lnTo>
                    <a:pt x="328" y="445"/>
                  </a:lnTo>
                  <a:lnTo>
                    <a:pt x="330" y="457"/>
                  </a:lnTo>
                  <a:lnTo>
                    <a:pt x="332" y="471"/>
                  </a:lnTo>
                  <a:lnTo>
                    <a:pt x="333" y="486"/>
                  </a:lnTo>
                  <a:lnTo>
                    <a:pt x="332" y="500"/>
                  </a:lnTo>
                  <a:lnTo>
                    <a:pt x="330" y="512"/>
                  </a:lnTo>
                  <a:lnTo>
                    <a:pt x="328" y="525"/>
                  </a:lnTo>
                  <a:lnTo>
                    <a:pt x="324" y="537"/>
                  </a:lnTo>
                  <a:lnTo>
                    <a:pt x="319" y="549"/>
                  </a:lnTo>
                  <a:lnTo>
                    <a:pt x="313" y="561"/>
                  </a:lnTo>
                  <a:lnTo>
                    <a:pt x="306" y="572"/>
                  </a:lnTo>
                  <a:lnTo>
                    <a:pt x="297" y="582"/>
                  </a:lnTo>
                  <a:lnTo>
                    <a:pt x="287" y="592"/>
                  </a:lnTo>
                  <a:lnTo>
                    <a:pt x="277" y="602"/>
                  </a:lnTo>
                  <a:lnTo>
                    <a:pt x="266" y="609"/>
                  </a:lnTo>
                  <a:lnTo>
                    <a:pt x="253" y="617"/>
                  </a:lnTo>
                  <a:lnTo>
                    <a:pt x="240" y="624"/>
                  </a:lnTo>
                  <a:lnTo>
                    <a:pt x="225" y="629"/>
                  </a:lnTo>
                  <a:lnTo>
                    <a:pt x="209" y="634"/>
                  </a:lnTo>
                  <a:lnTo>
                    <a:pt x="193" y="638"/>
                  </a:lnTo>
                  <a:lnTo>
                    <a:pt x="193" y="730"/>
                  </a:lnTo>
                  <a:lnTo>
                    <a:pt x="137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4315312" y="4544054"/>
            <a:ext cx="437686" cy="250107"/>
            <a:chOff x="1720850" y="1023938"/>
            <a:chExt cx="788988" cy="450851"/>
          </a:xfrm>
          <a:solidFill>
            <a:schemeClr val="bg1"/>
          </a:solidFill>
        </p:grpSpPr>
        <p:sp>
          <p:nvSpPr>
            <p:cNvPr id="264" name="Freeform 16"/>
            <p:cNvSpPr>
              <a:spLocks noEditPoints="1"/>
            </p:cNvSpPr>
            <p:nvPr/>
          </p:nvSpPr>
          <p:spPr bwMode="auto">
            <a:xfrm>
              <a:off x="2005013" y="1023938"/>
              <a:ext cx="220663" cy="239713"/>
            </a:xfrm>
            <a:custGeom>
              <a:avLst/>
              <a:gdLst>
                <a:gd name="T0" fmla="*/ 177 w 416"/>
                <a:gd name="T1" fmla="*/ 57 h 453"/>
                <a:gd name="T2" fmla="*/ 134 w 416"/>
                <a:gd name="T3" fmla="*/ 74 h 453"/>
                <a:gd name="T4" fmla="*/ 98 w 416"/>
                <a:gd name="T5" fmla="*/ 104 h 453"/>
                <a:gd name="T6" fmla="*/ 72 w 416"/>
                <a:gd name="T7" fmla="*/ 144 h 453"/>
                <a:gd name="T8" fmla="*/ 56 w 416"/>
                <a:gd name="T9" fmla="*/ 192 h 453"/>
                <a:gd name="T10" fmla="*/ 53 w 416"/>
                <a:gd name="T11" fmla="*/ 244 h 453"/>
                <a:gd name="T12" fmla="*/ 65 w 416"/>
                <a:gd name="T13" fmla="*/ 294 h 453"/>
                <a:gd name="T14" fmla="*/ 88 w 416"/>
                <a:gd name="T15" fmla="*/ 337 h 453"/>
                <a:gd name="T16" fmla="*/ 121 w 416"/>
                <a:gd name="T17" fmla="*/ 371 h 453"/>
                <a:gd name="T18" fmla="*/ 161 w 416"/>
                <a:gd name="T19" fmla="*/ 392 h 453"/>
                <a:gd name="T20" fmla="*/ 207 w 416"/>
                <a:gd name="T21" fmla="*/ 399 h 453"/>
                <a:gd name="T22" fmla="*/ 254 w 416"/>
                <a:gd name="T23" fmla="*/ 392 h 453"/>
                <a:gd name="T24" fmla="*/ 295 w 416"/>
                <a:gd name="T25" fmla="*/ 371 h 453"/>
                <a:gd name="T26" fmla="*/ 328 w 416"/>
                <a:gd name="T27" fmla="*/ 337 h 453"/>
                <a:gd name="T28" fmla="*/ 351 w 416"/>
                <a:gd name="T29" fmla="*/ 294 h 453"/>
                <a:gd name="T30" fmla="*/ 363 w 416"/>
                <a:gd name="T31" fmla="*/ 244 h 453"/>
                <a:gd name="T32" fmla="*/ 360 w 416"/>
                <a:gd name="T33" fmla="*/ 192 h 453"/>
                <a:gd name="T34" fmla="*/ 344 w 416"/>
                <a:gd name="T35" fmla="*/ 144 h 453"/>
                <a:gd name="T36" fmla="*/ 318 w 416"/>
                <a:gd name="T37" fmla="*/ 104 h 453"/>
                <a:gd name="T38" fmla="*/ 282 w 416"/>
                <a:gd name="T39" fmla="*/ 74 h 453"/>
                <a:gd name="T40" fmla="*/ 239 w 416"/>
                <a:gd name="T41" fmla="*/ 57 h 453"/>
                <a:gd name="T42" fmla="*/ 207 w 416"/>
                <a:gd name="T43" fmla="*/ 453 h 453"/>
                <a:gd name="T44" fmla="*/ 147 w 416"/>
                <a:gd name="T45" fmla="*/ 443 h 453"/>
                <a:gd name="T46" fmla="*/ 92 w 416"/>
                <a:gd name="T47" fmla="*/ 414 h 453"/>
                <a:gd name="T48" fmla="*/ 48 w 416"/>
                <a:gd name="T49" fmla="*/ 371 h 453"/>
                <a:gd name="T50" fmla="*/ 17 w 416"/>
                <a:gd name="T51" fmla="*/ 314 h 453"/>
                <a:gd name="T52" fmla="*/ 2 w 416"/>
                <a:gd name="T53" fmla="*/ 250 h 453"/>
                <a:gd name="T54" fmla="*/ 4 w 416"/>
                <a:gd name="T55" fmla="*/ 180 h 453"/>
                <a:gd name="T56" fmla="*/ 26 w 416"/>
                <a:gd name="T57" fmla="*/ 119 h 453"/>
                <a:gd name="T58" fmla="*/ 62 w 416"/>
                <a:gd name="T59" fmla="*/ 67 h 453"/>
                <a:gd name="T60" fmla="*/ 110 w 416"/>
                <a:gd name="T61" fmla="*/ 28 h 453"/>
                <a:gd name="T62" fmla="*/ 166 w 416"/>
                <a:gd name="T63" fmla="*/ 6 h 453"/>
                <a:gd name="T64" fmla="*/ 229 w 416"/>
                <a:gd name="T65" fmla="*/ 2 h 453"/>
                <a:gd name="T66" fmla="*/ 288 w 416"/>
                <a:gd name="T67" fmla="*/ 19 h 453"/>
                <a:gd name="T68" fmla="*/ 340 w 416"/>
                <a:gd name="T69" fmla="*/ 52 h 453"/>
                <a:gd name="T70" fmla="*/ 380 w 416"/>
                <a:gd name="T71" fmla="*/ 100 h 453"/>
                <a:gd name="T72" fmla="*/ 406 w 416"/>
                <a:gd name="T73" fmla="*/ 159 h 453"/>
                <a:gd name="T74" fmla="*/ 416 w 416"/>
                <a:gd name="T75" fmla="*/ 227 h 453"/>
                <a:gd name="T76" fmla="*/ 406 w 416"/>
                <a:gd name="T77" fmla="*/ 294 h 453"/>
                <a:gd name="T78" fmla="*/ 380 w 416"/>
                <a:gd name="T79" fmla="*/ 353 h 453"/>
                <a:gd name="T80" fmla="*/ 340 w 416"/>
                <a:gd name="T81" fmla="*/ 401 h 453"/>
                <a:gd name="T82" fmla="*/ 288 w 416"/>
                <a:gd name="T83" fmla="*/ 434 h 453"/>
                <a:gd name="T84" fmla="*/ 229 w 416"/>
                <a:gd name="T85" fmla="*/ 45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6" h="453">
                  <a:moveTo>
                    <a:pt x="207" y="54"/>
                  </a:moveTo>
                  <a:lnTo>
                    <a:pt x="192" y="54"/>
                  </a:lnTo>
                  <a:lnTo>
                    <a:pt x="177" y="57"/>
                  </a:lnTo>
                  <a:lnTo>
                    <a:pt x="161" y="61"/>
                  </a:lnTo>
                  <a:lnTo>
                    <a:pt x="148" y="67"/>
                  </a:lnTo>
                  <a:lnTo>
                    <a:pt x="134" y="74"/>
                  </a:lnTo>
                  <a:lnTo>
                    <a:pt x="121" y="83"/>
                  </a:lnTo>
                  <a:lnTo>
                    <a:pt x="110" y="93"/>
                  </a:lnTo>
                  <a:lnTo>
                    <a:pt x="98" y="104"/>
                  </a:lnTo>
                  <a:lnTo>
                    <a:pt x="88" y="116"/>
                  </a:lnTo>
                  <a:lnTo>
                    <a:pt x="79" y="130"/>
                  </a:lnTo>
                  <a:lnTo>
                    <a:pt x="72" y="144"/>
                  </a:lnTo>
                  <a:lnTo>
                    <a:pt x="65" y="159"/>
                  </a:lnTo>
                  <a:lnTo>
                    <a:pt x="59" y="175"/>
                  </a:lnTo>
                  <a:lnTo>
                    <a:pt x="56" y="192"/>
                  </a:lnTo>
                  <a:lnTo>
                    <a:pt x="53" y="209"/>
                  </a:lnTo>
                  <a:lnTo>
                    <a:pt x="53" y="227"/>
                  </a:lnTo>
                  <a:lnTo>
                    <a:pt x="53" y="244"/>
                  </a:lnTo>
                  <a:lnTo>
                    <a:pt x="56" y="261"/>
                  </a:lnTo>
                  <a:lnTo>
                    <a:pt x="59" y="278"/>
                  </a:lnTo>
                  <a:lnTo>
                    <a:pt x="65" y="294"/>
                  </a:lnTo>
                  <a:lnTo>
                    <a:pt x="72" y="309"/>
                  </a:lnTo>
                  <a:lnTo>
                    <a:pt x="79" y="323"/>
                  </a:lnTo>
                  <a:lnTo>
                    <a:pt x="88" y="337"/>
                  </a:lnTo>
                  <a:lnTo>
                    <a:pt x="98" y="349"/>
                  </a:lnTo>
                  <a:lnTo>
                    <a:pt x="110" y="360"/>
                  </a:lnTo>
                  <a:lnTo>
                    <a:pt x="121" y="371"/>
                  </a:lnTo>
                  <a:lnTo>
                    <a:pt x="134" y="379"/>
                  </a:lnTo>
                  <a:lnTo>
                    <a:pt x="148" y="386"/>
                  </a:lnTo>
                  <a:lnTo>
                    <a:pt x="161" y="392"/>
                  </a:lnTo>
                  <a:lnTo>
                    <a:pt x="177" y="396"/>
                  </a:lnTo>
                  <a:lnTo>
                    <a:pt x="192" y="399"/>
                  </a:lnTo>
                  <a:lnTo>
                    <a:pt x="207" y="399"/>
                  </a:lnTo>
                  <a:lnTo>
                    <a:pt x="223" y="399"/>
                  </a:lnTo>
                  <a:lnTo>
                    <a:pt x="239" y="396"/>
                  </a:lnTo>
                  <a:lnTo>
                    <a:pt x="254" y="392"/>
                  </a:lnTo>
                  <a:lnTo>
                    <a:pt x="268" y="386"/>
                  </a:lnTo>
                  <a:lnTo>
                    <a:pt x="282" y="379"/>
                  </a:lnTo>
                  <a:lnTo>
                    <a:pt x="295" y="371"/>
                  </a:lnTo>
                  <a:lnTo>
                    <a:pt x="307" y="360"/>
                  </a:lnTo>
                  <a:lnTo>
                    <a:pt x="318" y="349"/>
                  </a:lnTo>
                  <a:lnTo>
                    <a:pt x="328" y="337"/>
                  </a:lnTo>
                  <a:lnTo>
                    <a:pt x="337" y="323"/>
                  </a:lnTo>
                  <a:lnTo>
                    <a:pt x="344" y="309"/>
                  </a:lnTo>
                  <a:lnTo>
                    <a:pt x="351" y="294"/>
                  </a:lnTo>
                  <a:lnTo>
                    <a:pt x="356" y="278"/>
                  </a:lnTo>
                  <a:lnTo>
                    <a:pt x="360" y="261"/>
                  </a:lnTo>
                  <a:lnTo>
                    <a:pt x="363" y="244"/>
                  </a:lnTo>
                  <a:lnTo>
                    <a:pt x="363" y="227"/>
                  </a:lnTo>
                  <a:lnTo>
                    <a:pt x="363" y="209"/>
                  </a:lnTo>
                  <a:lnTo>
                    <a:pt x="360" y="192"/>
                  </a:lnTo>
                  <a:lnTo>
                    <a:pt x="356" y="175"/>
                  </a:lnTo>
                  <a:lnTo>
                    <a:pt x="351" y="159"/>
                  </a:lnTo>
                  <a:lnTo>
                    <a:pt x="344" y="144"/>
                  </a:lnTo>
                  <a:lnTo>
                    <a:pt x="337" y="130"/>
                  </a:lnTo>
                  <a:lnTo>
                    <a:pt x="328" y="116"/>
                  </a:lnTo>
                  <a:lnTo>
                    <a:pt x="318" y="104"/>
                  </a:lnTo>
                  <a:lnTo>
                    <a:pt x="307" y="93"/>
                  </a:lnTo>
                  <a:lnTo>
                    <a:pt x="295" y="83"/>
                  </a:lnTo>
                  <a:lnTo>
                    <a:pt x="282" y="74"/>
                  </a:lnTo>
                  <a:lnTo>
                    <a:pt x="268" y="67"/>
                  </a:lnTo>
                  <a:lnTo>
                    <a:pt x="254" y="61"/>
                  </a:lnTo>
                  <a:lnTo>
                    <a:pt x="239" y="57"/>
                  </a:lnTo>
                  <a:lnTo>
                    <a:pt x="223" y="54"/>
                  </a:lnTo>
                  <a:lnTo>
                    <a:pt x="207" y="54"/>
                  </a:lnTo>
                  <a:close/>
                  <a:moveTo>
                    <a:pt x="207" y="453"/>
                  </a:moveTo>
                  <a:lnTo>
                    <a:pt x="187" y="451"/>
                  </a:lnTo>
                  <a:lnTo>
                    <a:pt x="166" y="448"/>
                  </a:lnTo>
                  <a:lnTo>
                    <a:pt x="147" y="443"/>
                  </a:lnTo>
                  <a:lnTo>
                    <a:pt x="127" y="434"/>
                  </a:lnTo>
                  <a:lnTo>
                    <a:pt x="110" y="425"/>
                  </a:lnTo>
                  <a:lnTo>
                    <a:pt x="92" y="414"/>
                  </a:lnTo>
                  <a:lnTo>
                    <a:pt x="76" y="401"/>
                  </a:lnTo>
                  <a:lnTo>
                    <a:pt x="62" y="386"/>
                  </a:lnTo>
                  <a:lnTo>
                    <a:pt x="48" y="371"/>
                  </a:lnTo>
                  <a:lnTo>
                    <a:pt x="36" y="353"/>
                  </a:lnTo>
                  <a:lnTo>
                    <a:pt x="26" y="335"/>
                  </a:lnTo>
                  <a:lnTo>
                    <a:pt x="17" y="314"/>
                  </a:lnTo>
                  <a:lnTo>
                    <a:pt x="10" y="294"/>
                  </a:lnTo>
                  <a:lnTo>
                    <a:pt x="4" y="273"/>
                  </a:lnTo>
                  <a:lnTo>
                    <a:pt x="2" y="250"/>
                  </a:lnTo>
                  <a:lnTo>
                    <a:pt x="0" y="227"/>
                  </a:lnTo>
                  <a:lnTo>
                    <a:pt x="2" y="204"/>
                  </a:lnTo>
                  <a:lnTo>
                    <a:pt x="4" y="180"/>
                  </a:lnTo>
                  <a:lnTo>
                    <a:pt x="10" y="159"/>
                  </a:lnTo>
                  <a:lnTo>
                    <a:pt x="17" y="139"/>
                  </a:lnTo>
                  <a:lnTo>
                    <a:pt x="26" y="119"/>
                  </a:lnTo>
                  <a:lnTo>
                    <a:pt x="36" y="100"/>
                  </a:lnTo>
                  <a:lnTo>
                    <a:pt x="48" y="83"/>
                  </a:lnTo>
                  <a:lnTo>
                    <a:pt x="62" y="67"/>
                  </a:lnTo>
                  <a:lnTo>
                    <a:pt x="76" y="52"/>
                  </a:lnTo>
                  <a:lnTo>
                    <a:pt x="92" y="39"/>
                  </a:lnTo>
                  <a:lnTo>
                    <a:pt x="110" y="28"/>
                  </a:lnTo>
                  <a:lnTo>
                    <a:pt x="127" y="19"/>
                  </a:lnTo>
                  <a:lnTo>
                    <a:pt x="147" y="11"/>
                  </a:lnTo>
                  <a:lnTo>
                    <a:pt x="166" y="6"/>
                  </a:lnTo>
                  <a:lnTo>
                    <a:pt x="187" y="2"/>
                  </a:lnTo>
                  <a:lnTo>
                    <a:pt x="207" y="0"/>
                  </a:lnTo>
                  <a:lnTo>
                    <a:pt x="229" y="2"/>
                  </a:lnTo>
                  <a:lnTo>
                    <a:pt x="249" y="6"/>
                  </a:lnTo>
                  <a:lnTo>
                    <a:pt x="269" y="11"/>
                  </a:lnTo>
                  <a:lnTo>
                    <a:pt x="288" y="19"/>
                  </a:lnTo>
                  <a:lnTo>
                    <a:pt x="307" y="28"/>
                  </a:lnTo>
                  <a:lnTo>
                    <a:pt x="324" y="39"/>
                  </a:lnTo>
                  <a:lnTo>
                    <a:pt x="340" y="52"/>
                  </a:lnTo>
                  <a:lnTo>
                    <a:pt x="354" y="67"/>
                  </a:lnTo>
                  <a:lnTo>
                    <a:pt x="369" y="83"/>
                  </a:lnTo>
                  <a:lnTo>
                    <a:pt x="380" y="100"/>
                  </a:lnTo>
                  <a:lnTo>
                    <a:pt x="390" y="119"/>
                  </a:lnTo>
                  <a:lnTo>
                    <a:pt x="399" y="139"/>
                  </a:lnTo>
                  <a:lnTo>
                    <a:pt x="406" y="159"/>
                  </a:lnTo>
                  <a:lnTo>
                    <a:pt x="412" y="180"/>
                  </a:lnTo>
                  <a:lnTo>
                    <a:pt x="415" y="204"/>
                  </a:lnTo>
                  <a:lnTo>
                    <a:pt x="416" y="227"/>
                  </a:lnTo>
                  <a:lnTo>
                    <a:pt x="415" y="250"/>
                  </a:lnTo>
                  <a:lnTo>
                    <a:pt x="412" y="273"/>
                  </a:lnTo>
                  <a:lnTo>
                    <a:pt x="406" y="294"/>
                  </a:lnTo>
                  <a:lnTo>
                    <a:pt x="399" y="314"/>
                  </a:lnTo>
                  <a:lnTo>
                    <a:pt x="390" y="335"/>
                  </a:lnTo>
                  <a:lnTo>
                    <a:pt x="380" y="353"/>
                  </a:lnTo>
                  <a:lnTo>
                    <a:pt x="369" y="371"/>
                  </a:lnTo>
                  <a:lnTo>
                    <a:pt x="354" y="386"/>
                  </a:lnTo>
                  <a:lnTo>
                    <a:pt x="340" y="401"/>
                  </a:lnTo>
                  <a:lnTo>
                    <a:pt x="324" y="414"/>
                  </a:lnTo>
                  <a:lnTo>
                    <a:pt x="307" y="425"/>
                  </a:lnTo>
                  <a:lnTo>
                    <a:pt x="288" y="434"/>
                  </a:lnTo>
                  <a:lnTo>
                    <a:pt x="269" y="443"/>
                  </a:lnTo>
                  <a:lnTo>
                    <a:pt x="249" y="448"/>
                  </a:lnTo>
                  <a:lnTo>
                    <a:pt x="229" y="451"/>
                  </a:lnTo>
                  <a:lnTo>
                    <a:pt x="207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"/>
            <p:cNvSpPr>
              <a:spLocks/>
            </p:cNvSpPr>
            <p:nvPr/>
          </p:nvSpPr>
          <p:spPr bwMode="auto">
            <a:xfrm>
              <a:off x="1928813" y="1239838"/>
              <a:ext cx="373063" cy="234950"/>
            </a:xfrm>
            <a:custGeom>
              <a:avLst/>
              <a:gdLst>
                <a:gd name="T0" fmla="*/ 0 w 704"/>
                <a:gd name="T1" fmla="*/ 444 h 444"/>
                <a:gd name="T2" fmla="*/ 0 w 704"/>
                <a:gd name="T3" fmla="*/ 217 h 444"/>
                <a:gd name="T4" fmla="*/ 6 w 704"/>
                <a:gd name="T5" fmla="*/ 184 h 444"/>
                <a:gd name="T6" fmla="*/ 17 w 704"/>
                <a:gd name="T7" fmla="*/ 156 h 444"/>
                <a:gd name="T8" fmla="*/ 35 w 704"/>
                <a:gd name="T9" fmla="*/ 136 h 444"/>
                <a:gd name="T10" fmla="*/ 55 w 704"/>
                <a:gd name="T11" fmla="*/ 119 h 444"/>
                <a:gd name="T12" fmla="*/ 79 w 704"/>
                <a:gd name="T13" fmla="*/ 106 h 444"/>
                <a:gd name="T14" fmla="*/ 120 w 704"/>
                <a:gd name="T15" fmla="*/ 92 h 444"/>
                <a:gd name="T16" fmla="*/ 161 w 704"/>
                <a:gd name="T17" fmla="*/ 79 h 444"/>
                <a:gd name="T18" fmla="*/ 186 w 704"/>
                <a:gd name="T19" fmla="*/ 72 h 444"/>
                <a:gd name="T20" fmla="*/ 209 w 704"/>
                <a:gd name="T21" fmla="*/ 63 h 444"/>
                <a:gd name="T22" fmla="*/ 225 w 704"/>
                <a:gd name="T23" fmla="*/ 54 h 444"/>
                <a:gd name="T24" fmla="*/ 241 w 704"/>
                <a:gd name="T25" fmla="*/ 38 h 444"/>
                <a:gd name="T26" fmla="*/ 254 w 704"/>
                <a:gd name="T27" fmla="*/ 10 h 444"/>
                <a:gd name="T28" fmla="*/ 305 w 704"/>
                <a:gd name="T29" fmla="*/ 0 h 444"/>
                <a:gd name="T30" fmla="*/ 302 w 704"/>
                <a:gd name="T31" fmla="*/ 27 h 444"/>
                <a:gd name="T32" fmla="*/ 290 w 704"/>
                <a:gd name="T33" fmla="*/ 60 h 444"/>
                <a:gd name="T34" fmla="*/ 278 w 704"/>
                <a:gd name="T35" fmla="*/ 76 h 444"/>
                <a:gd name="T36" fmla="*/ 262 w 704"/>
                <a:gd name="T37" fmla="*/ 92 h 444"/>
                <a:gd name="T38" fmla="*/ 241 w 704"/>
                <a:gd name="T39" fmla="*/ 105 h 444"/>
                <a:gd name="T40" fmla="*/ 215 w 704"/>
                <a:gd name="T41" fmla="*/ 116 h 444"/>
                <a:gd name="T42" fmla="*/ 189 w 704"/>
                <a:gd name="T43" fmla="*/ 125 h 444"/>
                <a:gd name="T44" fmla="*/ 164 w 704"/>
                <a:gd name="T45" fmla="*/ 132 h 444"/>
                <a:gd name="T46" fmla="*/ 111 w 704"/>
                <a:gd name="T47" fmla="*/ 149 h 444"/>
                <a:gd name="T48" fmla="*/ 91 w 704"/>
                <a:gd name="T49" fmla="*/ 158 h 444"/>
                <a:gd name="T50" fmla="*/ 76 w 704"/>
                <a:gd name="T51" fmla="*/ 168 h 444"/>
                <a:gd name="T52" fmla="*/ 65 w 704"/>
                <a:gd name="T53" fmla="*/ 181 h 444"/>
                <a:gd name="T54" fmla="*/ 58 w 704"/>
                <a:gd name="T55" fmla="*/ 195 h 444"/>
                <a:gd name="T56" fmla="*/ 53 w 704"/>
                <a:gd name="T57" fmla="*/ 214 h 444"/>
                <a:gd name="T58" fmla="*/ 52 w 704"/>
                <a:gd name="T59" fmla="*/ 237 h 444"/>
                <a:gd name="T60" fmla="*/ 652 w 704"/>
                <a:gd name="T61" fmla="*/ 393 h 444"/>
                <a:gd name="T62" fmla="*/ 652 w 704"/>
                <a:gd name="T63" fmla="*/ 224 h 444"/>
                <a:gd name="T64" fmla="*/ 650 w 704"/>
                <a:gd name="T65" fmla="*/ 204 h 444"/>
                <a:gd name="T66" fmla="*/ 644 w 704"/>
                <a:gd name="T67" fmla="*/ 187 h 444"/>
                <a:gd name="T68" fmla="*/ 634 w 704"/>
                <a:gd name="T69" fmla="*/ 174 h 444"/>
                <a:gd name="T70" fmla="*/ 621 w 704"/>
                <a:gd name="T71" fmla="*/ 164 h 444"/>
                <a:gd name="T72" fmla="*/ 603 w 704"/>
                <a:gd name="T73" fmla="*/ 154 h 444"/>
                <a:gd name="T74" fmla="*/ 570 w 704"/>
                <a:gd name="T75" fmla="*/ 141 h 444"/>
                <a:gd name="T76" fmla="*/ 529 w 704"/>
                <a:gd name="T77" fmla="*/ 129 h 444"/>
                <a:gd name="T78" fmla="*/ 503 w 704"/>
                <a:gd name="T79" fmla="*/ 120 h 444"/>
                <a:gd name="T80" fmla="*/ 475 w 704"/>
                <a:gd name="T81" fmla="*/ 112 h 444"/>
                <a:gd name="T82" fmla="*/ 452 w 704"/>
                <a:gd name="T83" fmla="*/ 99 h 444"/>
                <a:gd name="T84" fmla="*/ 434 w 704"/>
                <a:gd name="T85" fmla="*/ 84 h 444"/>
                <a:gd name="T86" fmla="*/ 421 w 704"/>
                <a:gd name="T87" fmla="*/ 67 h 444"/>
                <a:gd name="T88" fmla="*/ 406 w 704"/>
                <a:gd name="T89" fmla="*/ 43 h 444"/>
                <a:gd name="T90" fmla="*/ 399 w 704"/>
                <a:gd name="T91" fmla="*/ 11 h 444"/>
                <a:gd name="T92" fmla="*/ 451 w 704"/>
                <a:gd name="T93" fmla="*/ 2 h 444"/>
                <a:gd name="T94" fmla="*/ 451 w 704"/>
                <a:gd name="T95" fmla="*/ 13 h 444"/>
                <a:gd name="T96" fmla="*/ 458 w 704"/>
                <a:gd name="T97" fmla="*/ 30 h 444"/>
                <a:gd name="T98" fmla="*/ 474 w 704"/>
                <a:gd name="T99" fmla="*/ 50 h 444"/>
                <a:gd name="T100" fmla="*/ 487 w 704"/>
                <a:gd name="T101" fmla="*/ 59 h 444"/>
                <a:gd name="T102" fmla="*/ 506 w 704"/>
                <a:gd name="T103" fmla="*/ 67 h 444"/>
                <a:gd name="T104" fmla="*/ 531 w 704"/>
                <a:gd name="T105" fmla="*/ 74 h 444"/>
                <a:gd name="T106" fmla="*/ 554 w 704"/>
                <a:gd name="T107" fmla="*/ 82 h 444"/>
                <a:gd name="T108" fmla="*/ 612 w 704"/>
                <a:gd name="T109" fmla="*/ 100 h 444"/>
                <a:gd name="T110" fmla="*/ 638 w 704"/>
                <a:gd name="T111" fmla="*/ 112 h 444"/>
                <a:gd name="T112" fmla="*/ 660 w 704"/>
                <a:gd name="T113" fmla="*/ 126 h 444"/>
                <a:gd name="T114" fmla="*/ 678 w 704"/>
                <a:gd name="T115" fmla="*/ 145 h 444"/>
                <a:gd name="T116" fmla="*/ 693 w 704"/>
                <a:gd name="T117" fmla="*/ 169 h 444"/>
                <a:gd name="T118" fmla="*/ 701 w 704"/>
                <a:gd name="T119" fmla="*/ 200 h 444"/>
                <a:gd name="T120" fmla="*/ 704 w 704"/>
                <a:gd name="T121" fmla="*/ 237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4" h="444">
                  <a:moveTo>
                    <a:pt x="704" y="444"/>
                  </a:moveTo>
                  <a:lnTo>
                    <a:pt x="0" y="444"/>
                  </a:lnTo>
                  <a:lnTo>
                    <a:pt x="0" y="237"/>
                  </a:lnTo>
                  <a:lnTo>
                    <a:pt x="0" y="217"/>
                  </a:lnTo>
                  <a:lnTo>
                    <a:pt x="3" y="200"/>
                  </a:lnTo>
                  <a:lnTo>
                    <a:pt x="6" y="184"/>
                  </a:lnTo>
                  <a:lnTo>
                    <a:pt x="12" y="169"/>
                  </a:lnTo>
                  <a:lnTo>
                    <a:pt x="17" y="156"/>
                  </a:lnTo>
                  <a:lnTo>
                    <a:pt x="26" y="145"/>
                  </a:lnTo>
                  <a:lnTo>
                    <a:pt x="35" y="136"/>
                  </a:lnTo>
                  <a:lnTo>
                    <a:pt x="45" y="126"/>
                  </a:lnTo>
                  <a:lnTo>
                    <a:pt x="55" y="119"/>
                  </a:lnTo>
                  <a:lnTo>
                    <a:pt x="66" y="112"/>
                  </a:lnTo>
                  <a:lnTo>
                    <a:pt x="79" y="106"/>
                  </a:lnTo>
                  <a:lnTo>
                    <a:pt x="92" y="100"/>
                  </a:lnTo>
                  <a:lnTo>
                    <a:pt x="120" y="92"/>
                  </a:lnTo>
                  <a:lnTo>
                    <a:pt x="148" y="82"/>
                  </a:lnTo>
                  <a:lnTo>
                    <a:pt x="161" y="79"/>
                  </a:lnTo>
                  <a:lnTo>
                    <a:pt x="173" y="74"/>
                  </a:lnTo>
                  <a:lnTo>
                    <a:pt x="186" y="72"/>
                  </a:lnTo>
                  <a:lnTo>
                    <a:pt x="199" y="67"/>
                  </a:lnTo>
                  <a:lnTo>
                    <a:pt x="209" y="63"/>
                  </a:lnTo>
                  <a:lnTo>
                    <a:pt x="218" y="59"/>
                  </a:lnTo>
                  <a:lnTo>
                    <a:pt x="225" y="54"/>
                  </a:lnTo>
                  <a:lnTo>
                    <a:pt x="232" y="49"/>
                  </a:lnTo>
                  <a:lnTo>
                    <a:pt x="241" y="38"/>
                  </a:lnTo>
                  <a:lnTo>
                    <a:pt x="248" y="28"/>
                  </a:lnTo>
                  <a:lnTo>
                    <a:pt x="254" y="10"/>
                  </a:lnTo>
                  <a:lnTo>
                    <a:pt x="254" y="2"/>
                  </a:lnTo>
                  <a:lnTo>
                    <a:pt x="305" y="0"/>
                  </a:lnTo>
                  <a:lnTo>
                    <a:pt x="305" y="11"/>
                  </a:lnTo>
                  <a:lnTo>
                    <a:pt x="302" y="27"/>
                  </a:lnTo>
                  <a:lnTo>
                    <a:pt x="298" y="43"/>
                  </a:lnTo>
                  <a:lnTo>
                    <a:pt x="290" y="60"/>
                  </a:lnTo>
                  <a:lnTo>
                    <a:pt x="284" y="67"/>
                  </a:lnTo>
                  <a:lnTo>
                    <a:pt x="278" y="76"/>
                  </a:lnTo>
                  <a:lnTo>
                    <a:pt x="271" y="84"/>
                  </a:lnTo>
                  <a:lnTo>
                    <a:pt x="262" y="92"/>
                  </a:lnTo>
                  <a:lnTo>
                    <a:pt x="252" y="99"/>
                  </a:lnTo>
                  <a:lnTo>
                    <a:pt x="241" y="105"/>
                  </a:lnTo>
                  <a:lnTo>
                    <a:pt x="229" y="112"/>
                  </a:lnTo>
                  <a:lnTo>
                    <a:pt x="215" y="116"/>
                  </a:lnTo>
                  <a:lnTo>
                    <a:pt x="202" y="120"/>
                  </a:lnTo>
                  <a:lnTo>
                    <a:pt x="189" y="125"/>
                  </a:lnTo>
                  <a:lnTo>
                    <a:pt x="176" y="129"/>
                  </a:lnTo>
                  <a:lnTo>
                    <a:pt x="164" y="132"/>
                  </a:lnTo>
                  <a:lnTo>
                    <a:pt x="134" y="141"/>
                  </a:lnTo>
                  <a:lnTo>
                    <a:pt x="111" y="149"/>
                  </a:lnTo>
                  <a:lnTo>
                    <a:pt x="99" y="154"/>
                  </a:lnTo>
                  <a:lnTo>
                    <a:pt x="91" y="158"/>
                  </a:lnTo>
                  <a:lnTo>
                    <a:pt x="82" y="164"/>
                  </a:lnTo>
                  <a:lnTo>
                    <a:pt x="76" y="168"/>
                  </a:lnTo>
                  <a:lnTo>
                    <a:pt x="69" y="174"/>
                  </a:lnTo>
                  <a:lnTo>
                    <a:pt x="65" y="181"/>
                  </a:lnTo>
                  <a:lnTo>
                    <a:pt x="61" y="187"/>
                  </a:lnTo>
                  <a:lnTo>
                    <a:pt x="58" y="195"/>
                  </a:lnTo>
                  <a:lnTo>
                    <a:pt x="55" y="204"/>
                  </a:lnTo>
                  <a:lnTo>
                    <a:pt x="53" y="214"/>
                  </a:lnTo>
                  <a:lnTo>
                    <a:pt x="52" y="224"/>
                  </a:lnTo>
                  <a:lnTo>
                    <a:pt x="52" y="237"/>
                  </a:lnTo>
                  <a:lnTo>
                    <a:pt x="52" y="393"/>
                  </a:lnTo>
                  <a:lnTo>
                    <a:pt x="652" y="393"/>
                  </a:lnTo>
                  <a:lnTo>
                    <a:pt x="652" y="237"/>
                  </a:lnTo>
                  <a:lnTo>
                    <a:pt x="652" y="224"/>
                  </a:lnTo>
                  <a:lnTo>
                    <a:pt x="651" y="214"/>
                  </a:lnTo>
                  <a:lnTo>
                    <a:pt x="650" y="204"/>
                  </a:lnTo>
                  <a:lnTo>
                    <a:pt x="647" y="195"/>
                  </a:lnTo>
                  <a:lnTo>
                    <a:pt x="644" y="187"/>
                  </a:lnTo>
                  <a:lnTo>
                    <a:pt x="639" y="181"/>
                  </a:lnTo>
                  <a:lnTo>
                    <a:pt x="634" y="174"/>
                  </a:lnTo>
                  <a:lnTo>
                    <a:pt x="628" y="168"/>
                  </a:lnTo>
                  <a:lnTo>
                    <a:pt x="621" y="164"/>
                  </a:lnTo>
                  <a:lnTo>
                    <a:pt x="614" y="158"/>
                  </a:lnTo>
                  <a:lnTo>
                    <a:pt x="603" y="154"/>
                  </a:lnTo>
                  <a:lnTo>
                    <a:pt x="593" y="149"/>
                  </a:lnTo>
                  <a:lnTo>
                    <a:pt x="570" y="141"/>
                  </a:lnTo>
                  <a:lnTo>
                    <a:pt x="540" y="132"/>
                  </a:lnTo>
                  <a:lnTo>
                    <a:pt x="529" y="129"/>
                  </a:lnTo>
                  <a:lnTo>
                    <a:pt x="516" y="125"/>
                  </a:lnTo>
                  <a:lnTo>
                    <a:pt x="503" y="120"/>
                  </a:lnTo>
                  <a:lnTo>
                    <a:pt x="488" y="116"/>
                  </a:lnTo>
                  <a:lnTo>
                    <a:pt x="475" y="112"/>
                  </a:lnTo>
                  <a:lnTo>
                    <a:pt x="464" y="105"/>
                  </a:lnTo>
                  <a:lnTo>
                    <a:pt x="452" y="99"/>
                  </a:lnTo>
                  <a:lnTo>
                    <a:pt x="442" y="92"/>
                  </a:lnTo>
                  <a:lnTo>
                    <a:pt x="434" y="84"/>
                  </a:lnTo>
                  <a:lnTo>
                    <a:pt x="426" y="76"/>
                  </a:lnTo>
                  <a:lnTo>
                    <a:pt x="421" y="67"/>
                  </a:lnTo>
                  <a:lnTo>
                    <a:pt x="415" y="60"/>
                  </a:lnTo>
                  <a:lnTo>
                    <a:pt x="406" y="43"/>
                  </a:lnTo>
                  <a:lnTo>
                    <a:pt x="402" y="27"/>
                  </a:lnTo>
                  <a:lnTo>
                    <a:pt x="399" y="11"/>
                  </a:lnTo>
                  <a:lnTo>
                    <a:pt x="399" y="0"/>
                  </a:lnTo>
                  <a:lnTo>
                    <a:pt x="451" y="2"/>
                  </a:lnTo>
                  <a:lnTo>
                    <a:pt x="451" y="5"/>
                  </a:lnTo>
                  <a:lnTo>
                    <a:pt x="451" y="13"/>
                  </a:lnTo>
                  <a:lnTo>
                    <a:pt x="454" y="20"/>
                  </a:lnTo>
                  <a:lnTo>
                    <a:pt x="458" y="30"/>
                  </a:lnTo>
                  <a:lnTo>
                    <a:pt x="464" y="40"/>
                  </a:lnTo>
                  <a:lnTo>
                    <a:pt x="474" y="50"/>
                  </a:lnTo>
                  <a:lnTo>
                    <a:pt x="480" y="54"/>
                  </a:lnTo>
                  <a:lnTo>
                    <a:pt x="487" y="59"/>
                  </a:lnTo>
                  <a:lnTo>
                    <a:pt x="495" y="63"/>
                  </a:lnTo>
                  <a:lnTo>
                    <a:pt x="506" y="67"/>
                  </a:lnTo>
                  <a:lnTo>
                    <a:pt x="518" y="72"/>
                  </a:lnTo>
                  <a:lnTo>
                    <a:pt x="531" y="74"/>
                  </a:lnTo>
                  <a:lnTo>
                    <a:pt x="543" y="79"/>
                  </a:lnTo>
                  <a:lnTo>
                    <a:pt x="554" y="82"/>
                  </a:lnTo>
                  <a:lnTo>
                    <a:pt x="585" y="92"/>
                  </a:lnTo>
                  <a:lnTo>
                    <a:pt x="612" y="100"/>
                  </a:lnTo>
                  <a:lnTo>
                    <a:pt x="625" y="106"/>
                  </a:lnTo>
                  <a:lnTo>
                    <a:pt x="638" y="112"/>
                  </a:lnTo>
                  <a:lnTo>
                    <a:pt x="650" y="119"/>
                  </a:lnTo>
                  <a:lnTo>
                    <a:pt x="660" y="126"/>
                  </a:lnTo>
                  <a:lnTo>
                    <a:pt x="670" y="136"/>
                  </a:lnTo>
                  <a:lnTo>
                    <a:pt x="678" y="145"/>
                  </a:lnTo>
                  <a:lnTo>
                    <a:pt x="686" y="156"/>
                  </a:lnTo>
                  <a:lnTo>
                    <a:pt x="693" y="169"/>
                  </a:lnTo>
                  <a:lnTo>
                    <a:pt x="698" y="184"/>
                  </a:lnTo>
                  <a:lnTo>
                    <a:pt x="701" y="200"/>
                  </a:lnTo>
                  <a:lnTo>
                    <a:pt x="704" y="217"/>
                  </a:lnTo>
                  <a:lnTo>
                    <a:pt x="704" y="237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8"/>
            <p:cNvSpPr>
              <a:spLocks/>
            </p:cNvSpPr>
            <p:nvPr/>
          </p:nvSpPr>
          <p:spPr bwMode="auto">
            <a:xfrm>
              <a:off x="2016125" y="1082676"/>
              <a:ext cx="195263" cy="50800"/>
            </a:xfrm>
            <a:custGeom>
              <a:avLst/>
              <a:gdLst>
                <a:gd name="T0" fmla="*/ 90 w 369"/>
                <a:gd name="T1" fmla="*/ 98 h 98"/>
                <a:gd name="T2" fmla="*/ 68 w 369"/>
                <a:gd name="T3" fmla="*/ 98 h 98"/>
                <a:gd name="T4" fmla="*/ 46 w 369"/>
                <a:gd name="T5" fmla="*/ 96 h 98"/>
                <a:gd name="T6" fmla="*/ 23 w 369"/>
                <a:gd name="T7" fmla="*/ 92 h 98"/>
                <a:gd name="T8" fmla="*/ 0 w 369"/>
                <a:gd name="T9" fmla="*/ 88 h 98"/>
                <a:gd name="T10" fmla="*/ 13 w 369"/>
                <a:gd name="T11" fmla="*/ 37 h 98"/>
                <a:gd name="T12" fmla="*/ 38 w 369"/>
                <a:gd name="T13" fmla="*/ 42 h 98"/>
                <a:gd name="T14" fmla="*/ 61 w 369"/>
                <a:gd name="T15" fmla="*/ 45 h 98"/>
                <a:gd name="T16" fmla="*/ 84 w 369"/>
                <a:gd name="T17" fmla="*/ 46 h 98"/>
                <a:gd name="T18" fmla="*/ 105 w 369"/>
                <a:gd name="T19" fmla="*/ 46 h 98"/>
                <a:gd name="T20" fmla="*/ 126 w 369"/>
                <a:gd name="T21" fmla="*/ 45 h 98"/>
                <a:gd name="T22" fmla="*/ 144 w 369"/>
                <a:gd name="T23" fmla="*/ 42 h 98"/>
                <a:gd name="T24" fmla="*/ 163 w 369"/>
                <a:gd name="T25" fmla="*/ 37 h 98"/>
                <a:gd name="T26" fmla="*/ 179 w 369"/>
                <a:gd name="T27" fmla="*/ 33 h 98"/>
                <a:gd name="T28" fmla="*/ 206 w 369"/>
                <a:gd name="T29" fmla="*/ 23 h 98"/>
                <a:gd name="T30" fmla="*/ 228 w 369"/>
                <a:gd name="T31" fmla="*/ 14 h 98"/>
                <a:gd name="T32" fmla="*/ 241 w 369"/>
                <a:gd name="T33" fmla="*/ 7 h 98"/>
                <a:gd name="T34" fmla="*/ 246 w 369"/>
                <a:gd name="T35" fmla="*/ 4 h 98"/>
                <a:gd name="T36" fmla="*/ 251 w 369"/>
                <a:gd name="T37" fmla="*/ 1 h 98"/>
                <a:gd name="T38" fmla="*/ 255 w 369"/>
                <a:gd name="T39" fmla="*/ 0 h 98"/>
                <a:gd name="T40" fmla="*/ 259 w 369"/>
                <a:gd name="T41" fmla="*/ 0 h 98"/>
                <a:gd name="T42" fmla="*/ 264 w 369"/>
                <a:gd name="T43" fmla="*/ 0 h 98"/>
                <a:gd name="T44" fmla="*/ 268 w 369"/>
                <a:gd name="T45" fmla="*/ 1 h 98"/>
                <a:gd name="T46" fmla="*/ 272 w 369"/>
                <a:gd name="T47" fmla="*/ 3 h 98"/>
                <a:gd name="T48" fmla="*/ 275 w 369"/>
                <a:gd name="T49" fmla="*/ 4 h 98"/>
                <a:gd name="T50" fmla="*/ 280 w 369"/>
                <a:gd name="T51" fmla="*/ 7 h 98"/>
                <a:gd name="T52" fmla="*/ 285 w 369"/>
                <a:gd name="T53" fmla="*/ 13 h 98"/>
                <a:gd name="T54" fmla="*/ 303 w 369"/>
                <a:gd name="T55" fmla="*/ 22 h 98"/>
                <a:gd name="T56" fmla="*/ 316 w 369"/>
                <a:gd name="T57" fmla="*/ 27 h 98"/>
                <a:gd name="T58" fmla="*/ 330 w 369"/>
                <a:gd name="T59" fmla="*/ 32 h 98"/>
                <a:gd name="T60" fmla="*/ 349 w 369"/>
                <a:gd name="T61" fmla="*/ 34 h 98"/>
                <a:gd name="T62" fmla="*/ 369 w 369"/>
                <a:gd name="T63" fmla="*/ 36 h 98"/>
                <a:gd name="T64" fmla="*/ 369 w 369"/>
                <a:gd name="T65" fmla="*/ 88 h 98"/>
                <a:gd name="T66" fmla="*/ 350 w 369"/>
                <a:gd name="T67" fmla="*/ 88 h 98"/>
                <a:gd name="T68" fmla="*/ 331 w 369"/>
                <a:gd name="T69" fmla="*/ 85 h 98"/>
                <a:gd name="T70" fmla="*/ 316 w 369"/>
                <a:gd name="T71" fmla="*/ 82 h 98"/>
                <a:gd name="T72" fmla="*/ 301 w 369"/>
                <a:gd name="T73" fmla="*/ 78 h 98"/>
                <a:gd name="T74" fmla="*/ 288 w 369"/>
                <a:gd name="T75" fmla="*/ 73 h 98"/>
                <a:gd name="T76" fmla="*/ 277 w 369"/>
                <a:gd name="T77" fmla="*/ 68 h 98"/>
                <a:gd name="T78" fmla="*/ 267 w 369"/>
                <a:gd name="T79" fmla="*/ 62 h 98"/>
                <a:gd name="T80" fmla="*/ 258 w 369"/>
                <a:gd name="T81" fmla="*/ 58 h 98"/>
                <a:gd name="T82" fmla="*/ 246 w 369"/>
                <a:gd name="T83" fmla="*/ 63 h 98"/>
                <a:gd name="T84" fmla="*/ 232 w 369"/>
                <a:gd name="T85" fmla="*/ 70 h 98"/>
                <a:gd name="T86" fmla="*/ 213 w 369"/>
                <a:gd name="T87" fmla="*/ 76 h 98"/>
                <a:gd name="T88" fmla="*/ 193 w 369"/>
                <a:gd name="T89" fmla="*/ 83 h 98"/>
                <a:gd name="T90" fmla="*/ 170 w 369"/>
                <a:gd name="T91" fmla="*/ 89 h 98"/>
                <a:gd name="T92" fmla="*/ 146 w 369"/>
                <a:gd name="T93" fmla="*/ 94 h 98"/>
                <a:gd name="T94" fmla="*/ 118 w 369"/>
                <a:gd name="T95" fmla="*/ 98 h 98"/>
                <a:gd name="T96" fmla="*/ 90 w 369"/>
                <a:gd name="T9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9" h="98">
                  <a:moveTo>
                    <a:pt x="90" y="98"/>
                  </a:moveTo>
                  <a:lnTo>
                    <a:pt x="68" y="98"/>
                  </a:lnTo>
                  <a:lnTo>
                    <a:pt x="46" y="96"/>
                  </a:lnTo>
                  <a:lnTo>
                    <a:pt x="23" y="92"/>
                  </a:lnTo>
                  <a:lnTo>
                    <a:pt x="0" y="88"/>
                  </a:lnTo>
                  <a:lnTo>
                    <a:pt x="13" y="37"/>
                  </a:lnTo>
                  <a:lnTo>
                    <a:pt x="38" y="42"/>
                  </a:lnTo>
                  <a:lnTo>
                    <a:pt x="61" y="45"/>
                  </a:lnTo>
                  <a:lnTo>
                    <a:pt x="84" y="46"/>
                  </a:lnTo>
                  <a:lnTo>
                    <a:pt x="105" y="46"/>
                  </a:lnTo>
                  <a:lnTo>
                    <a:pt x="126" y="45"/>
                  </a:lnTo>
                  <a:lnTo>
                    <a:pt x="144" y="42"/>
                  </a:lnTo>
                  <a:lnTo>
                    <a:pt x="163" y="37"/>
                  </a:lnTo>
                  <a:lnTo>
                    <a:pt x="179" y="33"/>
                  </a:lnTo>
                  <a:lnTo>
                    <a:pt x="206" y="23"/>
                  </a:lnTo>
                  <a:lnTo>
                    <a:pt x="228" y="14"/>
                  </a:lnTo>
                  <a:lnTo>
                    <a:pt x="241" y="7"/>
                  </a:lnTo>
                  <a:lnTo>
                    <a:pt x="246" y="4"/>
                  </a:lnTo>
                  <a:lnTo>
                    <a:pt x="251" y="1"/>
                  </a:lnTo>
                  <a:lnTo>
                    <a:pt x="255" y="0"/>
                  </a:lnTo>
                  <a:lnTo>
                    <a:pt x="259" y="0"/>
                  </a:lnTo>
                  <a:lnTo>
                    <a:pt x="264" y="0"/>
                  </a:lnTo>
                  <a:lnTo>
                    <a:pt x="268" y="1"/>
                  </a:lnTo>
                  <a:lnTo>
                    <a:pt x="272" y="3"/>
                  </a:lnTo>
                  <a:lnTo>
                    <a:pt x="275" y="4"/>
                  </a:lnTo>
                  <a:lnTo>
                    <a:pt x="280" y="7"/>
                  </a:lnTo>
                  <a:lnTo>
                    <a:pt x="285" y="13"/>
                  </a:lnTo>
                  <a:lnTo>
                    <a:pt x="303" y="22"/>
                  </a:lnTo>
                  <a:lnTo>
                    <a:pt x="316" y="27"/>
                  </a:lnTo>
                  <a:lnTo>
                    <a:pt x="330" y="32"/>
                  </a:lnTo>
                  <a:lnTo>
                    <a:pt x="349" y="34"/>
                  </a:lnTo>
                  <a:lnTo>
                    <a:pt x="369" y="36"/>
                  </a:lnTo>
                  <a:lnTo>
                    <a:pt x="369" y="88"/>
                  </a:lnTo>
                  <a:lnTo>
                    <a:pt x="350" y="88"/>
                  </a:lnTo>
                  <a:lnTo>
                    <a:pt x="331" y="85"/>
                  </a:lnTo>
                  <a:lnTo>
                    <a:pt x="316" y="82"/>
                  </a:lnTo>
                  <a:lnTo>
                    <a:pt x="301" y="78"/>
                  </a:lnTo>
                  <a:lnTo>
                    <a:pt x="288" y="73"/>
                  </a:lnTo>
                  <a:lnTo>
                    <a:pt x="277" y="68"/>
                  </a:lnTo>
                  <a:lnTo>
                    <a:pt x="267" y="62"/>
                  </a:lnTo>
                  <a:lnTo>
                    <a:pt x="258" y="58"/>
                  </a:lnTo>
                  <a:lnTo>
                    <a:pt x="246" y="63"/>
                  </a:lnTo>
                  <a:lnTo>
                    <a:pt x="232" y="70"/>
                  </a:lnTo>
                  <a:lnTo>
                    <a:pt x="213" y="76"/>
                  </a:lnTo>
                  <a:lnTo>
                    <a:pt x="193" y="83"/>
                  </a:lnTo>
                  <a:lnTo>
                    <a:pt x="170" y="89"/>
                  </a:lnTo>
                  <a:lnTo>
                    <a:pt x="146" y="94"/>
                  </a:lnTo>
                  <a:lnTo>
                    <a:pt x="118" y="98"/>
                  </a:lnTo>
                  <a:lnTo>
                    <a:pt x="90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5"/>
            <p:cNvSpPr>
              <a:spLocks noEditPoints="1"/>
            </p:cNvSpPr>
            <p:nvPr/>
          </p:nvSpPr>
          <p:spPr bwMode="auto">
            <a:xfrm>
              <a:off x="1782763" y="1108076"/>
              <a:ext cx="180975" cy="196850"/>
            </a:xfrm>
            <a:custGeom>
              <a:avLst/>
              <a:gdLst>
                <a:gd name="T0" fmla="*/ 146 w 342"/>
                <a:gd name="T1" fmla="*/ 55 h 372"/>
                <a:gd name="T2" fmla="*/ 115 w 342"/>
                <a:gd name="T3" fmla="*/ 69 h 372"/>
                <a:gd name="T4" fmla="*/ 87 w 342"/>
                <a:gd name="T5" fmla="*/ 92 h 372"/>
                <a:gd name="T6" fmla="*/ 66 w 342"/>
                <a:gd name="T7" fmla="*/ 123 h 372"/>
                <a:gd name="T8" fmla="*/ 54 w 342"/>
                <a:gd name="T9" fmla="*/ 160 h 372"/>
                <a:gd name="T10" fmla="*/ 53 w 342"/>
                <a:gd name="T11" fmla="*/ 200 h 372"/>
                <a:gd name="T12" fmla="*/ 62 w 342"/>
                <a:gd name="T13" fmla="*/ 238 h 372"/>
                <a:gd name="T14" fmla="*/ 79 w 342"/>
                <a:gd name="T15" fmla="*/ 271 h 372"/>
                <a:gd name="T16" fmla="*/ 105 w 342"/>
                <a:gd name="T17" fmla="*/ 297 h 372"/>
                <a:gd name="T18" fmla="*/ 135 w 342"/>
                <a:gd name="T19" fmla="*/ 314 h 372"/>
                <a:gd name="T20" fmla="*/ 171 w 342"/>
                <a:gd name="T21" fmla="*/ 320 h 372"/>
                <a:gd name="T22" fmla="*/ 207 w 342"/>
                <a:gd name="T23" fmla="*/ 314 h 372"/>
                <a:gd name="T24" fmla="*/ 237 w 342"/>
                <a:gd name="T25" fmla="*/ 297 h 372"/>
                <a:gd name="T26" fmla="*/ 263 w 342"/>
                <a:gd name="T27" fmla="*/ 271 h 372"/>
                <a:gd name="T28" fmla="*/ 280 w 342"/>
                <a:gd name="T29" fmla="*/ 238 h 372"/>
                <a:gd name="T30" fmla="*/ 289 w 342"/>
                <a:gd name="T31" fmla="*/ 200 h 372"/>
                <a:gd name="T32" fmla="*/ 288 w 342"/>
                <a:gd name="T33" fmla="*/ 160 h 372"/>
                <a:gd name="T34" fmla="*/ 276 w 342"/>
                <a:gd name="T35" fmla="*/ 123 h 372"/>
                <a:gd name="T36" fmla="*/ 254 w 342"/>
                <a:gd name="T37" fmla="*/ 92 h 372"/>
                <a:gd name="T38" fmla="*/ 227 w 342"/>
                <a:gd name="T39" fmla="*/ 69 h 372"/>
                <a:gd name="T40" fmla="*/ 195 w 342"/>
                <a:gd name="T41" fmla="*/ 55 h 372"/>
                <a:gd name="T42" fmla="*/ 171 w 342"/>
                <a:gd name="T43" fmla="*/ 372 h 372"/>
                <a:gd name="T44" fmla="*/ 121 w 342"/>
                <a:gd name="T45" fmla="*/ 363 h 372"/>
                <a:gd name="T46" fmla="*/ 76 w 342"/>
                <a:gd name="T47" fmla="*/ 340 h 372"/>
                <a:gd name="T48" fmla="*/ 38 w 342"/>
                <a:gd name="T49" fmla="*/ 304 h 372"/>
                <a:gd name="T50" fmla="*/ 13 w 342"/>
                <a:gd name="T51" fmla="*/ 258 h 372"/>
                <a:gd name="T52" fmla="*/ 1 w 342"/>
                <a:gd name="T53" fmla="*/ 205 h 372"/>
                <a:gd name="T54" fmla="*/ 4 w 342"/>
                <a:gd name="T55" fmla="*/ 149 h 372"/>
                <a:gd name="T56" fmla="*/ 20 w 342"/>
                <a:gd name="T57" fmla="*/ 98 h 372"/>
                <a:gd name="T58" fmla="*/ 50 w 342"/>
                <a:gd name="T59" fmla="*/ 55 h 372"/>
                <a:gd name="T60" fmla="*/ 89 w 342"/>
                <a:gd name="T61" fmla="*/ 23 h 372"/>
                <a:gd name="T62" fmla="*/ 136 w 342"/>
                <a:gd name="T63" fmla="*/ 5 h 372"/>
                <a:gd name="T64" fmla="*/ 188 w 342"/>
                <a:gd name="T65" fmla="*/ 2 h 372"/>
                <a:gd name="T66" fmla="*/ 237 w 342"/>
                <a:gd name="T67" fmla="*/ 15 h 372"/>
                <a:gd name="T68" fmla="*/ 280 w 342"/>
                <a:gd name="T69" fmla="*/ 44 h 372"/>
                <a:gd name="T70" fmla="*/ 314 w 342"/>
                <a:gd name="T71" fmla="*/ 82 h 372"/>
                <a:gd name="T72" fmla="*/ 335 w 342"/>
                <a:gd name="T73" fmla="*/ 131 h 372"/>
                <a:gd name="T74" fmla="*/ 342 w 342"/>
                <a:gd name="T75" fmla="*/ 186 h 372"/>
                <a:gd name="T76" fmla="*/ 335 w 342"/>
                <a:gd name="T77" fmla="*/ 241 h 372"/>
                <a:gd name="T78" fmla="*/ 314 w 342"/>
                <a:gd name="T79" fmla="*/ 290 h 372"/>
                <a:gd name="T80" fmla="*/ 280 w 342"/>
                <a:gd name="T81" fmla="*/ 330 h 372"/>
                <a:gd name="T82" fmla="*/ 237 w 342"/>
                <a:gd name="T83" fmla="*/ 357 h 372"/>
                <a:gd name="T84" fmla="*/ 188 w 342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2" h="372">
                  <a:moveTo>
                    <a:pt x="171" y="52"/>
                  </a:moveTo>
                  <a:lnTo>
                    <a:pt x="159" y="54"/>
                  </a:lnTo>
                  <a:lnTo>
                    <a:pt x="146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7" y="92"/>
                  </a:lnTo>
                  <a:lnTo>
                    <a:pt x="79" y="101"/>
                  </a:lnTo>
                  <a:lnTo>
                    <a:pt x="73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7" y="147"/>
                  </a:lnTo>
                  <a:lnTo>
                    <a:pt x="54" y="160"/>
                  </a:lnTo>
                  <a:lnTo>
                    <a:pt x="53" y="173"/>
                  </a:lnTo>
                  <a:lnTo>
                    <a:pt x="51" y="186"/>
                  </a:lnTo>
                  <a:lnTo>
                    <a:pt x="53" y="200"/>
                  </a:lnTo>
                  <a:lnTo>
                    <a:pt x="54" y="213"/>
                  </a:lnTo>
                  <a:lnTo>
                    <a:pt x="57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3" y="261"/>
                  </a:lnTo>
                  <a:lnTo>
                    <a:pt x="79" y="271"/>
                  </a:lnTo>
                  <a:lnTo>
                    <a:pt x="87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6" y="317"/>
                  </a:lnTo>
                  <a:lnTo>
                    <a:pt x="159" y="319"/>
                  </a:lnTo>
                  <a:lnTo>
                    <a:pt x="171" y="320"/>
                  </a:lnTo>
                  <a:lnTo>
                    <a:pt x="182" y="319"/>
                  </a:lnTo>
                  <a:lnTo>
                    <a:pt x="195" y="317"/>
                  </a:lnTo>
                  <a:lnTo>
                    <a:pt x="207" y="314"/>
                  </a:lnTo>
                  <a:lnTo>
                    <a:pt x="217" y="310"/>
                  </a:lnTo>
                  <a:lnTo>
                    <a:pt x="227" y="304"/>
                  </a:lnTo>
                  <a:lnTo>
                    <a:pt x="237" y="297"/>
                  </a:lnTo>
                  <a:lnTo>
                    <a:pt x="247" y="290"/>
                  </a:lnTo>
                  <a:lnTo>
                    <a:pt x="254" y="281"/>
                  </a:lnTo>
                  <a:lnTo>
                    <a:pt x="263" y="271"/>
                  </a:lnTo>
                  <a:lnTo>
                    <a:pt x="270" y="261"/>
                  </a:lnTo>
                  <a:lnTo>
                    <a:pt x="276" y="249"/>
                  </a:lnTo>
                  <a:lnTo>
                    <a:pt x="280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0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0" y="134"/>
                  </a:lnTo>
                  <a:lnTo>
                    <a:pt x="276" y="123"/>
                  </a:lnTo>
                  <a:lnTo>
                    <a:pt x="270" y="111"/>
                  </a:lnTo>
                  <a:lnTo>
                    <a:pt x="263" y="101"/>
                  </a:lnTo>
                  <a:lnTo>
                    <a:pt x="254" y="92"/>
                  </a:lnTo>
                  <a:lnTo>
                    <a:pt x="247" y="84"/>
                  </a:lnTo>
                  <a:lnTo>
                    <a:pt x="237" y="75"/>
                  </a:lnTo>
                  <a:lnTo>
                    <a:pt x="227" y="69"/>
                  </a:lnTo>
                  <a:lnTo>
                    <a:pt x="217" y="64"/>
                  </a:lnTo>
                  <a:lnTo>
                    <a:pt x="207" y="59"/>
                  </a:lnTo>
                  <a:lnTo>
                    <a:pt x="195" y="55"/>
                  </a:lnTo>
                  <a:lnTo>
                    <a:pt x="182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6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6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8" y="304"/>
                  </a:lnTo>
                  <a:lnTo>
                    <a:pt x="28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4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4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8" y="82"/>
                  </a:lnTo>
                  <a:lnTo>
                    <a:pt x="38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6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6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8" y="2"/>
                  </a:lnTo>
                  <a:lnTo>
                    <a:pt x="206" y="5"/>
                  </a:lnTo>
                  <a:lnTo>
                    <a:pt x="221" y="9"/>
                  </a:lnTo>
                  <a:lnTo>
                    <a:pt x="237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80" y="44"/>
                  </a:lnTo>
                  <a:lnTo>
                    <a:pt x="292" y="55"/>
                  </a:lnTo>
                  <a:lnTo>
                    <a:pt x="303" y="68"/>
                  </a:lnTo>
                  <a:lnTo>
                    <a:pt x="314" y="82"/>
                  </a:lnTo>
                  <a:lnTo>
                    <a:pt x="322" y="98"/>
                  </a:lnTo>
                  <a:lnTo>
                    <a:pt x="329" y="114"/>
                  </a:lnTo>
                  <a:lnTo>
                    <a:pt x="335" y="131"/>
                  </a:lnTo>
                  <a:lnTo>
                    <a:pt x="339" y="149"/>
                  </a:lnTo>
                  <a:lnTo>
                    <a:pt x="341" y="167"/>
                  </a:lnTo>
                  <a:lnTo>
                    <a:pt x="342" y="186"/>
                  </a:lnTo>
                  <a:lnTo>
                    <a:pt x="341" y="205"/>
                  </a:lnTo>
                  <a:lnTo>
                    <a:pt x="339" y="224"/>
                  </a:lnTo>
                  <a:lnTo>
                    <a:pt x="335" y="241"/>
                  </a:lnTo>
                  <a:lnTo>
                    <a:pt x="329" y="258"/>
                  </a:lnTo>
                  <a:lnTo>
                    <a:pt x="322" y="275"/>
                  </a:lnTo>
                  <a:lnTo>
                    <a:pt x="314" y="290"/>
                  </a:lnTo>
                  <a:lnTo>
                    <a:pt x="303" y="304"/>
                  </a:lnTo>
                  <a:lnTo>
                    <a:pt x="292" y="317"/>
                  </a:lnTo>
                  <a:lnTo>
                    <a:pt x="280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7" y="357"/>
                  </a:lnTo>
                  <a:lnTo>
                    <a:pt x="221" y="363"/>
                  </a:lnTo>
                  <a:lnTo>
                    <a:pt x="206" y="369"/>
                  </a:lnTo>
                  <a:lnTo>
                    <a:pt x="188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6"/>
            <p:cNvSpPr>
              <a:spLocks/>
            </p:cNvSpPr>
            <p:nvPr/>
          </p:nvSpPr>
          <p:spPr bwMode="auto">
            <a:xfrm>
              <a:off x="1890713" y="1282701"/>
              <a:ext cx="68263" cy="58738"/>
            </a:xfrm>
            <a:custGeom>
              <a:avLst/>
              <a:gdLst>
                <a:gd name="T0" fmla="*/ 115 w 129"/>
                <a:gd name="T1" fmla="*/ 111 h 111"/>
                <a:gd name="T2" fmla="*/ 96 w 129"/>
                <a:gd name="T3" fmla="*/ 105 h 111"/>
                <a:gd name="T4" fmla="*/ 76 w 129"/>
                <a:gd name="T5" fmla="*/ 99 h 111"/>
                <a:gd name="T6" fmla="*/ 64 w 129"/>
                <a:gd name="T7" fmla="*/ 95 h 111"/>
                <a:gd name="T8" fmla="*/ 54 w 129"/>
                <a:gd name="T9" fmla="*/ 89 h 111"/>
                <a:gd name="T10" fmla="*/ 44 w 129"/>
                <a:gd name="T11" fmla="*/ 84 h 111"/>
                <a:gd name="T12" fmla="*/ 37 w 129"/>
                <a:gd name="T13" fmla="*/ 78 h 111"/>
                <a:gd name="T14" fmla="*/ 30 w 129"/>
                <a:gd name="T15" fmla="*/ 72 h 111"/>
                <a:gd name="T16" fmla="*/ 23 w 129"/>
                <a:gd name="T17" fmla="*/ 65 h 111"/>
                <a:gd name="T18" fmla="*/ 18 w 129"/>
                <a:gd name="T19" fmla="*/ 58 h 111"/>
                <a:gd name="T20" fmla="*/ 13 w 129"/>
                <a:gd name="T21" fmla="*/ 50 h 111"/>
                <a:gd name="T22" fmla="*/ 7 w 129"/>
                <a:gd name="T23" fmla="*/ 36 h 111"/>
                <a:gd name="T24" fmla="*/ 3 w 129"/>
                <a:gd name="T25" fmla="*/ 23 h 111"/>
                <a:gd name="T26" fmla="*/ 0 w 129"/>
                <a:gd name="T27" fmla="*/ 10 h 111"/>
                <a:gd name="T28" fmla="*/ 0 w 129"/>
                <a:gd name="T29" fmla="*/ 0 h 111"/>
                <a:gd name="T30" fmla="*/ 51 w 129"/>
                <a:gd name="T31" fmla="*/ 3 h 111"/>
                <a:gd name="T32" fmla="*/ 53 w 129"/>
                <a:gd name="T33" fmla="*/ 10 h 111"/>
                <a:gd name="T34" fmla="*/ 57 w 129"/>
                <a:gd name="T35" fmla="*/ 23 h 111"/>
                <a:gd name="T36" fmla="*/ 63 w 129"/>
                <a:gd name="T37" fmla="*/ 30 h 111"/>
                <a:gd name="T38" fmla="*/ 69 w 129"/>
                <a:gd name="T39" fmla="*/ 37 h 111"/>
                <a:gd name="T40" fmla="*/ 79 w 129"/>
                <a:gd name="T41" fmla="*/ 43 h 111"/>
                <a:gd name="T42" fmla="*/ 92 w 129"/>
                <a:gd name="T43" fmla="*/ 49 h 111"/>
                <a:gd name="T44" fmla="*/ 112 w 129"/>
                <a:gd name="T45" fmla="*/ 55 h 111"/>
                <a:gd name="T46" fmla="*/ 129 w 129"/>
                <a:gd name="T47" fmla="*/ 61 h 111"/>
                <a:gd name="T48" fmla="*/ 115 w 129"/>
                <a:gd name="T4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15" y="111"/>
                  </a:moveTo>
                  <a:lnTo>
                    <a:pt x="96" y="105"/>
                  </a:lnTo>
                  <a:lnTo>
                    <a:pt x="76" y="99"/>
                  </a:lnTo>
                  <a:lnTo>
                    <a:pt x="64" y="95"/>
                  </a:lnTo>
                  <a:lnTo>
                    <a:pt x="54" y="89"/>
                  </a:lnTo>
                  <a:lnTo>
                    <a:pt x="44" y="84"/>
                  </a:lnTo>
                  <a:lnTo>
                    <a:pt x="37" y="78"/>
                  </a:lnTo>
                  <a:lnTo>
                    <a:pt x="30" y="72"/>
                  </a:lnTo>
                  <a:lnTo>
                    <a:pt x="23" y="65"/>
                  </a:lnTo>
                  <a:lnTo>
                    <a:pt x="18" y="58"/>
                  </a:lnTo>
                  <a:lnTo>
                    <a:pt x="13" y="50"/>
                  </a:lnTo>
                  <a:lnTo>
                    <a:pt x="7" y="36"/>
                  </a:lnTo>
                  <a:lnTo>
                    <a:pt x="3" y="23"/>
                  </a:lnTo>
                  <a:lnTo>
                    <a:pt x="0" y="10"/>
                  </a:lnTo>
                  <a:lnTo>
                    <a:pt x="0" y="0"/>
                  </a:lnTo>
                  <a:lnTo>
                    <a:pt x="51" y="3"/>
                  </a:lnTo>
                  <a:lnTo>
                    <a:pt x="53" y="10"/>
                  </a:lnTo>
                  <a:lnTo>
                    <a:pt x="57" y="23"/>
                  </a:lnTo>
                  <a:lnTo>
                    <a:pt x="63" y="30"/>
                  </a:lnTo>
                  <a:lnTo>
                    <a:pt x="69" y="37"/>
                  </a:lnTo>
                  <a:lnTo>
                    <a:pt x="79" y="43"/>
                  </a:lnTo>
                  <a:lnTo>
                    <a:pt x="92" y="49"/>
                  </a:lnTo>
                  <a:lnTo>
                    <a:pt x="112" y="55"/>
                  </a:lnTo>
                  <a:lnTo>
                    <a:pt x="129" y="61"/>
                  </a:lnTo>
                  <a:lnTo>
                    <a:pt x="115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7"/>
            <p:cNvSpPr>
              <a:spLocks/>
            </p:cNvSpPr>
            <p:nvPr/>
          </p:nvSpPr>
          <p:spPr bwMode="auto">
            <a:xfrm>
              <a:off x="1720850" y="1282701"/>
              <a:ext cx="223838" cy="192088"/>
            </a:xfrm>
            <a:custGeom>
              <a:avLst/>
              <a:gdLst>
                <a:gd name="T0" fmla="*/ 423 w 423"/>
                <a:gd name="T1" fmla="*/ 361 h 361"/>
                <a:gd name="T2" fmla="*/ 0 w 423"/>
                <a:gd name="T3" fmla="*/ 361 h 361"/>
                <a:gd name="T4" fmla="*/ 0 w 423"/>
                <a:gd name="T5" fmla="*/ 190 h 361"/>
                <a:gd name="T6" fmla="*/ 1 w 423"/>
                <a:gd name="T7" fmla="*/ 174 h 361"/>
                <a:gd name="T8" fmla="*/ 3 w 423"/>
                <a:gd name="T9" fmla="*/ 158 h 361"/>
                <a:gd name="T10" fmla="*/ 7 w 423"/>
                <a:gd name="T11" fmla="*/ 145 h 361"/>
                <a:gd name="T12" fmla="*/ 11 w 423"/>
                <a:gd name="T13" fmla="*/ 134 h 361"/>
                <a:gd name="T14" fmla="*/ 16 w 423"/>
                <a:gd name="T15" fmla="*/ 122 h 361"/>
                <a:gd name="T16" fmla="*/ 23 w 423"/>
                <a:gd name="T17" fmla="*/ 114 h 361"/>
                <a:gd name="T18" fmla="*/ 30 w 423"/>
                <a:gd name="T19" fmla="*/ 105 h 361"/>
                <a:gd name="T20" fmla="*/ 39 w 423"/>
                <a:gd name="T21" fmla="*/ 98 h 361"/>
                <a:gd name="T22" fmla="*/ 47 w 423"/>
                <a:gd name="T23" fmla="*/ 92 h 361"/>
                <a:gd name="T24" fmla="*/ 58 w 423"/>
                <a:gd name="T25" fmla="*/ 86 h 361"/>
                <a:gd name="T26" fmla="*/ 68 w 423"/>
                <a:gd name="T27" fmla="*/ 81 h 361"/>
                <a:gd name="T28" fmla="*/ 78 w 423"/>
                <a:gd name="T29" fmla="*/ 76 h 361"/>
                <a:gd name="T30" fmla="*/ 101 w 423"/>
                <a:gd name="T31" fmla="*/ 69 h 361"/>
                <a:gd name="T32" fmla="*/ 124 w 423"/>
                <a:gd name="T33" fmla="*/ 62 h 361"/>
                <a:gd name="T34" fmla="*/ 144 w 423"/>
                <a:gd name="T35" fmla="*/ 56 h 361"/>
                <a:gd name="T36" fmla="*/ 164 w 423"/>
                <a:gd name="T37" fmla="*/ 49 h 361"/>
                <a:gd name="T38" fmla="*/ 177 w 423"/>
                <a:gd name="T39" fmla="*/ 43 h 361"/>
                <a:gd name="T40" fmla="*/ 187 w 423"/>
                <a:gd name="T41" fmla="*/ 37 h 361"/>
                <a:gd name="T42" fmla="*/ 193 w 423"/>
                <a:gd name="T43" fmla="*/ 30 h 361"/>
                <a:gd name="T44" fmla="*/ 199 w 423"/>
                <a:gd name="T45" fmla="*/ 23 h 361"/>
                <a:gd name="T46" fmla="*/ 203 w 423"/>
                <a:gd name="T47" fmla="*/ 10 h 361"/>
                <a:gd name="T48" fmla="*/ 204 w 423"/>
                <a:gd name="T49" fmla="*/ 3 h 361"/>
                <a:gd name="T50" fmla="*/ 256 w 423"/>
                <a:gd name="T51" fmla="*/ 0 h 361"/>
                <a:gd name="T52" fmla="*/ 256 w 423"/>
                <a:gd name="T53" fmla="*/ 10 h 361"/>
                <a:gd name="T54" fmla="*/ 253 w 423"/>
                <a:gd name="T55" fmla="*/ 23 h 361"/>
                <a:gd name="T56" fmla="*/ 249 w 423"/>
                <a:gd name="T57" fmla="*/ 36 h 361"/>
                <a:gd name="T58" fmla="*/ 243 w 423"/>
                <a:gd name="T59" fmla="*/ 50 h 361"/>
                <a:gd name="T60" fmla="*/ 238 w 423"/>
                <a:gd name="T61" fmla="*/ 58 h 361"/>
                <a:gd name="T62" fmla="*/ 233 w 423"/>
                <a:gd name="T63" fmla="*/ 65 h 361"/>
                <a:gd name="T64" fmla="*/ 226 w 423"/>
                <a:gd name="T65" fmla="*/ 72 h 361"/>
                <a:gd name="T66" fmla="*/ 219 w 423"/>
                <a:gd name="T67" fmla="*/ 78 h 361"/>
                <a:gd name="T68" fmla="*/ 212 w 423"/>
                <a:gd name="T69" fmla="*/ 84 h 361"/>
                <a:gd name="T70" fmla="*/ 202 w 423"/>
                <a:gd name="T71" fmla="*/ 89 h 361"/>
                <a:gd name="T72" fmla="*/ 191 w 423"/>
                <a:gd name="T73" fmla="*/ 95 h 361"/>
                <a:gd name="T74" fmla="*/ 180 w 423"/>
                <a:gd name="T75" fmla="*/ 99 h 361"/>
                <a:gd name="T76" fmla="*/ 158 w 423"/>
                <a:gd name="T77" fmla="*/ 105 h 361"/>
                <a:gd name="T78" fmla="*/ 138 w 423"/>
                <a:gd name="T79" fmla="*/ 111 h 361"/>
                <a:gd name="T80" fmla="*/ 117 w 423"/>
                <a:gd name="T81" fmla="*/ 118 h 361"/>
                <a:gd name="T82" fmla="*/ 98 w 423"/>
                <a:gd name="T83" fmla="*/ 125 h 361"/>
                <a:gd name="T84" fmla="*/ 82 w 423"/>
                <a:gd name="T85" fmla="*/ 131 h 361"/>
                <a:gd name="T86" fmla="*/ 71 w 423"/>
                <a:gd name="T87" fmla="*/ 140 h 361"/>
                <a:gd name="T88" fmla="*/ 66 w 423"/>
                <a:gd name="T89" fmla="*/ 143 h 361"/>
                <a:gd name="T90" fmla="*/ 62 w 423"/>
                <a:gd name="T91" fmla="*/ 148 h 361"/>
                <a:gd name="T92" fmla="*/ 59 w 423"/>
                <a:gd name="T93" fmla="*/ 153 h 361"/>
                <a:gd name="T94" fmla="*/ 58 w 423"/>
                <a:gd name="T95" fmla="*/ 158 h 361"/>
                <a:gd name="T96" fmla="*/ 53 w 423"/>
                <a:gd name="T97" fmla="*/ 173 h 361"/>
                <a:gd name="T98" fmla="*/ 53 w 423"/>
                <a:gd name="T99" fmla="*/ 190 h 361"/>
                <a:gd name="T100" fmla="*/ 53 w 423"/>
                <a:gd name="T101" fmla="*/ 310 h 361"/>
                <a:gd name="T102" fmla="*/ 423 w 423"/>
                <a:gd name="T103" fmla="*/ 310 h 361"/>
                <a:gd name="T104" fmla="*/ 423 w 423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" h="361">
                  <a:moveTo>
                    <a:pt x="423" y="361"/>
                  </a:moveTo>
                  <a:lnTo>
                    <a:pt x="0" y="361"/>
                  </a:lnTo>
                  <a:lnTo>
                    <a:pt x="0" y="190"/>
                  </a:lnTo>
                  <a:lnTo>
                    <a:pt x="1" y="174"/>
                  </a:lnTo>
                  <a:lnTo>
                    <a:pt x="3" y="158"/>
                  </a:lnTo>
                  <a:lnTo>
                    <a:pt x="7" y="145"/>
                  </a:lnTo>
                  <a:lnTo>
                    <a:pt x="11" y="134"/>
                  </a:lnTo>
                  <a:lnTo>
                    <a:pt x="16" y="122"/>
                  </a:lnTo>
                  <a:lnTo>
                    <a:pt x="23" y="114"/>
                  </a:lnTo>
                  <a:lnTo>
                    <a:pt x="30" y="105"/>
                  </a:lnTo>
                  <a:lnTo>
                    <a:pt x="39" y="98"/>
                  </a:lnTo>
                  <a:lnTo>
                    <a:pt x="47" y="92"/>
                  </a:lnTo>
                  <a:lnTo>
                    <a:pt x="58" y="86"/>
                  </a:lnTo>
                  <a:lnTo>
                    <a:pt x="68" y="81"/>
                  </a:lnTo>
                  <a:lnTo>
                    <a:pt x="78" y="76"/>
                  </a:lnTo>
                  <a:lnTo>
                    <a:pt x="101" y="69"/>
                  </a:lnTo>
                  <a:lnTo>
                    <a:pt x="124" y="62"/>
                  </a:lnTo>
                  <a:lnTo>
                    <a:pt x="144" y="56"/>
                  </a:lnTo>
                  <a:lnTo>
                    <a:pt x="164" y="49"/>
                  </a:lnTo>
                  <a:lnTo>
                    <a:pt x="177" y="43"/>
                  </a:lnTo>
                  <a:lnTo>
                    <a:pt x="187" y="37"/>
                  </a:lnTo>
                  <a:lnTo>
                    <a:pt x="193" y="30"/>
                  </a:lnTo>
                  <a:lnTo>
                    <a:pt x="199" y="23"/>
                  </a:lnTo>
                  <a:lnTo>
                    <a:pt x="203" y="10"/>
                  </a:lnTo>
                  <a:lnTo>
                    <a:pt x="204" y="3"/>
                  </a:lnTo>
                  <a:lnTo>
                    <a:pt x="256" y="0"/>
                  </a:lnTo>
                  <a:lnTo>
                    <a:pt x="256" y="10"/>
                  </a:lnTo>
                  <a:lnTo>
                    <a:pt x="253" y="23"/>
                  </a:lnTo>
                  <a:lnTo>
                    <a:pt x="249" y="36"/>
                  </a:lnTo>
                  <a:lnTo>
                    <a:pt x="243" y="50"/>
                  </a:lnTo>
                  <a:lnTo>
                    <a:pt x="238" y="58"/>
                  </a:lnTo>
                  <a:lnTo>
                    <a:pt x="233" y="65"/>
                  </a:lnTo>
                  <a:lnTo>
                    <a:pt x="226" y="72"/>
                  </a:lnTo>
                  <a:lnTo>
                    <a:pt x="219" y="78"/>
                  </a:lnTo>
                  <a:lnTo>
                    <a:pt x="212" y="84"/>
                  </a:lnTo>
                  <a:lnTo>
                    <a:pt x="202" y="89"/>
                  </a:lnTo>
                  <a:lnTo>
                    <a:pt x="191" y="95"/>
                  </a:lnTo>
                  <a:lnTo>
                    <a:pt x="180" y="99"/>
                  </a:lnTo>
                  <a:lnTo>
                    <a:pt x="158" y="105"/>
                  </a:lnTo>
                  <a:lnTo>
                    <a:pt x="138" y="111"/>
                  </a:lnTo>
                  <a:lnTo>
                    <a:pt x="117" y="118"/>
                  </a:lnTo>
                  <a:lnTo>
                    <a:pt x="98" y="125"/>
                  </a:lnTo>
                  <a:lnTo>
                    <a:pt x="82" y="131"/>
                  </a:lnTo>
                  <a:lnTo>
                    <a:pt x="71" y="140"/>
                  </a:lnTo>
                  <a:lnTo>
                    <a:pt x="66" y="143"/>
                  </a:lnTo>
                  <a:lnTo>
                    <a:pt x="62" y="148"/>
                  </a:lnTo>
                  <a:lnTo>
                    <a:pt x="59" y="153"/>
                  </a:lnTo>
                  <a:lnTo>
                    <a:pt x="58" y="158"/>
                  </a:lnTo>
                  <a:lnTo>
                    <a:pt x="53" y="173"/>
                  </a:lnTo>
                  <a:lnTo>
                    <a:pt x="53" y="190"/>
                  </a:lnTo>
                  <a:lnTo>
                    <a:pt x="53" y="310"/>
                  </a:lnTo>
                  <a:lnTo>
                    <a:pt x="423" y="310"/>
                  </a:lnTo>
                  <a:lnTo>
                    <a:pt x="423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8"/>
            <p:cNvSpPr>
              <a:spLocks/>
            </p:cNvSpPr>
            <p:nvPr/>
          </p:nvSpPr>
          <p:spPr bwMode="auto">
            <a:xfrm>
              <a:off x="1793875" y="1155701"/>
              <a:ext cx="157163" cy="46038"/>
            </a:xfrm>
            <a:custGeom>
              <a:avLst/>
              <a:gdLst>
                <a:gd name="T0" fmla="*/ 72 w 296"/>
                <a:gd name="T1" fmla="*/ 89 h 89"/>
                <a:gd name="T2" fmla="*/ 54 w 296"/>
                <a:gd name="T3" fmla="*/ 88 h 89"/>
                <a:gd name="T4" fmla="*/ 37 w 296"/>
                <a:gd name="T5" fmla="*/ 87 h 89"/>
                <a:gd name="T6" fmla="*/ 18 w 296"/>
                <a:gd name="T7" fmla="*/ 84 h 89"/>
                <a:gd name="T8" fmla="*/ 0 w 296"/>
                <a:gd name="T9" fmla="*/ 81 h 89"/>
                <a:gd name="T10" fmla="*/ 13 w 296"/>
                <a:gd name="T11" fmla="*/ 29 h 89"/>
                <a:gd name="T12" fmla="*/ 31 w 296"/>
                <a:gd name="T13" fmla="*/ 33 h 89"/>
                <a:gd name="T14" fmla="*/ 50 w 296"/>
                <a:gd name="T15" fmla="*/ 36 h 89"/>
                <a:gd name="T16" fmla="*/ 67 w 296"/>
                <a:gd name="T17" fmla="*/ 36 h 89"/>
                <a:gd name="T18" fmla="*/ 83 w 296"/>
                <a:gd name="T19" fmla="*/ 36 h 89"/>
                <a:gd name="T20" fmla="*/ 101 w 296"/>
                <a:gd name="T21" fmla="*/ 35 h 89"/>
                <a:gd name="T22" fmla="*/ 115 w 296"/>
                <a:gd name="T23" fmla="*/ 33 h 89"/>
                <a:gd name="T24" fmla="*/ 129 w 296"/>
                <a:gd name="T25" fmla="*/ 30 h 89"/>
                <a:gd name="T26" fmla="*/ 142 w 296"/>
                <a:gd name="T27" fmla="*/ 26 h 89"/>
                <a:gd name="T28" fmla="*/ 164 w 296"/>
                <a:gd name="T29" fmla="*/ 19 h 89"/>
                <a:gd name="T30" fmla="*/ 180 w 296"/>
                <a:gd name="T31" fmla="*/ 12 h 89"/>
                <a:gd name="T32" fmla="*/ 191 w 296"/>
                <a:gd name="T33" fmla="*/ 6 h 89"/>
                <a:gd name="T34" fmla="*/ 194 w 296"/>
                <a:gd name="T35" fmla="*/ 4 h 89"/>
                <a:gd name="T36" fmla="*/ 198 w 296"/>
                <a:gd name="T37" fmla="*/ 2 h 89"/>
                <a:gd name="T38" fmla="*/ 203 w 296"/>
                <a:gd name="T39" fmla="*/ 0 h 89"/>
                <a:gd name="T40" fmla="*/ 207 w 296"/>
                <a:gd name="T41" fmla="*/ 0 h 89"/>
                <a:gd name="T42" fmla="*/ 211 w 296"/>
                <a:gd name="T43" fmla="*/ 0 h 89"/>
                <a:gd name="T44" fmla="*/ 216 w 296"/>
                <a:gd name="T45" fmla="*/ 0 h 89"/>
                <a:gd name="T46" fmla="*/ 220 w 296"/>
                <a:gd name="T47" fmla="*/ 2 h 89"/>
                <a:gd name="T48" fmla="*/ 224 w 296"/>
                <a:gd name="T49" fmla="*/ 4 h 89"/>
                <a:gd name="T50" fmla="*/ 227 w 296"/>
                <a:gd name="T51" fmla="*/ 7 h 89"/>
                <a:gd name="T52" fmla="*/ 232 w 296"/>
                <a:gd name="T53" fmla="*/ 10 h 89"/>
                <a:gd name="T54" fmla="*/ 245 w 296"/>
                <a:gd name="T55" fmla="*/ 19 h 89"/>
                <a:gd name="T56" fmla="*/ 255 w 296"/>
                <a:gd name="T57" fmla="*/ 22 h 89"/>
                <a:gd name="T58" fmla="*/ 266 w 296"/>
                <a:gd name="T59" fmla="*/ 26 h 89"/>
                <a:gd name="T60" fmla="*/ 281 w 296"/>
                <a:gd name="T61" fmla="*/ 28 h 89"/>
                <a:gd name="T62" fmla="*/ 296 w 296"/>
                <a:gd name="T63" fmla="*/ 29 h 89"/>
                <a:gd name="T64" fmla="*/ 296 w 296"/>
                <a:gd name="T65" fmla="*/ 81 h 89"/>
                <a:gd name="T66" fmla="*/ 281 w 296"/>
                <a:gd name="T67" fmla="*/ 81 h 89"/>
                <a:gd name="T68" fmla="*/ 266 w 296"/>
                <a:gd name="T69" fmla="*/ 79 h 89"/>
                <a:gd name="T70" fmla="*/ 253 w 296"/>
                <a:gd name="T71" fmla="*/ 76 h 89"/>
                <a:gd name="T72" fmla="*/ 242 w 296"/>
                <a:gd name="T73" fmla="*/ 74 h 89"/>
                <a:gd name="T74" fmla="*/ 222 w 296"/>
                <a:gd name="T75" fmla="*/ 65 h 89"/>
                <a:gd name="T76" fmla="*/ 207 w 296"/>
                <a:gd name="T77" fmla="*/ 56 h 89"/>
                <a:gd name="T78" fmla="*/ 184 w 296"/>
                <a:gd name="T79" fmla="*/ 66 h 89"/>
                <a:gd name="T80" fmla="*/ 154 w 296"/>
                <a:gd name="T81" fmla="*/ 78 h 89"/>
                <a:gd name="T82" fmla="*/ 135 w 296"/>
                <a:gd name="T83" fmla="*/ 82 h 89"/>
                <a:gd name="T84" fmla="*/ 116 w 296"/>
                <a:gd name="T85" fmla="*/ 85 h 89"/>
                <a:gd name="T86" fmla="*/ 95 w 296"/>
                <a:gd name="T87" fmla="*/ 88 h 89"/>
                <a:gd name="T88" fmla="*/ 72 w 296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89">
                  <a:moveTo>
                    <a:pt x="72" y="89"/>
                  </a:moveTo>
                  <a:lnTo>
                    <a:pt x="54" y="88"/>
                  </a:lnTo>
                  <a:lnTo>
                    <a:pt x="37" y="87"/>
                  </a:lnTo>
                  <a:lnTo>
                    <a:pt x="18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1" y="33"/>
                  </a:lnTo>
                  <a:lnTo>
                    <a:pt x="50" y="36"/>
                  </a:lnTo>
                  <a:lnTo>
                    <a:pt x="67" y="36"/>
                  </a:lnTo>
                  <a:lnTo>
                    <a:pt x="83" y="36"/>
                  </a:lnTo>
                  <a:lnTo>
                    <a:pt x="101" y="35"/>
                  </a:lnTo>
                  <a:lnTo>
                    <a:pt x="115" y="33"/>
                  </a:lnTo>
                  <a:lnTo>
                    <a:pt x="129" y="30"/>
                  </a:lnTo>
                  <a:lnTo>
                    <a:pt x="142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1" y="6"/>
                  </a:lnTo>
                  <a:lnTo>
                    <a:pt x="194" y="4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4" y="4"/>
                  </a:lnTo>
                  <a:lnTo>
                    <a:pt x="227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6" y="26"/>
                  </a:lnTo>
                  <a:lnTo>
                    <a:pt x="281" y="28"/>
                  </a:lnTo>
                  <a:lnTo>
                    <a:pt x="296" y="29"/>
                  </a:lnTo>
                  <a:lnTo>
                    <a:pt x="296" y="81"/>
                  </a:lnTo>
                  <a:lnTo>
                    <a:pt x="281" y="81"/>
                  </a:lnTo>
                  <a:lnTo>
                    <a:pt x="266" y="79"/>
                  </a:lnTo>
                  <a:lnTo>
                    <a:pt x="253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7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5" y="82"/>
                  </a:lnTo>
                  <a:lnTo>
                    <a:pt x="116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9"/>
            <p:cNvSpPr>
              <a:spLocks noEditPoints="1"/>
            </p:cNvSpPr>
            <p:nvPr/>
          </p:nvSpPr>
          <p:spPr bwMode="auto">
            <a:xfrm>
              <a:off x="2266950" y="1108076"/>
              <a:ext cx="180975" cy="196850"/>
            </a:xfrm>
            <a:custGeom>
              <a:avLst/>
              <a:gdLst>
                <a:gd name="T0" fmla="*/ 147 w 343"/>
                <a:gd name="T1" fmla="*/ 55 h 372"/>
                <a:gd name="T2" fmla="*/ 115 w 343"/>
                <a:gd name="T3" fmla="*/ 69 h 372"/>
                <a:gd name="T4" fmla="*/ 86 w 343"/>
                <a:gd name="T5" fmla="*/ 92 h 372"/>
                <a:gd name="T6" fmla="*/ 66 w 343"/>
                <a:gd name="T7" fmla="*/ 123 h 372"/>
                <a:gd name="T8" fmla="*/ 55 w 343"/>
                <a:gd name="T9" fmla="*/ 160 h 372"/>
                <a:gd name="T10" fmla="*/ 53 w 343"/>
                <a:gd name="T11" fmla="*/ 200 h 372"/>
                <a:gd name="T12" fmla="*/ 62 w 343"/>
                <a:gd name="T13" fmla="*/ 238 h 372"/>
                <a:gd name="T14" fmla="*/ 79 w 343"/>
                <a:gd name="T15" fmla="*/ 271 h 372"/>
                <a:gd name="T16" fmla="*/ 105 w 343"/>
                <a:gd name="T17" fmla="*/ 297 h 372"/>
                <a:gd name="T18" fmla="*/ 135 w 343"/>
                <a:gd name="T19" fmla="*/ 314 h 372"/>
                <a:gd name="T20" fmla="*/ 171 w 343"/>
                <a:gd name="T21" fmla="*/ 320 h 372"/>
                <a:gd name="T22" fmla="*/ 206 w 343"/>
                <a:gd name="T23" fmla="*/ 314 h 372"/>
                <a:gd name="T24" fmla="*/ 238 w 343"/>
                <a:gd name="T25" fmla="*/ 297 h 372"/>
                <a:gd name="T26" fmla="*/ 264 w 343"/>
                <a:gd name="T27" fmla="*/ 271 h 372"/>
                <a:gd name="T28" fmla="*/ 281 w 343"/>
                <a:gd name="T29" fmla="*/ 238 h 372"/>
                <a:gd name="T30" fmla="*/ 289 w 343"/>
                <a:gd name="T31" fmla="*/ 200 h 372"/>
                <a:gd name="T32" fmla="*/ 288 w 343"/>
                <a:gd name="T33" fmla="*/ 160 h 372"/>
                <a:gd name="T34" fmla="*/ 276 w 343"/>
                <a:gd name="T35" fmla="*/ 123 h 372"/>
                <a:gd name="T36" fmla="*/ 255 w 343"/>
                <a:gd name="T37" fmla="*/ 92 h 372"/>
                <a:gd name="T38" fmla="*/ 228 w 343"/>
                <a:gd name="T39" fmla="*/ 69 h 372"/>
                <a:gd name="T40" fmla="*/ 196 w 343"/>
                <a:gd name="T41" fmla="*/ 55 h 372"/>
                <a:gd name="T42" fmla="*/ 171 w 343"/>
                <a:gd name="T43" fmla="*/ 372 h 372"/>
                <a:gd name="T44" fmla="*/ 121 w 343"/>
                <a:gd name="T45" fmla="*/ 363 h 372"/>
                <a:gd name="T46" fmla="*/ 75 w 343"/>
                <a:gd name="T47" fmla="*/ 340 h 372"/>
                <a:gd name="T48" fmla="*/ 39 w 343"/>
                <a:gd name="T49" fmla="*/ 304 h 372"/>
                <a:gd name="T50" fmla="*/ 13 w 343"/>
                <a:gd name="T51" fmla="*/ 258 h 372"/>
                <a:gd name="T52" fmla="*/ 1 w 343"/>
                <a:gd name="T53" fmla="*/ 205 h 372"/>
                <a:gd name="T54" fmla="*/ 3 w 343"/>
                <a:gd name="T55" fmla="*/ 149 h 372"/>
                <a:gd name="T56" fmla="*/ 20 w 343"/>
                <a:gd name="T57" fmla="*/ 98 h 372"/>
                <a:gd name="T58" fmla="*/ 50 w 343"/>
                <a:gd name="T59" fmla="*/ 55 h 372"/>
                <a:gd name="T60" fmla="*/ 89 w 343"/>
                <a:gd name="T61" fmla="*/ 23 h 372"/>
                <a:gd name="T62" fmla="*/ 137 w 343"/>
                <a:gd name="T63" fmla="*/ 5 h 372"/>
                <a:gd name="T64" fmla="*/ 189 w 343"/>
                <a:gd name="T65" fmla="*/ 2 h 372"/>
                <a:gd name="T66" fmla="*/ 238 w 343"/>
                <a:gd name="T67" fmla="*/ 15 h 372"/>
                <a:gd name="T68" fmla="*/ 279 w 343"/>
                <a:gd name="T69" fmla="*/ 44 h 372"/>
                <a:gd name="T70" fmla="*/ 312 w 343"/>
                <a:gd name="T71" fmla="*/ 82 h 372"/>
                <a:gd name="T72" fmla="*/ 334 w 343"/>
                <a:gd name="T73" fmla="*/ 131 h 372"/>
                <a:gd name="T74" fmla="*/ 343 w 343"/>
                <a:gd name="T75" fmla="*/ 186 h 372"/>
                <a:gd name="T76" fmla="*/ 334 w 343"/>
                <a:gd name="T77" fmla="*/ 241 h 372"/>
                <a:gd name="T78" fmla="*/ 312 w 343"/>
                <a:gd name="T79" fmla="*/ 290 h 372"/>
                <a:gd name="T80" fmla="*/ 279 w 343"/>
                <a:gd name="T81" fmla="*/ 330 h 372"/>
                <a:gd name="T82" fmla="*/ 238 w 343"/>
                <a:gd name="T83" fmla="*/ 357 h 372"/>
                <a:gd name="T84" fmla="*/ 189 w 343"/>
                <a:gd name="T85" fmla="*/ 37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3" h="372">
                  <a:moveTo>
                    <a:pt x="171" y="52"/>
                  </a:moveTo>
                  <a:lnTo>
                    <a:pt x="158" y="54"/>
                  </a:lnTo>
                  <a:lnTo>
                    <a:pt x="147" y="55"/>
                  </a:lnTo>
                  <a:lnTo>
                    <a:pt x="135" y="59"/>
                  </a:lnTo>
                  <a:lnTo>
                    <a:pt x="125" y="64"/>
                  </a:lnTo>
                  <a:lnTo>
                    <a:pt x="115" y="69"/>
                  </a:lnTo>
                  <a:lnTo>
                    <a:pt x="105" y="75"/>
                  </a:lnTo>
                  <a:lnTo>
                    <a:pt x="95" y="84"/>
                  </a:lnTo>
                  <a:lnTo>
                    <a:pt x="86" y="92"/>
                  </a:lnTo>
                  <a:lnTo>
                    <a:pt x="79" y="101"/>
                  </a:lnTo>
                  <a:lnTo>
                    <a:pt x="72" y="111"/>
                  </a:lnTo>
                  <a:lnTo>
                    <a:pt x="66" y="123"/>
                  </a:lnTo>
                  <a:lnTo>
                    <a:pt x="62" y="134"/>
                  </a:lnTo>
                  <a:lnTo>
                    <a:pt x="58" y="147"/>
                  </a:lnTo>
                  <a:lnTo>
                    <a:pt x="55" y="160"/>
                  </a:lnTo>
                  <a:lnTo>
                    <a:pt x="53" y="173"/>
                  </a:lnTo>
                  <a:lnTo>
                    <a:pt x="52" y="186"/>
                  </a:lnTo>
                  <a:lnTo>
                    <a:pt x="53" y="200"/>
                  </a:lnTo>
                  <a:lnTo>
                    <a:pt x="55" y="213"/>
                  </a:lnTo>
                  <a:lnTo>
                    <a:pt x="58" y="226"/>
                  </a:lnTo>
                  <a:lnTo>
                    <a:pt x="62" y="238"/>
                  </a:lnTo>
                  <a:lnTo>
                    <a:pt x="66" y="249"/>
                  </a:lnTo>
                  <a:lnTo>
                    <a:pt x="72" y="261"/>
                  </a:lnTo>
                  <a:lnTo>
                    <a:pt x="79" y="271"/>
                  </a:lnTo>
                  <a:lnTo>
                    <a:pt x="86" y="281"/>
                  </a:lnTo>
                  <a:lnTo>
                    <a:pt x="95" y="290"/>
                  </a:lnTo>
                  <a:lnTo>
                    <a:pt x="105" y="297"/>
                  </a:lnTo>
                  <a:lnTo>
                    <a:pt x="115" y="304"/>
                  </a:lnTo>
                  <a:lnTo>
                    <a:pt x="125" y="310"/>
                  </a:lnTo>
                  <a:lnTo>
                    <a:pt x="135" y="314"/>
                  </a:lnTo>
                  <a:lnTo>
                    <a:pt x="147" y="317"/>
                  </a:lnTo>
                  <a:lnTo>
                    <a:pt x="158" y="319"/>
                  </a:lnTo>
                  <a:lnTo>
                    <a:pt x="171" y="320"/>
                  </a:lnTo>
                  <a:lnTo>
                    <a:pt x="183" y="319"/>
                  </a:lnTo>
                  <a:lnTo>
                    <a:pt x="196" y="317"/>
                  </a:lnTo>
                  <a:lnTo>
                    <a:pt x="206" y="314"/>
                  </a:lnTo>
                  <a:lnTo>
                    <a:pt x="217" y="310"/>
                  </a:lnTo>
                  <a:lnTo>
                    <a:pt x="228" y="304"/>
                  </a:lnTo>
                  <a:lnTo>
                    <a:pt x="238" y="297"/>
                  </a:lnTo>
                  <a:lnTo>
                    <a:pt x="246" y="290"/>
                  </a:lnTo>
                  <a:lnTo>
                    <a:pt x="255" y="281"/>
                  </a:lnTo>
                  <a:lnTo>
                    <a:pt x="264" y="271"/>
                  </a:lnTo>
                  <a:lnTo>
                    <a:pt x="269" y="261"/>
                  </a:lnTo>
                  <a:lnTo>
                    <a:pt x="276" y="249"/>
                  </a:lnTo>
                  <a:lnTo>
                    <a:pt x="281" y="238"/>
                  </a:lnTo>
                  <a:lnTo>
                    <a:pt x="285" y="226"/>
                  </a:lnTo>
                  <a:lnTo>
                    <a:pt x="288" y="213"/>
                  </a:lnTo>
                  <a:lnTo>
                    <a:pt x="289" y="200"/>
                  </a:lnTo>
                  <a:lnTo>
                    <a:pt x="291" y="186"/>
                  </a:lnTo>
                  <a:lnTo>
                    <a:pt x="289" y="173"/>
                  </a:lnTo>
                  <a:lnTo>
                    <a:pt x="288" y="160"/>
                  </a:lnTo>
                  <a:lnTo>
                    <a:pt x="285" y="147"/>
                  </a:lnTo>
                  <a:lnTo>
                    <a:pt x="281" y="134"/>
                  </a:lnTo>
                  <a:lnTo>
                    <a:pt x="276" y="123"/>
                  </a:lnTo>
                  <a:lnTo>
                    <a:pt x="269" y="111"/>
                  </a:lnTo>
                  <a:lnTo>
                    <a:pt x="264" y="101"/>
                  </a:lnTo>
                  <a:lnTo>
                    <a:pt x="255" y="92"/>
                  </a:lnTo>
                  <a:lnTo>
                    <a:pt x="246" y="84"/>
                  </a:lnTo>
                  <a:lnTo>
                    <a:pt x="238" y="75"/>
                  </a:lnTo>
                  <a:lnTo>
                    <a:pt x="228" y="69"/>
                  </a:lnTo>
                  <a:lnTo>
                    <a:pt x="217" y="64"/>
                  </a:lnTo>
                  <a:lnTo>
                    <a:pt x="206" y="59"/>
                  </a:lnTo>
                  <a:lnTo>
                    <a:pt x="196" y="55"/>
                  </a:lnTo>
                  <a:lnTo>
                    <a:pt x="183" y="54"/>
                  </a:lnTo>
                  <a:lnTo>
                    <a:pt x="171" y="52"/>
                  </a:lnTo>
                  <a:close/>
                  <a:moveTo>
                    <a:pt x="171" y="372"/>
                  </a:moveTo>
                  <a:lnTo>
                    <a:pt x="154" y="370"/>
                  </a:lnTo>
                  <a:lnTo>
                    <a:pt x="137" y="369"/>
                  </a:lnTo>
                  <a:lnTo>
                    <a:pt x="121" y="363"/>
                  </a:lnTo>
                  <a:lnTo>
                    <a:pt x="105" y="357"/>
                  </a:lnTo>
                  <a:lnTo>
                    <a:pt x="89" y="350"/>
                  </a:lnTo>
                  <a:lnTo>
                    <a:pt x="75" y="340"/>
                  </a:lnTo>
                  <a:lnTo>
                    <a:pt x="62" y="330"/>
                  </a:lnTo>
                  <a:lnTo>
                    <a:pt x="50" y="317"/>
                  </a:lnTo>
                  <a:lnTo>
                    <a:pt x="39" y="304"/>
                  </a:lnTo>
                  <a:lnTo>
                    <a:pt x="29" y="290"/>
                  </a:lnTo>
                  <a:lnTo>
                    <a:pt x="20" y="275"/>
                  </a:lnTo>
                  <a:lnTo>
                    <a:pt x="13" y="258"/>
                  </a:lnTo>
                  <a:lnTo>
                    <a:pt x="7" y="241"/>
                  </a:lnTo>
                  <a:lnTo>
                    <a:pt x="3" y="224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1" y="167"/>
                  </a:lnTo>
                  <a:lnTo>
                    <a:pt x="3" y="149"/>
                  </a:lnTo>
                  <a:lnTo>
                    <a:pt x="7" y="131"/>
                  </a:lnTo>
                  <a:lnTo>
                    <a:pt x="13" y="114"/>
                  </a:lnTo>
                  <a:lnTo>
                    <a:pt x="20" y="98"/>
                  </a:lnTo>
                  <a:lnTo>
                    <a:pt x="29" y="82"/>
                  </a:lnTo>
                  <a:lnTo>
                    <a:pt x="39" y="68"/>
                  </a:lnTo>
                  <a:lnTo>
                    <a:pt x="50" y="55"/>
                  </a:lnTo>
                  <a:lnTo>
                    <a:pt x="62" y="44"/>
                  </a:lnTo>
                  <a:lnTo>
                    <a:pt x="75" y="32"/>
                  </a:lnTo>
                  <a:lnTo>
                    <a:pt x="89" y="23"/>
                  </a:lnTo>
                  <a:lnTo>
                    <a:pt x="105" y="15"/>
                  </a:lnTo>
                  <a:lnTo>
                    <a:pt x="121" y="9"/>
                  </a:lnTo>
                  <a:lnTo>
                    <a:pt x="137" y="5"/>
                  </a:lnTo>
                  <a:lnTo>
                    <a:pt x="154" y="2"/>
                  </a:lnTo>
                  <a:lnTo>
                    <a:pt x="171" y="0"/>
                  </a:lnTo>
                  <a:lnTo>
                    <a:pt x="189" y="2"/>
                  </a:lnTo>
                  <a:lnTo>
                    <a:pt x="206" y="5"/>
                  </a:lnTo>
                  <a:lnTo>
                    <a:pt x="222" y="9"/>
                  </a:lnTo>
                  <a:lnTo>
                    <a:pt x="238" y="15"/>
                  </a:lnTo>
                  <a:lnTo>
                    <a:pt x="253" y="23"/>
                  </a:lnTo>
                  <a:lnTo>
                    <a:pt x="266" y="32"/>
                  </a:lnTo>
                  <a:lnTo>
                    <a:pt x="279" y="44"/>
                  </a:lnTo>
                  <a:lnTo>
                    <a:pt x="292" y="55"/>
                  </a:lnTo>
                  <a:lnTo>
                    <a:pt x="304" y="68"/>
                  </a:lnTo>
                  <a:lnTo>
                    <a:pt x="312" y="82"/>
                  </a:lnTo>
                  <a:lnTo>
                    <a:pt x="321" y="98"/>
                  </a:lnTo>
                  <a:lnTo>
                    <a:pt x="328" y="114"/>
                  </a:lnTo>
                  <a:lnTo>
                    <a:pt x="334" y="131"/>
                  </a:lnTo>
                  <a:lnTo>
                    <a:pt x="338" y="149"/>
                  </a:lnTo>
                  <a:lnTo>
                    <a:pt x="341" y="167"/>
                  </a:lnTo>
                  <a:lnTo>
                    <a:pt x="343" y="186"/>
                  </a:lnTo>
                  <a:lnTo>
                    <a:pt x="341" y="205"/>
                  </a:lnTo>
                  <a:lnTo>
                    <a:pt x="338" y="224"/>
                  </a:lnTo>
                  <a:lnTo>
                    <a:pt x="334" y="241"/>
                  </a:lnTo>
                  <a:lnTo>
                    <a:pt x="328" y="258"/>
                  </a:lnTo>
                  <a:lnTo>
                    <a:pt x="321" y="275"/>
                  </a:lnTo>
                  <a:lnTo>
                    <a:pt x="312" y="290"/>
                  </a:lnTo>
                  <a:lnTo>
                    <a:pt x="304" y="304"/>
                  </a:lnTo>
                  <a:lnTo>
                    <a:pt x="292" y="317"/>
                  </a:lnTo>
                  <a:lnTo>
                    <a:pt x="279" y="330"/>
                  </a:lnTo>
                  <a:lnTo>
                    <a:pt x="266" y="340"/>
                  </a:lnTo>
                  <a:lnTo>
                    <a:pt x="253" y="350"/>
                  </a:lnTo>
                  <a:lnTo>
                    <a:pt x="238" y="357"/>
                  </a:lnTo>
                  <a:lnTo>
                    <a:pt x="222" y="363"/>
                  </a:lnTo>
                  <a:lnTo>
                    <a:pt x="206" y="369"/>
                  </a:lnTo>
                  <a:lnTo>
                    <a:pt x="189" y="370"/>
                  </a:lnTo>
                  <a:lnTo>
                    <a:pt x="17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30"/>
            <p:cNvSpPr>
              <a:spLocks/>
            </p:cNvSpPr>
            <p:nvPr/>
          </p:nvSpPr>
          <p:spPr bwMode="auto">
            <a:xfrm>
              <a:off x="2290763" y="1282701"/>
              <a:ext cx="219075" cy="192088"/>
            </a:xfrm>
            <a:custGeom>
              <a:avLst/>
              <a:gdLst>
                <a:gd name="T0" fmla="*/ 412 w 412"/>
                <a:gd name="T1" fmla="*/ 361 h 361"/>
                <a:gd name="T2" fmla="*/ 0 w 412"/>
                <a:gd name="T3" fmla="*/ 361 h 361"/>
                <a:gd name="T4" fmla="*/ 0 w 412"/>
                <a:gd name="T5" fmla="*/ 310 h 361"/>
                <a:gd name="T6" fmla="*/ 360 w 412"/>
                <a:gd name="T7" fmla="*/ 310 h 361"/>
                <a:gd name="T8" fmla="*/ 360 w 412"/>
                <a:gd name="T9" fmla="*/ 190 h 361"/>
                <a:gd name="T10" fmla="*/ 359 w 412"/>
                <a:gd name="T11" fmla="*/ 173 h 361"/>
                <a:gd name="T12" fmla="*/ 356 w 412"/>
                <a:gd name="T13" fmla="*/ 158 h 361"/>
                <a:gd name="T14" fmla="*/ 354 w 412"/>
                <a:gd name="T15" fmla="*/ 153 h 361"/>
                <a:gd name="T16" fmla="*/ 350 w 412"/>
                <a:gd name="T17" fmla="*/ 148 h 361"/>
                <a:gd name="T18" fmla="*/ 347 w 412"/>
                <a:gd name="T19" fmla="*/ 143 h 361"/>
                <a:gd name="T20" fmla="*/ 343 w 412"/>
                <a:gd name="T21" fmla="*/ 140 h 361"/>
                <a:gd name="T22" fmla="*/ 331 w 412"/>
                <a:gd name="T23" fmla="*/ 131 h 361"/>
                <a:gd name="T24" fmla="*/ 315 w 412"/>
                <a:gd name="T25" fmla="*/ 125 h 361"/>
                <a:gd name="T26" fmla="*/ 297 w 412"/>
                <a:gd name="T27" fmla="*/ 118 h 361"/>
                <a:gd name="T28" fmla="*/ 274 w 412"/>
                <a:gd name="T29" fmla="*/ 111 h 361"/>
                <a:gd name="T30" fmla="*/ 255 w 412"/>
                <a:gd name="T31" fmla="*/ 105 h 361"/>
                <a:gd name="T32" fmla="*/ 233 w 412"/>
                <a:gd name="T33" fmla="*/ 99 h 361"/>
                <a:gd name="T34" fmla="*/ 222 w 412"/>
                <a:gd name="T35" fmla="*/ 95 h 361"/>
                <a:gd name="T36" fmla="*/ 212 w 412"/>
                <a:gd name="T37" fmla="*/ 89 h 361"/>
                <a:gd name="T38" fmla="*/ 202 w 412"/>
                <a:gd name="T39" fmla="*/ 84 h 361"/>
                <a:gd name="T40" fmla="*/ 194 w 412"/>
                <a:gd name="T41" fmla="*/ 78 h 361"/>
                <a:gd name="T42" fmla="*/ 187 w 412"/>
                <a:gd name="T43" fmla="*/ 72 h 361"/>
                <a:gd name="T44" fmla="*/ 180 w 412"/>
                <a:gd name="T45" fmla="*/ 65 h 361"/>
                <a:gd name="T46" fmla="*/ 176 w 412"/>
                <a:gd name="T47" fmla="*/ 58 h 361"/>
                <a:gd name="T48" fmla="*/ 170 w 412"/>
                <a:gd name="T49" fmla="*/ 50 h 361"/>
                <a:gd name="T50" fmla="*/ 164 w 412"/>
                <a:gd name="T51" fmla="*/ 36 h 361"/>
                <a:gd name="T52" fmla="*/ 160 w 412"/>
                <a:gd name="T53" fmla="*/ 23 h 361"/>
                <a:gd name="T54" fmla="*/ 157 w 412"/>
                <a:gd name="T55" fmla="*/ 10 h 361"/>
                <a:gd name="T56" fmla="*/ 157 w 412"/>
                <a:gd name="T57" fmla="*/ 0 h 361"/>
                <a:gd name="T58" fmla="*/ 209 w 412"/>
                <a:gd name="T59" fmla="*/ 3 h 361"/>
                <a:gd name="T60" fmla="*/ 210 w 412"/>
                <a:gd name="T61" fmla="*/ 10 h 361"/>
                <a:gd name="T62" fmla="*/ 215 w 412"/>
                <a:gd name="T63" fmla="*/ 23 h 361"/>
                <a:gd name="T64" fmla="*/ 219 w 412"/>
                <a:gd name="T65" fmla="*/ 30 h 361"/>
                <a:gd name="T66" fmla="*/ 226 w 412"/>
                <a:gd name="T67" fmla="*/ 37 h 361"/>
                <a:gd name="T68" fmla="*/ 236 w 412"/>
                <a:gd name="T69" fmla="*/ 43 h 361"/>
                <a:gd name="T70" fmla="*/ 249 w 412"/>
                <a:gd name="T71" fmla="*/ 49 h 361"/>
                <a:gd name="T72" fmla="*/ 269 w 412"/>
                <a:gd name="T73" fmla="*/ 56 h 361"/>
                <a:gd name="T74" fmla="*/ 290 w 412"/>
                <a:gd name="T75" fmla="*/ 62 h 361"/>
                <a:gd name="T76" fmla="*/ 313 w 412"/>
                <a:gd name="T77" fmla="*/ 69 h 361"/>
                <a:gd name="T78" fmla="*/ 336 w 412"/>
                <a:gd name="T79" fmla="*/ 76 h 361"/>
                <a:gd name="T80" fmla="*/ 346 w 412"/>
                <a:gd name="T81" fmla="*/ 81 h 361"/>
                <a:gd name="T82" fmla="*/ 356 w 412"/>
                <a:gd name="T83" fmla="*/ 86 h 361"/>
                <a:gd name="T84" fmla="*/ 366 w 412"/>
                <a:gd name="T85" fmla="*/ 92 h 361"/>
                <a:gd name="T86" fmla="*/ 374 w 412"/>
                <a:gd name="T87" fmla="*/ 98 h 361"/>
                <a:gd name="T88" fmla="*/ 383 w 412"/>
                <a:gd name="T89" fmla="*/ 105 h 361"/>
                <a:gd name="T90" fmla="*/ 390 w 412"/>
                <a:gd name="T91" fmla="*/ 114 h 361"/>
                <a:gd name="T92" fmla="*/ 396 w 412"/>
                <a:gd name="T93" fmla="*/ 122 h 361"/>
                <a:gd name="T94" fmla="*/ 402 w 412"/>
                <a:gd name="T95" fmla="*/ 134 h 361"/>
                <a:gd name="T96" fmla="*/ 406 w 412"/>
                <a:gd name="T97" fmla="*/ 145 h 361"/>
                <a:gd name="T98" fmla="*/ 410 w 412"/>
                <a:gd name="T99" fmla="*/ 158 h 361"/>
                <a:gd name="T100" fmla="*/ 412 w 412"/>
                <a:gd name="T101" fmla="*/ 174 h 361"/>
                <a:gd name="T102" fmla="*/ 412 w 412"/>
                <a:gd name="T103" fmla="*/ 190 h 361"/>
                <a:gd name="T104" fmla="*/ 412 w 412"/>
                <a:gd name="T105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361">
                  <a:moveTo>
                    <a:pt x="412" y="361"/>
                  </a:moveTo>
                  <a:lnTo>
                    <a:pt x="0" y="361"/>
                  </a:lnTo>
                  <a:lnTo>
                    <a:pt x="0" y="310"/>
                  </a:lnTo>
                  <a:lnTo>
                    <a:pt x="360" y="310"/>
                  </a:lnTo>
                  <a:lnTo>
                    <a:pt x="360" y="190"/>
                  </a:lnTo>
                  <a:lnTo>
                    <a:pt x="359" y="173"/>
                  </a:lnTo>
                  <a:lnTo>
                    <a:pt x="356" y="158"/>
                  </a:lnTo>
                  <a:lnTo>
                    <a:pt x="354" y="153"/>
                  </a:lnTo>
                  <a:lnTo>
                    <a:pt x="350" y="148"/>
                  </a:lnTo>
                  <a:lnTo>
                    <a:pt x="347" y="143"/>
                  </a:lnTo>
                  <a:lnTo>
                    <a:pt x="343" y="140"/>
                  </a:lnTo>
                  <a:lnTo>
                    <a:pt x="331" y="131"/>
                  </a:lnTo>
                  <a:lnTo>
                    <a:pt x="315" y="125"/>
                  </a:lnTo>
                  <a:lnTo>
                    <a:pt x="297" y="118"/>
                  </a:lnTo>
                  <a:lnTo>
                    <a:pt x="274" y="111"/>
                  </a:lnTo>
                  <a:lnTo>
                    <a:pt x="255" y="105"/>
                  </a:lnTo>
                  <a:lnTo>
                    <a:pt x="233" y="99"/>
                  </a:lnTo>
                  <a:lnTo>
                    <a:pt x="222" y="95"/>
                  </a:lnTo>
                  <a:lnTo>
                    <a:pt x="212" y="89"/>
                  </a:lnTo>
                  <a:lnTo>
                    <a:pt x="202" y="84"/>
                  </a:lnTo>
                  <a:lnTo>
                    <a:pt x="194" y="78"/>
                  </a:lnTo>
                  <a:lnTo>
                    <a:pt x="187" y="72"/>
                  </a:lnTo>
                  <a:lnTo>
                    <a:pt x="180" y="65"/>
                  </a:lnTo>
                  <a:lnTo>
                    <a:pt x="176" y="58"/>
                  </a:lnTo>
                  <a:lnTo>
                    <a:pt x="170" y="50"/>
                  </a:lnTo>
                  <a:lnTo>
                    <a:pt x="164" y="36"/>
                  </a:lnTo>
                  <a:lnTo>
                    <a:pt x="160" y="23"/>
                  </a:lnTo>
                  <a:lnTo>
                    <a:pt x="157" y="10"/>
                  </a:lnTo>
                  <a:lnTo>
                    <a:pt x="157" y="0"/>
                  </a:lnTo>
                  <a:lnTo>
                    <a:pt x="209" y="3"/>
                  </a:lnTo>
                  <a:lnTo>
                    <a:pt x="210" y="10"/>
                  </a:lnTo>
                  <a:lnTo>
                    <a:pt x="215" y="23"/>
                  </a:lnTo>
                  <a:lnTo>
                    <a:pt x="219" y="30"/>
                  </a:lnTo>
                  <a:lnTo>
                    <a:pt x="226" y="37"/>
                  </a:lnTo>
                  <a:lnTo>
                    <a:pt x="236" y="43"/>
                  </a:lnTo>
                  <a:lnTo>
                    <a:pt x="249" y="49"/>
                  </a:lnTo>
                  <a:lnTo>
                    <a:pt x="269" y="56"/>
                  </a:lnTo>
                  <a:lnTo>
                    <a:pt x="290" y="62"/>
                  </a:lnTo>
                  <a:lnTo>
                    <a:pt x="313" y="69"/>
                  </a:lnTo>
                  <a:lnTo>
                    <a:pt x="336" y="76"/>
                  </a:lnTo>
                  <a:lnTo>
                    <a:pt x="346" y="81"/>
                  </a:lnTo>
                  <a:lnTo>
                    <a:pt x="356" y="86"/>
                  </a:lnTo>
                  <a:lnTo>
                    <a:pt x="366" y="92"/>
                  </a:lnTo>
                  <a:lnTo>
                    <a:pt x="374" y="98"/>
                  </a:lnTo>
                  <a:lnTo>
                    <a:pt x="383" y="105"/>
                  </a:lnTo>
                  <a:lnTo>
                    <a:pt x="390" y="114"/>
                  </a:lnTo>
                  <a:lnTo>
                    <a:pt x="396" y="122"/>
                  </a:lnTo>
                  <a:lnTo>
                    <a:pt x="402" y="134"/>
                  </a:lnTo>
                  <a:lnTo>
                    <a:pt x="406" y="145"/>
                  </a:lnTo>
                  <a:lnTo>
                    <a:pt x="410" y="158"/>
                  </a:lnTo>
                  <a:lnTo>
                    <a:pt x="412" y="174"/>
                  </a:lnTo>
                  <a:lnTo>
                    <a:pt x="412" y="190"/>
                  </a:lnTo>
                  <a:lnTo>
                    <a:pt x="412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31"/>
            <p:cNvSpPr>
              <a:spLocks/>
            </p:cNvSpPr>
            <p:nvPr/>
          </p:nvSpPr>
          <p:spPr bwMode="auto">
            <a:xfrm>
              <a:off x="2276475" y="1282701"/>
              <a:ext cx="65088" cy="57150"/>
            </a:xfrm>
            <a:custGeom>
              <a:avLst/>
              <a:gdLst>
                <a:gd name="T0" fmla="*/ 14 w 121"/>
                <a:gd name="T1" fmla="*/ 108 h 108"/>
                <a:gd name="T2" fmla="*/ 0 w 121"/>
                <a:gd name="T3" fmla="*/ 58 h 108"/>
                <a:gd name="T4" fmla="*/ 14 w 121"/>
                <a:gd name="T5" fmla="*/ 53 h 108"/>
                <a:gd name="T6" fmla="*/ 29 w 121"/>
                <a:gd name="T7" fmla="*/ 49 h 108"/>
                <a:gd name="T8" fmla="*/ 41 w 121"/>
                <a:gd name="T9" fmla="*/ 43 h 108"/>
                <a:gd name="T10" fmla="*/ 50 w 121"/>
                <a:gd name="T11" fmla="*/ 37 h 108"/>
                <a:gd name="T12" fmla="*/ 57 w 121"/>
                <a:gd name="T13" fmla="*/ 30 h 108"/>
                <a:gd name="T14" fmla="*/ 63 w 121"/>
                <a:gd name="T15" fmla="*/ 23 h 108"/>
                <a:gd name="T16" fmla="*/ 67 w 121"/>
                <a:gd name="T17" fmla="*/ 10 h 108"/>
                <a:gd name="T18" fmla="*/ 67 w 121"/>
                <a:gd name="T19" fmla="*/ 3 h 108"/>
                <a:gd name="T20" fmla="*/ 121 w 121"/>
                <a:gd name="T21" fmla="*/ 0 h 108"/>
                <a:gd name="T22" fmla="*/ 121 w 121"/>
                <a:gd name="T23" fmla="*/ 10 h 108"/>
                <a:gd name="T24" fmla="*/ 118 w 121"/>
                <a:gd name="T25" fmla="*/ 23 h 108"/>
                <a:gd name="T26" fmla="*/ 113 w 121"/>
                <a:gd name="T27" fmla="*/ 36 h 108"/>
                <a:gd name="T28" fmla="*/ 106 w 121"/>
                <a:gd name="T29" fmla="*/ 50 h 108"/>
                <a:gd name="T30" fmla="*/ 102 w 121"/>
                <a:gd name="T31" fmla="*/ 58 h 108"/>
                <a:gd name="T32" fmla="*/ 96 w 121"/>
                <a:gd name="T33" fmla="*/ 65 h 108"/>
                <a:gd name="T34" fmla="*/ 90 w 121"/>
                <a:gd name="T35" fmla="*/ 72 h 108"/>
                <a:gd name="T36" fmla="*/ 83 w 121"/>
                <a:gd name="T37" fmla="*/ 78 h 108"/>
                <a:gd name="T38" fmla="*/ 75 w 121"/>
                <a:gd name="T39" fmla="*/ 84 h 108"/>
                <a:gd name="T40" fmla="*/ 66 w 121"/>
                <a:gd name="T41" fmla="*/ 89 h 108"/>
                <a:gd name="T42" fmla="*/ 56 w 121"/>
                <a:gd name="T43" fmla="*/ 95 h 108"/>
                <a:gd name="T44" fmla="*/ 44 w 121"/>
                <a:gd name="T45" fmla="*/ 99 h 108"/>
                <a:gd name="T46" fmla="*/ 29 w 121"/>
                <a:gd name="T47" fmla="*/ 104 h 108"/>
                <a:gd name="T48" fmla="*/ 14 w 121"/>
                <a:gd name="T4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108">
                  <a:moveTo>
                    <a:pt x="14" y="108"/>
                  </a:moveTo>
                  <a:lnTo>
                    <a:pt x="0" y="58"/>
                  </a:lnTo>
                  <a:lnTo>
                    <a:pt x="14" y="53"/>
                  </a:lnTo>
                  <a:lnTo>
                    <a:pt x="29" y="49"/>
                  </a:lnTo>
                  <a:lnTo>
                    <a:pt x="41" y="43"/>
                  </a:lnTo>
                  <a:lnTo>
                    <a:pt x="50" y="37"/>
                  </a:lnTo>
                  <a:lnTo>
                    <a:pt x="57" y="30"/>
                  </a:lnTo>
                  <a:lnTo>
                    <a:pt x="63" y="23"/>
                  </a:lnTo>
                  <a:lnTo>
                    <a:pt x="67" y="10"/>
                  </a:lnTo>
                  <a:lnTo>
                    <a:pt x="67" y="3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18" y="23"/>
                  </a:lnTo>
                  <a:lnTo>
                    <a:pt x="113" y="36"/>
                  </a:lnTo>
                  <a:lnTo>
                    <a:pt x="106" y="50"/>
                  </a:lnTo>
                  <a:lnTo>
                    <a:pt x="102" y="58"/>
                  </a:lnTo>
                  <a:lnTo>
                    <a:pt x="96" y="65"/>
                  </a:lnTo>
                  <a:lnTo>
                    <a:pt x="90" y="72"/>
                  </a:lnTo>
                  <a:lnTo>
                    <a:pt x="83" y="78"/>
                  </a:lnTo>
                  <a:lnTo>
                    <a:pt x="75" y="84"/>
                  </a:lnTo>
                  <a:lnTo>
                    <a:pt x="66" y="89"/>
                  </a:lnTo>
                  <a:lnTo>
                    <a:pt x="56" y="95"/>
                  </a:lnTo>
                  <a:lnTo>
                    <a:pt x="44" y="99"/>
                  </a:lnTo>
                  <a:lnTo>
                    <a:pt x="29" y="104"/>
                  </a:lnTo>
                  <a:lnTo>
                    <a:pt x="1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32"/>
            <p:cNvSpPr>
              <a:spLocks/>
            </p:cNvSpPr>
            <p:nvPr/>
          </p:nvSpPr>
          <p:spPr bwMode="auto">
            <a:xfrm>
              <a:off x="2278063" y="1155701"/>
              <a:ext cx="157163" cy="46038"/>
            </a:xfrm>
            <a:custGeom>
              <a:avLst/>
              <a:gdLst>
                <a:gd name="T0" fmla="*/ 72 w 297"/>
                <a:gd name="T1" fmla="*/ 89 h 89"/>
                <a:gd name="T2" fmla="*/ 55 w 297"/>
                <a:gd name="T3" fmla="*/ 88 h 89"/>
                <a:gd name="T4" fmla="*/ 38 w 297"/>
                <a:gd name="T5" fmla="*/ 87 h 89"/>
                <a:gd name="T6" fmla="*/ 19 w 297"/>
                <a:gd name="T7" fmla="*/ 84 h 89"/>
                <a:gd name="T8" fmla="*/ 0 w 297"/>
                <a:gd name="T9" fmla="*/ 81 h 89"/>
                <a:gd name="T10" fmla="*/ 13 w 297"/>
                <a:gd name="T11" fmla="*/ 29 h 89"/>
                <a:gd name="T12" fmla="*/ 32 w 297"/>
                <a:gd name="T13" fmla="*/ 33 h 89"/>
                <a:gd name="T14" fmla="*/ 49 w 297"/>
                <a:gd name="T15" fmla="*/ 36 h 89"/>
                <a:gd name="T16" fmla="*/ 68 w 297"/>
                <a:gd name="T17" fmla="*/ 36 h 89"/>
                <a:gd name="T18" fmla="*/ 84 w 297"/>
                <a:gd name="T19" fmla="*/ 36 h 89"/>
                <a:gd name="T20" fmla="*/ 100 w 297"/>
                <a:gd name="T21" fmla="*/ 35 h 89"/>
                <a:gd name="T22" fmla="*/ 115 w 297"/>
                <a:gd name="T23" fmla="*/ 33 h 89"/>
                <a:gd name="T24" fmla="*/ 128 w 297"/>
                <a:gd name="T25" fmla="*/ 30 h 89"/>
                <a:gd name="T26" fmla="*/ 141 w 297"/>
                <a:gd name="T27" fmla="*/ 26 h 89"/>
                <a:gd name="T28" fmla="*/ 164 w 297"/>
                <a:gd name="T29" fmla="*/ 19 h 89"/>
                <a:gd name="T30" fmla="*/ 180 w 297"/>
                <a:gd name="T31" fmla="*/ 12 h 89"/>
                <a:gd name="T32" fmla="*/ 192 w 297"/>
                <a:gd name="T33" fmla="*/ 6 h 89"/>
                <a:gd name="T34" fmla="*/ 195 w 297"/>
                <a:gd name="T35" fmla="*/ 4 h 89"/>
                <a:gd name="T36" fmla="*/ 199 w 297"/>
                <a:gd name="T37" fmla="*/ 2 h 89"/>
                <a:gd name="T38" fmla="*/ 203 w 297"/>
                <a:gd name="T39" fmla="*/ 0 h 89"/>
                <a:gd name="T40" fmla="*/ 208 w 297"/>
                <a:gd name="T41" fmla="*/ 0 h 89"/>
                <a:gd name="T42" fmla="*/ 212 w 297"/>
                <a:gd name="T43" fmla="*/ 0 h 89"/>
                <a:gd name="T44" fmla="*/ 216 w 297"/>
                <a:gd name="T45" fmla="*/ 0 h 89"/>
                <a:gd name="T46" fmla="*/ 220 w 297"/>
                <a:gd name="T47" fmla="*/ 2 h 89"/>
                <a:gd name="T48" fmla="*/ 225 w 297"/>
                <a:gd name="T49" fmla="*/ 4 h 89"/>
                <a:gd name="T50" fmla="*/ 228 w 297"/>
                <a:gd name="T51" fmla="*/ 7 h 89"/>
                <a:gd name="T52" fmla="*/ 232 w 297"/>
                <a:gd name="T53" fmla="*/ 10 h 89"/>
                <a:gd name="T54" fmla="*/ 245 w 297"/>
                <a:gd name="T55" fmla="*/ 19 h 89"/>
                <a:gd name="T56" fmla="*/ 255 w 297"/>
                <a:gd name="T57" fmla="*/ 22 h 89"/>
                <a:gd name="T58" fmla="*/ 267 w 297"/>
                <a:gd name="T59" fmla="*/ 26 h 89"/>
                <a:gd name="T60" fmla="*/ 281 w 297"/>
                <a:gd name="T61" fmla="*/ 28 h 89"/>
                <a:gd name="T62" fmla="*/ 297 w 297"/>
                <a:gd name="T63" fmla="*/ 29 h 89"/>
                <a:gd name="T64" fmla="*/ 297 w 297"/>
                <a:gd name="T65" fmla="*/ 81 h 89"/>
                <a:gd name="T66" fmla="*/ 281 w 297"/>
                <a:gd name="T67" fmla="*/ 81 h 89"/>
                <a:gd name="T68" fmla="*/ 267 w 297"/>
                <a:gd name="T69" fmla="*/ 79 h 89"/>
                <a:gd name="T70" fmla="*/ 254 w 297"/>
                <a:gd name="T71" fmla="*/ 76 h 89"/>
                <a:gd name="T72" fmla="*/ 242 w 297"/>
                <a:gd name="T73" fmla="*/ 74 h 89"/>
                <a:gd name="T74" fmla="*/ 222 w 297"/>
                <a:gd name="T75" fmla="*/ 65 h 89"/>
                <a:gd name="T76" fmla="*/ 208 w 297"/>
                <a:gd name="T77" fmla="*/ 56 h 89"/>
                <a:gd name="T78" fmla="*/ 184 w 297"/>
                <a:gd name="T79" fmla="*/ 66 h 89"/>
                <a:gd name="T80" fmla="*/ 154 w 297"/>
                <a:gd name="T81" fmla="*/ 78 h 89"/>
                <a:gd name="T82" fmla="*/ 136 w 297"/>
                <a:gd name="T83" fmla="*/ 82 h 89"/>
                <a:gd name="T84" fmla="*/ 117 w 297"/>
                <a:gd name="T85" fmla="*/ 85 h 89"/>
                <a:gd name="T86" fmla="*/ 95 w 297"/>
                <a:gd name="T87" fmla="*/ 88 h 89"/>
                <a:gd name="T88" fmla="*/ 72 w 297"/>
                <a:gd name="T8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89">
                  <a:moveTo>
                    <a:pt x="72" y="89"/>
                  </a:moveTo>
                  <a:lnTo>
                    <a:pt x="55" y="88"/>
                  </a:lnTo>
                  <a:lnTo>
                    <a:pt x="38" y="87"/>
                  </a:lnTo>
                  <a:lnTo>
                    <a:pt x="19" y="84"/>
                  </a:lnTo>
                  <a:lnTo>
                    <a:pt x="0" y="81"/>
                  </a:lnTo>
                  <a:lnTo>
                    <a:pt x="13" y="29"/>
                  </a:lnTo>
                  <a:lnTo>
                    <a:pt x="32" y="33"/>
                  </a:lnTo>
                  <a:lnTo>
                    <a:pt x="49" y="36"/>
                  </a:lnTo>
                  <a:lnTo>
                    <a:pt x="68" y="36"/>
                  </a:lnTo>
                  <a:lnTo>
                    <a:pt x="84" y="36"/>
                  </a:lnTo>
                  <a:lnTo>
                    <a:pt x="100" y="35"/>
                  </a:lnTo>
                  <a:lnTo>
                    <a:pt x="115" y="33"/>
                  </a:lnTo>
                  <a:lnTo>
                    <a:pt x="128" y="30"/>
                  </a:lnTo>
                  <a:lnTo>
                    <a:pt x="141" y="26"/>
                  </a:lnTo>
                  <a:lnTo>
                    <a:pt x="164" y="19"/>
                  </a:lnTo>
                  <a:lnTo>
                    <a:pt x="180" y="12"/>
                  </a:lnTo>
                  <a:lnTo>
                    <a:pt x="192" y="6"/>
                  </a:lnTo>
                  <a:lnTo>
                    <a:pt x="195" y="4"/>
                  </a:lnTo>
                  <a:lnTo>
                    <a:pt x="199" y="2"/>
                  </a:lnTo>
                  <a:lnTo>
                    <a:pt x="203" y="0"/>
                  </a:lnTo>
                  <a:lnTo>
                    <a:pt x="208" y="0"/>
                  </a:lnTo>
                  <a:lnTo>
                    <a:pt x="212" y="0"/>
                  </a:lnTo>
                  <a:lnTo>
                    <a:pt x="216" y="0"/>
                  </a:lnTo>
                  <a:lnTo>
                    <a:pt x="220" y="2"/>
                  </a:lnTo>
                  <a:lnTo>
                    <a:pt x="225" y="4"/>
                  </a:lnTo>
                  <a:lnTo>
                    <a:pt x="228" y="7"/>
                  </a:lnTo>
                  <a:lnTo>
                    <a:pt x="232" y="10"/>
                  </a:lnTo>
                  <a:lnTo>
                    <a:pt x="245" y="19"/>
                  </a:lnTo>
                  <a:lnTo>
                    <a:pt x="255" y="22"/>
                  </a:lnTo>
                  <a:lnTo>
                    <a:pt x="267" y="26"/>
                  </a:lnTo>
                  <a:lnTo>
                    <a:pt x="281" y="28"/>
                  </a:lnTo>
                  <a:lnTo>
                    <a:pt x="297" y="29"/>
                  </a:lnTo>
                  <a:lnTo>
                    <a:pt x="297" y="81"/>
                  </a:lnTo>
                  <a:lnTo>
                    <a:pt x="281" y="81"/>
                  </a:lnTo>
                  <a:lnTo>
                    <a:pt x="267" y="79"/>
                  </a:lnTo>
                  <a:lnTo>
                    <a:pt x="254" y="76"/>
                  </a:lnTo>
                  <a:lnTo>
                    <a:pt x="242" y="74"/>
                  </a:lnTo>
                  <a:lnTo>
                    <a:pt x="222" y="65"/>
                  </a:lnTo>
                  <a:lnTo>
                    <a:pt x="208" y="56"/>
                  </a:lnTo>
                  <a:lnTo>
                    <a:pt x="184" y="66"/>
                  </a:lnTo>
                  <a:lnTo>
                    <a:pt x="154" y="78"/>
                  </a:lnTo>
                  <a:lnTo>
                    <a:pt x="136" y="82"/>
                  </a:lnTo>
                  <a:lnTo>
                    <a:pt x="117" y="85"/>
                  </a:lnTo>
                  <a:lnTo>
                    <a:pt x="95" y="88"/>
                  </a:lnTo>
                  <a:lnTo>
                    <a:pt x="72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3478499" y="4060914"/>
            <a:ext cx="380443" cy="380443"/>
            <a:chOff x="884238" y="2681288"/>
            <a:chExt cx="685800" cy="685800"/>
          </a:xfrm>
          <a:solidFill>
            <a:schemeClr val="bg1"/>
          </a:solidFill>
        </p:grpSpPr>
        <p:sp>
          <p:nvSpPr>
            <p:cNvPr id="276" name="Freeform 112"/>
            <p:cNvSpPr>
              <a:spLocks noEditPoints="1"/>
            </p:cNvSpPr>
            <p:nvPr/>
          </p:nvSpPr>
          <p:spPr bwMode="auto">
            <a:xfrm>
              <a:off x="884238" y="2681288"/>
              <a:ext cx="417513" cy="415925"/>
            </a:xfrm>
            <a:custGeom>
              <a:avLst/>
              <a:gdLst>
                <a:gd name="T0" fmla="*/ 330 w 788"/>
                <a:gd name="T1" fmla="*/ 298 h 788"/>
                <a:gd name="T2" fmla="*/ 284 w 788"/>
                <a:gd name="T3" fmla="*/ 360 h 788"/>
                <a:gd name="T4" fmla="*/ 288 w 788"/>
                <a:gd name="T5" fmla="*/ 439 h 788"/>
                <a:gd name="T6" fmla="*/ 338 w 788"/>
                <a:gd name="T7" fmla="*/ 495 h 788"/>
                <a:gd name="T8" fmla="*/ 417 w 788"/>
                <a:gd name="T9" fmla="*/ 507 h 788"/>
                <a:gd name="T10" fmla="*/ 482 w 788"/>
                <a:gd name="T11" fmla="*/ 467 h 788"/>
                <a:gd name="T12" fmla="*/ 508 w 788"/>
                <a:gd name="T13" fmla="*/ 395 h 788"/>
                <a:gd name="T14" fmla="*/ 482 w 788"/>
                <a:gd name="T15" fmla="*/ 321 h 788"/>
                <a:gd name="T16" fmla="*/ 417 w 788"/>
                <a:gd name="T17" fmla="*/ 281 h 788"/>
                <a:gd name="T18" fmla="*/ 328 w 788"/>
                <a:gd name="T19" fmla="*/ 549 h 788"/>
                <a:gd name="T20" fmla="*/ 246 w 788"/>
                <a:gd name="T21" fmla="*/ 474 h 788"/>
                <a:gd name="T22" fmla="*/ 230 w 788"/>
                <a:gd name="T23" fmla="*/ 360 h 788"/>
                <a:gd name="T24" fmla="*/ 288 w 788"/>
                <a:gd name="T25" fmla="*/ 265 h 788"/>
                <a:gd name="T26" fmla="*/ 393 w 788"/>
                <a:gd name="T27" fmla="*/ 226 h 788"/>
                <a:gd name="T28" fmla="*/ 500 w 788"/>
                <a:gd name="T29" fmla="*/ 265 h 788"/>
                <a:gd name="T30" fmla="*/ 557 w 788"/>
                <a:gd name="T31" fmla="*/ 360 h 788"/>
                <a:gd name="T32" fmla="*/ 541 w 788"/>
                <a:gd name="T33" fmla="*/ 474 h 788"/>
                <a:gd name="T34" fmla="*/ 459 w 788"/>
                <a:gd name="T35" fmla="*/ 549 h 788"/>
                <a:gd name="T36" fmla="*/ 445 w 788"/>
                <a:gd name="T37" fmla="*/ 636 h 788"/>
                <a:gd name="T38" fmla="*/ 505 w 788"/>
                <a:gd name="T39" fmla="*/ 595 h 788"/>
                <a:gd name="T40" fmla="*/ 596 w 788"/>
                <a:gd name="T41" fmla="*/ 521 h 788"/>
                <a:gd name="T42" fmla="*/ 620 w 788"/>
                <a:gd name="T43" fmla="*/ 451 h 788"/>
                <a:gd name="T44" fmla="*/ 620 w 788"/>
                <a:gd name="T45" fmla="*/ 337 h 788"/>
                <a:gd name="T46" fmla="*/ 596 w 788"/>
                <a:gd name="T47" fmla="*/ 266 h 788"/>
                <a:gd name="T48" fmla="*/ 505 w 788"/>
                <a:gd name="T49" fmla="*/ 193 h 788"/>
                <a:gd name="T50" fmla="*/ 445 w 788"/>
                <a:gd name="T51" fmla="*/ 151 h 788"/>
                <a:gd name="T52" fmla="*/ 324 w 788"/>
                <a:gd name="T53" fmla="*/ 177 h 788"/>
                <a:gd name="T54" fmla="*/ 173 w 788"/>
                <a:gd name="T55" fmla="*/ 99 h 788"/>
                <a:gd name="T56" fmla="*/ 183 w 788"/>
                <a:gd name="T57" fmla="*/ 307 h 788"/>
                <a:gd name="T58" fmla="*/ 53 w 788"/>
                <a:gd name="T59" fmla="*/ 445 h 788"/>
                <a:gd name="T60" fmla="*/ 191 w 788"/>
                <a:gd name="T61" fmla="*/ 498 h 788"/>
                <a:gd name="T62" fmla="*/ 259 w 788"/>
                <a:gd name="T63" fmla="*/ 602 h 788"/>
                <a:gd name="T64" fmla="*/ 331 w 788"/>
                <a:gd name="T65" fmla="*/ 615 h 788"/>
                <a:gd name="T66" fmla="*/ 311 w 788"/>
                <a:gd name="T67" fmla="*/ 786 h 788"/>
                <a:gd name="T68" fmla="*/ 289 w 788"/>
                <a:gd name="T69" fmla="*/ 762 h 788"/>
                <a:gd name="T70" fmla="*/ 177 w 788"/>
                <a:gd name="T71" fmla="*/ 750 h 788"/>
                <a:gd name="T72" fmla="*/ 40 w 788"/>
                <a:gd name="T73" fmla="*/ 629 h 788"/>
                <a:gd name="T74" fmla="*/ 44 w 788"/>
                <a:gd name="T75" fmla="*/ 596 h 788"/>
                <a:gd name="T76" fmla="*/ 11 w 788"/>
                <a:gd name="T77" fmla="*/ 492 h 788"/>
                <a:gd name="T78" fmla="*/ 1 w 788"/>
                <a:gd name="T79" fmla="*/ 311 h 788"/>
                <a:gd name="T80" fmla="*/ 26 w 788"/>
                <a:gd name="T81" fmla="*/ 289 h 788"/>
                <a:gd name="T82" fmla="*/ 37 w 788"/>
                <a:gd name="T83" fmla="*/ 177 h 788"/>
                <a:gd name="T84" fmla="*/ 158 w 788"/>
                <a:gd name="T85" fmla="*/ 40 h 788"/>
                <a:gd name="T86" fmla="*/ 187 w 788"/>
                <a:gd name="T87" fmla="*/ 40 h 788"/>
                <a:gd name="T88" fmla="*/ 292 w 788"/>
                <a:gd name="T89" fmla="*/ 16 h 788"/>
                <a:gd name="T90" fmla="*/ 471 w 788"/>
                <a:gd name="T91" fmla="*/ 0 h 788"/>
                <a:gd name="T92" fmla="*/ 497 w 788"/>
                <a:gd name="T93" fmla="*/ 22 h 788"/>
                <a:gd name="T94" fmla="*/ 605 w 788"/>
                <a:gd name="T95" fmla="*/ 39 h 788"/>
                <a:gd name="T96" fmla="*/ 633 w 788"/>
                <a:gd name="T97" fmla="*/ 45 h 788"/>
                <a:gd name="T98" fmla="*/ 749 w 788"/>
                <a:gd name="T99" fmla="*/ 183 h 788"/>
                <a:gd name="T100" fmla="*/ 766 w 788"/>
                <a:gd name="T101" fmla="*/ 291 h 788"/>
                <a:gd name="T102" fmla="*/ 788 w 788"/>
                <a:gd name="T103" fmla="*/ 317 h 788"/>
                <a:gd name="T104" fmla="*/ 772 w 788"/>
                <a:gd name="T105" fmla="*/ 495 h 788"/>
                <a:gd name="T106" fmla="*/ 747 w 788"/>
                <a:gd name="T107" fmla="*/ 600 h 788"/>
                <a:gd name="T108" fmla="*/ 743 w 788"/>
                <a:gd name="T109" fmla="*/ 634 h 788"/>
                <a:gd name="T110" fmla="*/ 605 w 788"/>
                <a:gd name="T111" fmla="*/ 749 h 788"/>
                <a:gd name="T112" fmla="*/ 497 w 788"/>
                <a:gd name="T113" fmla="*/ 766 h 788"/>
                <a:gd name="T114" fmla="*/ 471 w 788"/>
                <a:gd name="T115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88">
                  <a:moveTo>
                    <a:pt x="393" y="279"/>
                  </a:moveTo>
                  <a:lnTo>
                    <a:pt x="381" y="279"/>
                  </a:lnTo>
                  <a:lnTo>
                    <a:pt x="370" y="281"/>
                  </a:lnTo>
                  <a:lnTo>
                    <a:pt x="360" y="284"/>
                  </a:lnTo>
                  <a:lnTo>
                    <a:pt x="348" y="288"/>
                  </a:lnTo>
                  <a:lnTo>
                    <a:pt x="338" y="292"/>
                  </a:lnTo>
                  <a:lnTo>
                    <a:pt x="330" y="298"/>
                  </a:lnTo>
                  <a:lnTo>
                    <a:pt x="321" y="305"/>
                  </a:lnTo>
                  <a:lnTo>
                    <a:pt x="312" y="312"/>
                  </a:lnTo>
                  <a:lnTo>
                    <a:pt x="305" y="321"/>
                  </a:lnTo>
                  <a:lnTo>
                    <a:pt x="298" y="330"/>
                  </a:lnTo>
                  <a:lnTo>
                    <a:pt x="292" y="338"/>
                  </a:lnTo>
                  <a:lnTo>
                    <a:pt x="288" y="348"/>
                  </a:lnTo>
                  <a:lnTo>
                    <a:pt x="284" y="360"/>
                  </a:lnTo>
                  <a:lnTo>
                    <a:pt x="281" y="370"/>
                  </a:lnTo>
                  <a:lnTo>
                    <a:pt x="279" y="382"/>
                  </a:lnTo>
                  <a:lnTo>
                    <a:pt x="279" y="395"/>
                  </a:lnTo>
                  <a:lnTo>
                    <a:pt x="279" y="406"/>
                  </a:lnTo>
                  <a:lnTo>
                    <a:pt x="281" y="418"/>
                  </a:lnTo>
                  <a:lnTo>
                    <a:pt x="284" y="428"/>
                  </a:lnTo>
                  <a:lnTo>
                    <a:pt x="288" y="439"/>
                  </a:lnTo>
                  <a:lnTo>
                    <a:pt x="292" y="449"/>
                  </a:lnTo>
                  <a:lnTo>
                    <a:pt x="298" y="458"/>
                  </a:lnTo>
                  <a:lnTo>
                    <a:pt x="305" y="467"/>
                  </a:lnTo>
                  <a:lnTo>
                    <a:pt x="312" y="475"/>
                  </a:lnTo>
                  <a:lnTo>
                    <a:pt x="321" y="482"/>
                  </a:lnTo>
                  <a:lnTo>
                    <a:pt x="330" y="490"/>
                  </a:lnTo>
                  <a:lnTo>
                    <a:pt x="338" y="495"/>
                  </a:lnTo>
                  <a:lnTo>
                    <a:pt x="348" y="500"/>
                  </a:lnTo>
                  <a:lnTo>
                    <a:pt x="360" y="504"/>
                  </a:lnTo>
                  <a:lnTo>
                    <a:pt x="370" y="507"/>
                  </a:lnTo>
                  <a:lnTo>
                    <a:pt x="381" y="508"/>
                  </a:lnTo>
                  <a:lnTo>
                    <a:pt x="393" y="508"/>
                  </a:lnTo>
                  <a:lnTo>
                    <a:pt x="406" y="508"/>
                  </a:lnTo>
                  <a:lnTo>
                    <a:pt x="417" y="507"/>
                  </a:lnTo>
                  <a:lnTo>
                    <a:pt x="428" y="504"/>
                  </a:lnTo>
                  <a:lnTo>
                    <a:pt x="439" y="500"/>
                  </a:lnTo>
                  <a:lnTo>
                    <a:pt x="449" y="495"/>
                  </a:lnTo>
                  <a:lnTo>
                    <a:pt x="458" y="490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7"/>
                  </a:lnTo>
                  <a:lnTo>
                    <a:pt x="489" y="458"/>
                  </a:lnTo>
                  <a:lnTo>
                    <a:pt x="495" y="449"/>
                  </a:lnTo>
                  <a:lnTo>
                    <a:pt x="500" y="439"/>
                  </a:lnTo>
                  <a:lnTo>
                    <a:pt x="504" y="428"/>
                  </a:lnTo>
                  <a:lnTo>
                    <a:pt x="507" y="418"/>
                  </a:lnTo>
                  <a:lnTo>
                    <a:pt x="508" y="406"/>
                  </a:lnTo>
                  <a:lnTo>
                    <a:pt x="508" y="395"/>
                  </a:lnTo>
                  <a:lnTo>
                    <a:pt x="508" y="382"/>
                  </a:lnTo>
                  <a:lnTo>
                    <a:pt x="507" y="370"/>
                  </a:lnTo>
                  <a:lnTo>
                    <a:pt x="504" y="360"/>
                  </a:lnTo>
                  <a:lnTo>
                    <a:pt x="500" y="348"/>
                  </a:lnTo>
                  <a:lnTo>
                    <a:pt x="495" y="338"/>
                  </a:lnTo>
                  <a:lnTo>
                    <a:pt x="489" y="330"/>
                  </a:lnTo>
                  <a:lnTo>
                    <a:pt x="482" y="321"/>
                  </a:lnTo>
                  <a:lnTo>
                    <a:pt x="475" y="312"/>
                  </a:lnTo>
                  <a:lnTo>
                    <a:pt x="466" y="305"/>
                  </a:lnTo>
                  <a:lnTo>
                    <a:pt x="458" y="298"/>
                  </a:lnTo>
                  <a:lnTo>
                    <a:pt x="449" y="292"/>
                  </a:lnTo>
                  <a:lnTo>
                    <a:pt x="439" y="288"/>
                  </a:lnTo>
                  <a:lnTo>
                    <a:pt x="428" y="284"/>
                  </a:lnTo>
                  <a:lnTo>
                    <a:pt x="417" y="281"/>
                  </a:lnTo>
                  <a:lnTo>
                    <a:pt x="406" y="279"/>
                  </a:lnTo>
                  <a:lnTo>
                    <a:pt x="393" y="279"/>
                  </a:lnTo>
                  <a:close/>
                  <a:moveTo>
                    <a:pt x="393" y="562"/>
                  </a:moveTo>
                  <a:lnTo>
                    <a:pt x="377" y="560"/>
                  </a:lnTo>
                  <a:lnTo>
                    <a:pt x="360" y="557"/>
                  </a:lnTo>
                  <a:lnTo>
                    <a:pt x="344" y="554"/>
                  </a:lnTo>
                  <a:lnTo>
                    <a:pt x="328" y="549"/>
                  </a:lnTo>
                  <a:lnTo>
                    <a:pt x="314" y="541"/>
                  </a:lnTo>
                  <a:lnTo>
                    <a:pt x="301" y="533"/>
                  </a:lnTo>
                  <a:lnTo>
                    <a:pt x="288" y="523"/>
                  </a:lnTo>
                  <a:lnTo>
                    <a:pt x="275" y="513"/>
                  </a:lnTo>
                  <a:lnTo>
                    <a:pt x="265" y="500"/>
                  </a:lnTo>
                  <a:lnTo>
                    <a:pt x="255" y="487"/>
                  </a:lnTo>
                  <a:lnTo>
                    <a:pt x="246" y="474"/>
                  </a:lnTo>
                  <a:lnTo>
                    <a:pt x="239" y="459"/>
                  </a:lnTo>
                  <a:lnTo>
                    <a:pt x="233" y="443"/>
                  </a:lnTo>
                  <a:lnTo>
                    <a:pt x="230" y="428"/>
                  </a:lnTo>
                  <a:lnTo>
                    <a:pt x="227" y="410"/>
                  </a:lnTo>
                  <a:lnTo>
                    <a:pt x="226" y="395"/>
                  </a:lnTo>
                  <a:lnTo>
                    <a:pt x="227" y="377"/>
                  </a:lnTo>
                  <a:lnTo>
                    <a:pt x="230" y="360"/>
                  </a:lnTo>
                  <a:lnTo>
                    <a:pt x="233" y="344"/>
                  </a:lnTo>
                  <a:lnTo>
                    <a:pt x="239" y="328"/>
                  </a:lnTo>
                  <a:lnTo>
                    <a:pt x="246" y="314"/>
                  </a:lnTo>
                  <a:lnTo>
                    <a:pt x="255" y="301"/>
                  </a:lnTo>
                  <a:lnTo>
                    <a:pt x="265" y="288"/>
                  </a:lnTo>
                  <a:lnTo>
                    <a:pt x="275" y="275"/>
                  </a:lnTo>
                  <a:lnTo>
                    <a:pt x="288" y="265"/>
                  </a:lnTo>
                  <a:lnTo>
                    <a:pt x="301" y="255"/>
                  </a:lnTo>
                  <a:lnTo>
                    <a:pt x="314" y="246"/>
                  </a:lnTo>
                  <a:lnTo>
                    <a:pt x="328" y="239"/>
                  </a:lnTo>
                  <a:lnTo>
                    <a:pt x="344" y="233"/>
                  </a:lnTo>
                  <a:lnTo>
                    <a:pt x="360" y="230"/>
                  </a:lnTo>
                  <a:lnTo>
                    <a:pt x="377" y="227"/>
                  </a:lnTo>
                  <a:lnTo>
                    <a:pt x="393" y="226"/>
                  </a:lnTo>
                  <a:lnTo>
                    <a:pt x="410" y="227"/>
                  </a:lnTo>
                  <a:lnTo>
                    <a:pt x="428" y="230"/>
                  </a:lnTo>
                  <a:lnTo>
                    <a:pt x="443" y="233"/>
                  </a:lnTo>
                  <a:lnTo>
                    <a:pt x="459" y="239"/>
                  </a:lnTo>
                  <a:lnTo>
                    <a:pt x="474" y="246"/>
                  </a:lnTo>
                  <a:lnTo>
                    <a:pt x="487" y="255"/>
                  </a:lnTo>
                  <a:lnTo>
                    <a:pt x="500" y="265"/>
                  </a:lnTo>
                  <a:lnTo>
                    <a:pt x="512" y="275"/>
                  </a:lnTo>
                  <a:lnTo>
                    <a:pt x="523" y="288"/>
                  </a:lnTo>
                  <a:lnTo>
                    <a:pt x="533" y="301"/>
                  </a:lnTo>
                  <a:lnTo>
                    <a:pt x="541" y="314"/>
                  </a:lnTo>
                  <a:lnTo>
                    <a:pt x="548" y="328"/>
                  </a:lnTo>
                  <a:lnTo>
                    <a:pt x="553" y="344"/>
                  </a:lnTo>
                  <a:lnTo>
                    <a:pt x="557" y="360"/>
                  </a:lnTo>
                  <a:lnTo>
                    <a:pt x="560" y="377"/>
                  </a:lnTo>
                  <a:lnTo>
                    <a:pt x="561" y="395"/>
                  </a:lnTo>
                  <a:lnTo>
                    <a:pt x="560" y="410"/>
                  </a:lnTo>
                  <a:lnTo>
                    <a:pt x="557" y="428"/>
                  </a:lnTo>
                  <a:lnTo>
                    <a:pt x="553" y="443"/>
                  </a:lnTo>
                  <a:lnTo>
                    <a:pt x="548" y="459"/>
                  </a:lnTo>
                  <a:lnTo>
                    <a:pt x="541" y="474"/>
                  </a:lnTo>
                  <a:lnTo>
                    <a:pt x="533" y="487"/>
                  </a:lnTo>
                  <a:lnTo>
                    <a:pt x="523" y="500"/>
                  </a:lnTo>
                  <a:lnTo>
                    <a:pt x="512" y="513"/>
                  </a:lnTo>
                  <a:lnTo>
                    <a:pt x="500" y="523"/>
                  </a:lnTo>
                  <a:lnTo>
                    <a:pt x="487" y="533"/>
                  </a:lnTo>
                  <a:lnTo>
                    <a:pt x="474" y="541"/>
                  </a:lnTo>
                  <a:lnTo>
                    <a:pt x="459" y="549"/>
                  </a:lnTo>
                  <a:lnTo>
                    <a:pt x="443" y="554"/>
                  </a:lnTo>
                  <a:lnTo>
                    <a:pt x="428" y="557"/>
                  </a:lnTo>
                  <a:lnTo>
                    <a:pt x="410" y="560"/>
                  </a:lnTo>
                  <a:lnTo>
                    <a:pt x="393" y="562"/>
                  </a:lnTo>
                  <a:close/>
                  <a:moveTo>
                    <a:pt x="343" y="734"/>
                  </a:moveTo>
                  <a:lnTo>
                    <a:pt x="445" y="734"/>
                  </a:lnTo>
                  <a:lnTo>
                    <a:pt x="445" y="636"/>
                  </a:lnTo>
                  <a:lnTo>
                    <a:pt x="446" y="628"/>
                  </a:lnTo>
                  <a:lnTo>
                    <a:pt x="451" y="621"/>
                  </a:lnTo>
                  <a:lnTo>
                    <a:pt x="456" y="615"/>
                  </a:lnTo>
                  <a:lnTo>
                    <a:pt x="464" y="610"/>
                  </a:lnTo>
                  <a:lnTo>
                    <a:pt x="481" y="605"/>
                  </a:lnTo>
                  <a:lnTo>
                    <a:pt x="498" y="596"/>
                  </a:lnTo>
                  <a:lnTo>
                    <a:pt x="505" y="595"/>
                  </a:lnTo>
                  <a:lnTo>
                    <a:pt x="514" y="595"/>
                  </a:lnTo>
                  <a:lnTo>
                    <a:pt x="521" y="596"/>
                  </a:lnTo>
                  <a:lnTo>
                    <a:pt x="528" y="602"/>
                  </a:lnTo>
                  <a:lnTo>
                    <a:pt x="615" y="688"/>
                  </a:lnTo>
                  <a:lnTo>
                    <a:pt x="688" y="615"/>
                  </a:lnTo>
                  <a:lnTo>
                    <a:pt x="602" y="528"/>
                  </a:lnTo>
                  <a:lnTo>
                    <a:pt x="596" y="521"/>
                  </a:lnTo>
                  <a:lnTo>
                    <a:pt x="595" y="514"/>
                  </a:lnTo>
                  <a:lnTo>
                    <a:pt x="595" y="505"/>
                  </a:lnTo>
                  <a:lnTo>
                    <a:pt x="596" y="498"/>
                  </a:lnTo>
                  <a:lnTo>
                    <a:pt x="605" y="481"/>
                  </a:lnTo>
                  <a:lnTo>
                    <a:pt x="610" y="464"/>
                  </a:lnTo>
                  <a:lnTo>
                    <a:pt x="615" y="456"/>
                  </a:lnTo>
                  <a:lnTo>
                    <a:pt x="620" y="451"/>
                  </a:lnTo>
                  <a:lnTo>
                    <a:pt x="628" y="446"/>
                  </a:lnTo>
                  <a:lnTo>
                    <a:pt x="636" y="445"/>
                  </a:lnTo>
                  <a:lnTo>
                    <a:pt x="734" y="445"/>
                  </a:lnTo>
                  <a:lnTo>
                    <a:pt x="734" y="343"/>
                  </a:lnTo>
                  <a:lnTo>
                    <a:pt x="636" y="343"/>
                  </a:lnTo>
                  <a:lnTo>
                    <a:pt x="628" y="341"/>
                  </a:lnTo>
                  <a:lnTo>
                    <a:pt x="620" y="337"/>
                  </a:lnTo>
                  <a:lnTo>
                    <a:pt x="615" y="331"/>
                  </a:lnTo>
                  <a:lnTo>
                    <a:pt x="610" y="324"/>
                  </a:lnTo>
                  <a:lnTo>
                    <a:pt x="605" y="307"/>
                  </a:lnTo>
                  <a:lnTo>
                    <a:pt x="596" y="289"/>
                  </a:lnTo>
                  <a:lnTo>
                    <a:pt x="595" y="282"/>
                  </a:lnTo>
                  <a:lnTo>
                    <a:pt x="595" y="274"/>
                  </a:lnTo>
                  <a:lnTo>
                    <a:pt x="596" y="266"/>
                  </a:lnTo>
                  <a:lnTo>
                    <a:pt x="602" y="259"/>
                  </a:lnTo>
                  <a:lnTo>
                    <a:pt x="688" y="173"/>
                  </a:lnTo>
                  <a:lnTo>
                    <a:pt x="615" y="99"/>
                  </a:lnTo>
                  <a:lnTo>
                    <a:pt x="528" y="186"/>
                  </a:lnTo>
                  <a:lnTo>
                    <a:pt x="521" y="191"/>
                  </a:lnTo>
                  <a:lnTo>
                    <a:pt x="514" y="193"/>
                  </a:lnTo>
                  <a:lnTo>
                    <a:pt x="505" y="193"/>
                  </a:lnTo>
                  <a:lnTo>
                    <a:pt x="498" y="191"/>
                  </a:lnTo>
                  <a:lnTo>
                    <a:pt x="481" y="183"/>
                  </a:lnTo>
                  <a:lnTo>
                    <a:pt x="464" y="177"/>
                  </a:lnTo>
                  <a:lnTo>
                    <a:pt x="456" y="173"/>
                  </a:lnTo>
                  <a:lnTo>
                    <a:pt x="451" y="167"/>
                  </a:lnTo>
                  <a:lnTo>
                    <a:pt x="446" y="160"/>
                  </a:lnTo>
                  <a:lnTo>
                    <a:pt x="445" y="151"/>
                  </a:lnTo>
                  <a:lnTo>
                    <a:pt x="445" y="53"/>
                  </a:lnTo>
                  <a:lnTo>
                    <a:pt x="343" y="53"/>
                  </a:lnTo>
                  <a:lnTo>
                    <a:pt x="343" y="151"/>
                  </a:lnTo>
                  <a:lnTo>
                    <a:pt x="341" y="160"/>
                  </a:lnTo>
                  <a:lnTo>
                    <a:pt x="337" y="167"/>
                  </a:lnTo>
                  <a:lnTo>
                    <a:pt x="331" y="173"/>
                  </a:lnTo>
                  <a:lnTo>
                    <a:pt x="324" y="177"/>
                  </a:lnTo>
                  <a:lnTo>
                    <a:pt x="307" y="183"/>
                  </a:lnTo>
                  <a:lnTo>
                    <a:pt x="289" y="191"/>
                  </a:lnTo>
                  <a:lnTo>
                    <a:pt x="282" y="193"/>
                  </a:lnTo>
                  <a:lnTo>
                    <a:pt x="273" y="193"/>
                  </a:lnTo>
                  <a:lnTo>
                    <a:pt x="266" y="191"/>
                  </a:lnTo>
                  <a:lnTo>
                    <a:pt x="259" y="186"/>
                  </a:lnTo>
                  <a:lnTo>
                    <a:pt x="173" y="99"/>
                  </a:lnTo>
                  <a:lnTo>
                    <a:pt x="99" y="173"/>
                  </a:lnTo>
                  <a:lnTo>
                    <a:pt x="186" y="259"/>
                  </a:lnTo>
                  <a:lnTo>
                    <a:pt x="191" y="266"/>
                  </a:lnTo>
                  <a:lnTo>
                    <a:pt x="193" y="274"/>
                  </a:lnTo>
                  <a:lnTo>
                    <a:pt x="193" y="282"/>
                  </a:lnTo>
                  <a:lnTo>
                    <a:pt x="191" y="289"/>
                  </a:lnTo>
                  <a:lnTo>
                    <a:pt x="183" y="307"/>
                  </a:lnTo>
                  <a:lnTo>
                    <a:pt x="177" y="324"/>
                  </a:lnTo>
                  <a:lnTo>
                    <a:pt x="173" y="331"/>
                  </a:lnTo>
                  <a:lnTo>
                    <a:pt x="167" y="337"/>
                  </a:lnTo>
                  <a:lnTo>
                    <a:pt x="160" y="341"/>
                  </a:lnTo>
                  <a:lnTo>
                    <a:pt x="151" y="343"/>
                  </a:lnTo>
                  <a:lnTo>
                    <a:pt x="53" y="343"/>
                  </a:lnTo>
                  <a:lnTo>
                    <a:pt x="53" y="445"/>
                  </a:lnTo>
                  <a:lnTo>
                    <a:pt x="151" y="445"/>
                  </a:lnTo>
                  <a:lnTo>
                    <a:pt x="160" y="446"/>
                  </a:lnTo>
                  <a:lnTo>
                    <a:pt x="167" y="451"/>
                  </a:lnTo>
                  <a:lnTo>
                    <a:pt x="173" y="456"/>
                  </a:lnTo>
                  <a:lnTo>
                    <a:pt x="177" y="464"/>
                  </a:lnTo>
                  <a:lnTo>
                    <a:pt x="183" y="481"/>
                  </a:lnTo>
                  <a:lnTo>
                    <a:pt x="191" y="498"/>
                  </a:lnTo>
                  <a:lnTo>
                    <a:pt x="193" y="505"/>
                  </a:lnTo>
                  <a:lnTo>
                    <a:pt x="193" y="514"/>
                  </a:lnTo>
                  <a:lnTo>
                    <a:pt x="191" y="521"/>
                  </a:lnTo>
                  <a:lnTo>
                    <a:pt x="186" y="528"/>
                  </a:lnTo>
                  <a:lnTo>
                    <a:pt x="99" y="615"/>
                  </a:lnTo>
                  <a:lnTo>
                    <a:pt x="173" y="688"/>
                  </a:lnTo>
                  <a:lnTo>
                    <a:pt x="259" y="602"/>
                  </a:lnTo>
                  <a:lnTo>
                    <a:pt x="266" y="596"/>
                  </a:lnTo>
                  <a:lnTo>
                    <a:pt x="273" y="595"/>
                  </a:lnTo>
                  <a:lnTo>
                    <a:pt x="282" y="595"/>
                  </a:lnTo>
                  <a:lnTo>
                    <a:pt x="289" y="596"/>
                  </a:lnTo>
                  <a:lnTo>
                    <a:pt x="307" y="605"/>
                  </a:lnTo>
                  <a:lnTo>
                    <a:pt x="324" y="610"/>
                  </a:lnTo>
                  <a:lnTo>
                    <a:pt x="331" y="615"/>
                  </a:lnTo>
                  <a:lnTo>
                    <a:pt x="337" y="621"/>
                  </a:lnTo>
                  <a:lnTo>
                    <a:pt x="341" y="628"/>
                  </a:lnTo>
                  <a:lnTo>
                    <a:pt x="343" y="636"/>
                  </a:lnTo>
                  <a:lnTo>
                    <a:pt x="343" y="734"/>
                  </a:lnTo>
                  <a:close/>
                  <a:moveTo>
                    <a:pt x="471" y="788"/>
                  </a:moveTo>
                  <a:lnTo>
                    <a:pt x="317" y="788"/>
                  </a:lnTo>
                  <a:lnTo>
                    <a:pt x="311" y="786"/>
                  </a:lnTo>
                  <a:lnTo>
                    <a:pt x="305" y="785"/>
                  </a:lnTo>
                  <a:lnTo>
                    <a:pt x="301" y="783"/>
                  </a:lnTo>
                  <a:lnTo>
                    <a:pt x="298" y="779"/>
                  </a:lnTo>
                  <a:lnTo>
                    <a:pt x="294" y="776"/>
                  </a:lnTo>
                  <a:lnTo>
                    <a:pt x="292" y="772"/>
                  </a:lnTo>
                  <a:lnTo>
                    <a:pt x="291" y="766"/>
                  </a:lnTo>
                  <a:lnTo>
                    <a:pt x="289" y="762"/>
                  </a:lnTo>
                  <a:lnTo>
                    <a:pt x="289" y="654"/>
                  </a:lnTo>
                  <a:lnTo>
                    <a:pt x="286" y="652"/>
                  </a:lnTo>
                  <a:lnTo>
                    <a:pt x="284" y="651"/>
                  </a:lnTo>
                  <a:lnTo>
                    <a:pt x="191" y="743"/>
                  </a:lnTo>
                  <a:lnTo>
                    <a:pt x="187" y="747"/>
                  </a:lnTo>
                  <a:lnTo>
                    <a:pt x="183" y="749"/>
                  </a:lnTo>
                  <a:lnTo>
                    <a:pt x="177" y="750"/>
                  </a:lnTo>
                  <a:lnTo>
                    <a:pt x="173" y="752"/>
                  </a:lnTo>
                  <a:lnTo>
                    <a:pt x="167" y="750"/>
                  </a:lnTo>
                  <a:lnTo>
                    <a:pt x="163" y="749"/>
                  </a:lnTo>
                  <a:lnTo>
                    <a:pt x="158" y="747"/>
                  </a:lnTo>
                  <a:lnTo>
                    <a:pt x="154" y="743"/>
                  </a:lnTo>
                  <a:lnTo>
                    <a:pt x="44" y="634"/>
                  </a:lnTo>
                  <a:lnTo>
                    <a:pt x="40" y="629"/>
                  </a:lnTo>
                  <a:lnTo>
                    <a:pt x="39" y="625"/>
                  </a:lnTo>
                  <a:lnTo>
                    <a:pt x="37" y="621"/>
                  </a:lnTo>
                  <a:lnTo>
                    <a:pt x="36" y="615"/>
                  </a:lnTo>
                  <a:lnTo>
                    <a:pt x="37" y="610"/>
                  </a:lnTo>
                  <a:lnTo>
                    <a:pt x="39" y="605"/>
                  </a:lnTo>
                  <a:lnTo>
                    <a:pt x="40" y="600"/>
                  </a:lnTo>
                  <a:lnTo>
                    <a:pt x="44" y="596"/>
                  </a:lnTo>
                  <a:lnTo>
                    <a:pt x="137" y="504"/>
                  </a:lnTo>
                  <a:lnTo>
                    <a:pt x="135" y="501"/>
                  </a:lnTo>
                  <a:lnTo>
                    <a:pt x="134" y="498"/>
                  </a:lnTo>
                  <a:lnTo>
                    <a:pt x="26" y="498"/>
                  </a:lnTo>
                  <a:lnTo>
                    <a:pt x="21" y="497"/>
                  </a:lnTo>
                  <a:lnTo>
                    <a:pt x="16" y="495"/>
                  </a:lnTo>
                  <a:lnTo>
                    <a:pt x="11" y="492"/>
                  </a:lnTo>
                  <a:lnTo>
                    <a:pt x="8" y="490"/>
                  </a:lnTo>
                  <a:lnTo>
                    <a:pt x="4" y="487"/>
                  </a:lnTo>
                  <a:lnTo>
                    <a:pt x="3" y="482"/>
                  </a:lnTo>
                  <a:lnTo>
                    <a:pt x="1" y="477"/>
                  </a:lnTo>
                  <a:lnTo>
                    <a:pt x="0" y="471"/>
                  </a:lnTo>
                  <a:lnTo>
                    <a:pt x="0" y="317"/>
                  </a:lnTo>
                  <a:lnTo>
                    <a:pt x="1" y="311"/>
                  </a:lnTo>
                  <a:lnTo>
                    <a:pt x="3" y="305"/>
                  </a:lnTo>
                  <a:lnTo>
                    <a:pt x="4" y="301"/>
                  </a:lnTo>
                  <a:lnTo>
                    <a:pt x="8" y="298"/>
                  </a:lnTo>
                  <a:lnTo>
                    <a:pt x="11" y="294"/>
                  </a:lnTo>
                  <a:lnTo>
                    <a:pt x="16" y="292"/>
                  </a:lnTo>
                  <a:lnTo>
                    <a:pt x="21" y="291"/>
                  </a:lnTo>
                  <a:lnTo>
                    <a:pt x="26" y="289"/>
                  </a:lnTo>
                  <a:lnTo>
                    <a:pt x="134" y="289"/>
                  </a:lnTo>
                  <a:lnTo>
                    <a:pt x="135" y="287"/>
                  </a:lnTo>
                  <a:lnTo>
                    <a:pt x="137" y="284"/>
                  </a:lnTo>
                  <a:lnTo>
                    <a:pt x="44" y="191"/>
                  </a:lnTo>
                  <a:lnTo>
                    <a:pt x="40" y="187"/>
                  </a:lnTo>
                  <a:lnTo>
                    <a:pt x="39" y="183"/>
                  </a:lnTo>
                  <a:lnTo>
                    <a:pt x="37" y="177"/>
                  </a:lnTo>
                  <a:lnTo>
                    <a:pt x="36" y="173"/>
                  </a:lnTo>
                  <a:lnTo>
                    <a:pt x="37" y="167"/>
                  </a:lnTo>
                  <a:lnTo>
                    <a:pt x="39" y="163"/>
                  </a:lnTo>
                  <a:lnTo>
                    <a:pt x="40" y="158"/>
                  </a:lnTo>
                  <a:lnTo>
                    <a:pt x="44" y="154"/>
                  </a:lnTo>
                  <a:lnTo>
                    <a:pt x="154" y="45"/>
                  </a:lnTo>
                  <a:lnTo>
                    <a:pt x="158" y="40"/>
                  </a:lnTo>
                  <a:lnTo>
                    <a:pt x="163" y="39"/>
                  </a:lnTo>
                  <a:lnTo>
                    <a:pt x="167" y="37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7"/>
                  </a:lnTo>
                  <a:lnTo>
                    <a:pt x="183" y="39"/>
                  </a:lnTo>
                  <a:lnTo>
                    <a:pt x="187" y="40"/>
                  </a:lnTo>
                  <a:lnTo>
                    <a:pt x="191" y="45"/>
                  </a:lnTo>
                  <a:lnTo>
                    <a:pt x="284" y="137"/>
                  </a:lnTo>
                  <a:lnTo>
                    <a:pt x="286" y="135"/>
                  </a:lnTo>
                  <a:lnTo>
                    <a:pt x="289" y="134"/>
                  </a:lnTo>
                  <a:lnTo>
                    <a:pt x="289" y="26"/>
                  </a:lnTo>
                  <a:lnTo>
                    <a:pt x="291" y="22"/>
                  </a:lnTo>
                  <a:lnTo>
                    <a:pt x="292" y="16"/>
                  </a:lnTo>
                  <a:lnTo>
                    <a:pt x="294" y="11"/>
                  </a:lnTo>
                  <a:lnTo>
                    <a:pt x="298" y="9"/>
                  </a:lnTo>
                  <a:lnTo>
                    <a:pt x="301" y="4"/>
                  </a:lnTo>
                  <a:lnTo>
                    <a:pt x="305" y="3"/>
                  </a:lnTo>
                  <a:lnTo>
                    <a:pt x="311" y="1"/>
                  </a:lnTo>
                  <a:lnTo>
                    <a:pt x="317" y="0"/>
                  </a:lnTo>
                  <a:lnTo>
                    <a:pt x="471" y="0"/>
                  </a:lnTo>
                  <a:lnTo>
                    <a:pt x="476" y="1"/>
                  </a:lnTo>
                  <a:lnTo>
                    <a:pt x="481" y="3"/>
                  </a:lnTo>
                  <a:lnTo>
                    <a:pt x="487" y="4"/>
                  </a:lnTo>
                  <a:lnTo>
                    <a:pt x="489" y="9"/>
                  </a:lnTo>
                  <a:lnTo>
                    <a:pt x="492" y="11"/>
                  </a:lnTo>
                  <a:lnTo>
                    <a:pt x="495" y="16"/>
                  </a:lnTo>
                  <a:lnTo>
                    <a:pt x="497" y="22"/>
                  </a:lnTo>
                  <a:lnTo>
                    <a:pt x="498" y="26"/>
                  </a:lnTo>
                  <a:lnTo>
                    <a:pt x="498" y="134"/>
                  </a:lnTo>
                  <a:lnTo>
                    <a:pt x="501" y="135"/>
                  </a:lnTo>
                  <a:lnTo>
                    <a:pt x="504" y="137"/>
                  </a:lnTo>
                  <a:lnTo>
                    <a:pt x="596" y="45"/>
                  </a:lnTo>
                  <a:lnTo>
                    <a:pt x="600" y="40"/>
                  </a:lnTo>
                  <a:lnTo>
                    <a:pt x="605" y="39"/>
                  </a:lnTo>
                  <a:lnTo>
                    <a:pt x="610" y="37"/>
                  </a:lnTo>
                  <a:lnTo>
                    <a:pt x="615" y="36"/>
                  </a:lnTo>
                  <a:lnTo>
                    <a:pt x="615" y="36"/>
                  </a:lnTo>
                  <a:lnTo>
                    <a:pt x="620" y="37"/>
                  </a:lnTo>
                  <a:lnTo>
                    <a:pt x="625" y="39"/>
                  </a:lnTo>
                  <a:lnTo>
                    <a:pt x="629" y="40"/>
                  </a:lnTo>
                  <a:lnTo>
                    <a:pt x="633" y="45"/>
                  </a:lnTo>
                  <a:lnTo>
                    <a:pt x="743" y="154"/>
                  </a:lnTo>
                  <a:lnTo>
                    <a:pt x="747" y="158"/>
                  </a:lnTo>
                  <a:lnTo>
                    <a:pt x="749" y="163"/>
                  </a:lnTo>
                  <a:lnTo>
                    <a:pt x="750" y="167"/>
                  </a:lnTo>
                  <a:lnTo>
                    <a:pt x="752" y="173"/>
                  </a:lnTo>
                  <a:lnTo>
                    <a:pt x="750" y="177"/>
                  </a:lnTo>
                  <a:lnTo>
                    <a:pt x="749" y="183"/>
                  </a:lnTo>
                  <a:lnTo>
                    <a:pt x="747" y="187"/>
                  </a:lnTo>
                  <a:lnTo>
                    <a:pt x="743" y="191"/>
                  </a:lnTo>
                  <a:lnTo>
                    <a:pt x="651" y="284"/>
                  </a:lnTo>
                  <a:lnTo>
                    <a:pt x="652" y="287"/>
                  </a:lnTo>
                  <a:lnTo>
                    <a:pt x="654" y="289"/>
                  </a:lnTo>
                  <a:lnTo>
                    <a:pt x="762" y="289"/>
                  </a:lnTo>
                  <a:lnTo>
                    <a:pt x="766" y="291"/>
                  </a:lnTo>
                  <a:lnTo>
                    <a:pt x="772" y="292"/>
                  </a:lnTo>
                  <a:lnTo>
                    <a:pt x="776" y="294"/>
                  </a:lnTo>
                  <a:lnTo>
                    <a:pt x="779" y="298"/>
                  </a:lnTo>
                  <a:lnTo>
                    <a:pt x="783" y="301"/>
                  </a:lnTo>
                  <a:lnTo>
                    <a:pt x="785" y="305"/>
                  </a:lnTo>
                  <a:lnTo>
                    <a:pt x="786" y="311"/>
                  </a:lnTo>
                  <a:lnTo>
                    <a:pt x="788" y="317"/>
                  </a:lnTo>
                  <a:lnTo>
                    <a:pt x="788" y="471"/>
                  </a:lnTo>
                  <a:lnTo>
                    <a:pt x="786" y="477"/>
                  </a:lnTo>
                  <a:lnTo>
                    <a:pt x="785" y="482"/>
                  </a:lnTo>
                  <a:lnTo>
                    <a:pt x="783" y="487"/>
                  </a:lnTo>
                  <a:lnTo>
                    <a:pt x="779" y="490"/>
                  </a:lnTo>
                  <a:lnTo>
                    <a:pt x="776" y="492"/>
                  </a:lnTo>
                  <a:lnTo>
                    <a:pt x="772" y="495"/>
                  </a:lnTo>
                  <a:lnTo>
                    <a:pt x="766" y="497"/>
                  </a:lnTo>
                  <a:lnTo>
                    <a:pt x="762" y="498"/>
                  </a:lnTo>
                  <a:lnTo>
                    <a:pt x="654" y="498"/>
                  </a:lnTo>
                  <a:lnTo>
                    <a:pt x="652" y="501"/>
                  </a:lnTo>
                  <a:lnTo>
                    <a:pt x="651" y="504"/>
                  </a:lnTo>
                  <a:lnTo>
                    <a:pt x="743" y="596"/>
                  </a:lnTo>
                  <a:lnTo>
                    <a:pt x="747" y="600"/>
                  </a:lnTo>
                  <a:lnTo>
                    <a:pt x="749" y="605"/>
                  </a:lnTo>
                  <a:lnTo>
                    <a:pt x="750" y="610"/>
                  </a:lnTo>
                  <a:lnTo>
                    <a:pt x="752" y="615"/>
                  </a:lnTo>
                  <a:lnTo>
                    <a:pt x="750" y="621"/>
                  </a:lnTo>
                  <a:lnTo>
                    <a:pt x="749" y="625"/>
                  </a:lnTo>
                  <a:lnTo>
                    <a:pt x="747" y="629"/>
                  </a:lnTo>
                  <a:lnTo>
                    <a:pt x="743" y="634"/>
                  </a:lnTo>
                  <a:lnTo>
                    <a:pt x="633" y="743"/>
                  </a:lnTo>
                  <a:lnTo>
                    <a:pt x="629" y="747"/>
                  </a:lnTo>
                  <a:lnTo>
                    <a:pt x="625" y="749"/>
                  </a:lnTo>
                  <a:lnTo>
                    <a:pt x="620" y="750"/>
                  </a:lnTo>
                  <a:lnTo>
                    <a:pt x="615" y="752"/>
                  </a:lnTo>
                  <a:lnTo>
                    <a:pt x="610" y="750"/>
                  </a:lnTo>
                  <a:lnTo>
                    <a:pt x="605" y="749"/>
                  </a:lnTo>
                  <a:lnTo>
                    <a:pt x="600" y="747"/>
                  </a:lnTo>
                  <a:lnTo>
                    <a:pt x="596" y="743"/>
                  </a:lnTo>
                  <a:lnTo>
                    <a:pt x="504" y="651"/>
                  </a:lnTo>
                  <a:lnTo>
                    <a:pt x="501" y="652"/>
                  </a:lnTo>
                  <a:lnTo>
                    <a:pt x="498" y="654"/>
                  </a:lnTo>
                  <a:lnTo>
                    <a:pt x="498" y="762"/>
                  </a:lnTo>
                  <a:lnTo>
                    <a:pt x="497" y="766"/>
                  </a:lnTo>
                  <a:lnTo>
                    <a:pt x="495" y="772"/>
                  </a:lnTo>
                  <a:lnTo>
                    <a:pt x="492" y="776"/>
                  </a:lnTo>
                  <a:lnTo>
                    <a:pt x="489" y="779"/>
                  </a:lnTo>
                  <a:lnTo>
                    <a:pt x="487" y="783"/>
                  </a:lnTo>
                  <a:lnTo>
                    <a:pt x="481" y="785"/>
                  </a:lnTo>
                  <a:lnTo>
                    <a:pt x="476" y="786"/>
                  </a:lnTo>
                  <a:lnTo>
                    <a:pt x="471" y="7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13"/>
            <p:cNvSpPr>
              <a:spLocks noEditPoints="1"/>
            </p:cNvSpPr>
            <p:nvPr/>
          </p:nvSpPr>
          <p:spPr bwMode="auto">
            <a:xfrm>
              <a:off x="1200150" y="2995613"/>
              <a:ext cx="369888" cy="371475"/>
            </a:xfrm>
            <a:custGeom>
              <a:avLst/>
              <a:gdLst>
                <a:gd name="T0" fmla="*/ 288 w 701"/>
                <a:gd name="T1" fmla="*/ 280 h 701"/>
                <a:gd name="T2" fmla="*/ 257 w 701"/>
                <a:gd name="T3" fmla="*/ 339 h 701"/>
                <a:gd name="T4" fmla="*/ 267 w 701"/>
                <a:gd name="T5" fmla="*/ 393 h 701"/>
                <a:gd name="T6" fmla="*/ 305 w 701"/>
                <a:gd name="T7" fmla="*/ 432 h 701"/>
                <a:gd name="T8" fmla="*/ 364 w 701"/>
                <a:gd name="T9" fmla="*/ 443 h 701"/>
                <a:gd name="T10" fmla="*/ 429 w 701"/>
                <a:gd name="T11" fmla="*/ 399 h 701"/>
                <a:gd name="T12" fmla="*/ 443 w 701"/>
                <a:gd name="T13" fmla="*/ 341 h 701"/>
                <a:gd name="T14" fmla="*/ 423 w 701"/>
                <a:gd name="T15" fmla="*/ 292 h 701"/>
                <a:gd name="T16" fmla="*/ 378 w 701"/>
                <a:gd name="T17" fmla="*/ 260 h 701"/>
                <a:gd name="T18" fmla="*/ 321 w 701"/>
                <a:gd name="T19" fmla="*/ 492 h 701"/>
                <a:gd name="T20" fmla="*/ 246 w 701"/>
                <a:gd name="T21" fmla="*/ 452 h 701"/>
                <a:gd name="T22" fmla="*/ 207 w 701"/>
                <a:gd name="T23" fmla="*/ 377 h 701"/>
                <a:gd name="T24" fmla="*/ 216 w 701"/>
                <a:gd name="T25" fmla="*/ 292 h 701"/>
                <a:gd name="T26" fmla="*/ 253 w 701"/>
                <a:gd name="T27" fmla="*/ 240 h 701"/>
                <a:gd name="T28" fmla="*/ 308 w 701"/>
                <a:gd name="T29" fmla="*/ 210 h 701"/>
                <a:gd name="T30" fmla="*/ 378 w 701"/>
                <a:gd name="T31" fmla="*/ 207 h 701"/>
                <a:gd name="T32" fmla="*/ 455 w 701"/>
                <a:gd name="T33" fmla="*/ 249 h 701"/>
                <a:gd name="T34" fmla="*/ 493 w 701"/>
                <a:gd name="T35" fmla="*/ 322 h 701"/>
                <a:gd name="T36" fmla="*/ 483 w 701"/>
                <a:gd name="T37" fmla="*/ 407 h 701"/>
                <a:gd name="T38" fmla="*/ 447 w 701"/>
                <a:gd name="T39" fmla="*/ 459 h 701"/>
                <a:gd name="T40" fmla="*/ 393 w 701"/>
                <a:gd name="T41" fmla="*/ 489 h 701"/>
                <a:gd name="T42" fmla="*/ 285 w 701"/>
                <a:gd name="T43" fmla="*/ 545 h 701"/>
                <a:gd name="T44" fmla="*/ 357 w 701"/>
                <a:gd name="T45" fmla="*/ 567 h 701"/>
                <a:gd name="T46" fmla="*/ 460 w 701"/>
                <a:gd name="T47" fmla="*/ 530 h 701"/>
                <a:gd name="T48" fmla="*/ 521 w 701"/>
                <a:gd name="T49" fmla="*/ 465 h 701"/>
                <a:gd name="T50" fmla="*/ 643 w 701"/>
                <a:gd name="T51" fmla="*/ 371 h 701"/>
                <a:gd name="T52" fmla="*/ 553 w 701"/>
                <a:gd name="T53" fmla="*/ 312 h 701"/>
                <a:gd name="T54" fmla="*/ 534 w 701"/>
                <a:gd name="T55" fmla="*/ 234 h 701"/>
                <a:gd name="T56" fmla="*/ 449 w 701"/>
                <a:gd name="T57" fmla="*/ 164 h 701"/>
                <a:gd name="T58" fmla="*/ 397 w 701"/>
                <a:gd name="T59" fmla="*/ 149 h 701"/>
                <a:gd name="T60" fmla="*/ 339 w 701"/>
                <a:gd name="T61" fmla="*/ 125 h 701"/>
                <a:gd name="T62" fmla="*/ 236 w 701"/>
                <a:gd name="T63" fmla="*/ 177 h 701"/>
                <a:gd name="T64" fmla="*/ 174 w 701"/>
                <a:gd name="T65" fmla="*/ 240 h 701"/>
                <a:gd name="T66" fmla="*/ 125 w 701"/>
                <a:gd name="T67" fmla="*/ 345 h 701"/>
                <a:gd name="T68" fmla="*/ 152 w 701"/>
                <a:gd name="T69" fmla="*/ 407 h 701"/>
                <a:gd name="T70" fmla="*/ 161 w 701"/>
                <a:gd name="T71" fmla="*/ 472 h 701"/>
                <a:gd name="T72" fmla="*/ 257 w 701"/>
                <a:gd name="T73" fmla="*/ 535 h 701"/>
                <a:gd name="T74" fmla="*/ 347 w 701"/>
                <a:gd name="T75" fmla="*/ 695 h 701"/>
                <a:gd name="T76" fmla="*/ 275 w 701"/>
                <a:gd name="T77" fmla="*/ 597 h 701"/>
                <a:gd name="T78" fmla="*/ 188 w 701"/>
                <a:gd name="T79" fmla="*/ 658 h 701"/>
                <a:gd name="T80" fmla="*/ 54 w 701"/>
                <a:gd name="T81" fmla="*/ 540 h 701"/>
                <a:gd name="T82" fmla="*/ 54 w 701"/>
                <a:gd name="T83" fmla="*/ 511 h 701"/>
                <a:gd name="T84" fmla="*/ 95 w 701"/>
                <a:gd name="T85" fmla="*/ 391 h 701"/>
                <a:gd name="T86" fmla="*/ 1 w 701"/>
                <a:gd name="T87" fmla="*/ 355 h 701"/>
                <a:gd name="T88" fmla="*/ 43 w 701"/>
                <a:gd name="T89" fmla="*/ 181 h 701"/>
                <a:gd name="T90" fmla="*/ 70 w 701"/>
                <a:gd name="T91" fmla="*/ 171 h 701"/>
                <a:gd name="T92" fmla="*/ 164 w 701"/>
                <a:gd name="T93" fmla="*/ 76 h 701"/>
                <a:gd name="T94" fmla="*/ 172 w 701"/>
                <a:gd name="T95" fmla="*/ 47 h 701"/>
                <a:gd name="T96" fmla="*/ 345 w 701"/>
                <a:gd name="T97" fmla="*/ 1 h 701"/>
                <a:gd name="T98" fmla="*/ 384 w 701"/>
                <a:gd name="T99" fmla="*/ 95 h 701"/>
                <a:gd name="T100" fmla="*/ 496 w 701"/>
                <a:gd name="T101" fmla="*/ 47 h 701"/>
                <a:gd name="T102" fmla="*/ 525 w 701"/>
                <a:gd name="T103" fmla="*/ 46 h 701"/>
                <a:gd name="T104" fmla="*/ 650 w 701"/>
                <a:gd name="T105" fmla="*/ 175 h 701"/>
                <a:gd name="T106" fmla="*/ 593 w 701"/>
                <a:gd name="T107" fmla="*/ 265 h 701"/>
                <a:gd name="T108" fmla="*/ 691 w 701"/>
                <a:gd name="T109" fmla="*/ 332 h 701"/>
                <a:gd name="T110" fmla="*/ 699 w 701"/>
                <a:gd name="T111" fmla="*/ 360 h 701"/>
                <a:gd name="T112" fmla="*/ 645 w 701"/>
                <a:gd name="T113" fmla="*/ 528 h 701"/>
                <a:gd name="T114" fmla="*/ 535 w 701"/>
                <a:gd name="T115" fmla="*/ 530 h 701"/>
                <a:gd name="T116" fmla="*/ 537 w 701"/>
                <a:gd name="T117" fmla="*/ 639 h 701"/>
                <a:gd name="T118" fmla="*/ 370 w 701"/>
                <a:gd name="T119" fmla="*/ 699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701">
                  <a:moveTo>
                    <a:pt x="349" y="256"/>
                  </a:moveTo>
                  <a:lnTo>
                    <a:pt x="337" y="257"/>
                  </a:lnTo>
                  <a:lnTo>
                    <a:pt x="322" y="260"/>
                  </a:lnTo>
                  <a:lnTo>
                    <a:pt x="311" y="265"/>
                  </a:lnTo>
                  <a:lnTo>
                    <a:pt x="298" y="272"/>
                  </a:lnTo>
                  <a:lnTo>
                    <a:pt x="288" y="280"/>
                  </a:lnTo>
                  <a:lnTo>
                    <a:pt x="277" y="289"/>
                  </a:lnTo>
                  <a:lnTo>
                    <a:pt x="270" y="301"/>
                  </a:lnTo>
                  <a:lnTo>
                    <a:pt x="263" y="314"/>
                  </a:lnTo>
                  <a:lnTo>
                    <a:pt x="260" y="322"/>
                  </a:lnTo>
                  <a:lnTo>
                    <a:pt x="259" y="331"/>
                  </a:lnTo>
                  <a:lnTo>
                    <a:pt x="257" y="339"/>
                  </a:lnTo>
                  <a:lnTo>
                    <a:pt x="256" y="348"/>
                  </a:lnTo>
                  <a:lnTo>
                    <a:pt x="256" y="358"/>
                  </a:lnTo>
                  <a:lnTo>
                    <a:pt x="257" y="367"/>
                  </a:lnTo>
                  <a:lnTo>
                    <a:pt x="260" y="375"/>
                  </a:lnTo>
                  <a:lnTo>
                    <a:pt x="263" y="384"/>
                  </a:lnTo>
                  <a:lnTo>
                    <a:pt x="267" y="393"/>
                  </a:lnTo>
                  <a:lnTo>
                    <a:pt x="272" y="401"/>
                  </a:lnTo>
                  <a:lnTo>
                    <a:pt x="276" y="409"/>
                  </a:lnTo>
                  <a:lnTo>
                    <a:pt x="283" y="416"/>
                  </a:lnTo>
                  <a:lnTo>
                    <a:pt x="289" y="422"/>
                  </a:lnTo>
                  <a:lnTo>
                    <a:pt x="296" y="427"/>
                  </a:lnTo>
                  <a:lnTo>
                    <a:pt x="305" y="432"/>
                  </a:lnTo>
                  <a:lnTo>
                    <a:pt x="313" y="436"/>
                  </a:lnTo>
                  <a:lnTo>
                    <a:pt x="322" y="439"/>
                  </a:lnTo>
                  <a:lnTo>
                    <a:pt x="331" y="442"/>
                  </a:lnTo>
                  <a:lnTo>
                    <a:pt x="341" y="443"/>
                  </a:lnTo>
                  <a:lnTo>
                    <a:pt x="349" y="443"/>
                  </a:lnTo>
                  <a:lnTo>
                    <a:pt x="364" y="443"/>
                  </a:lnTo>
                  <a:lnTo>
                    <a:pt x="377" y="439"/>
                  </a:lnTo>
                  <a:lnTo>
                    <a:pt x="390" y="435"/>
                  </a:lnTo>
                  <a:lnTo>
                    <a:pt x="401" y="427"/>
                  </a:lnTo>
                  <a:lnTo>
                    <a:pt x="411" y="420"/>
                  </a:lnTo>
                  <a:lnTo>
                    <a:pt x="421" y="410"/>
                  </a:lnTo>
                  <a:lnTo>
                    <a:pt x="429" y="399"/>
                  </a:lnTo>
                  <a:lnTo>
                    <a:pt x="436" y="387"/>
                  </a:lnTo>
                  <a:lnTo>
                    <a:pt x="439" y="378"/>
                  </a:lnTo>
                  <a:lnTo>
                    <a:pt x="442" y="368"/>
                  </a:lnTo>
                  <a:lnTo>
                    <a:pt x="443" y="360"/>
                  </a:lnTo>
                  <a:lnTo>
                    <a:pt x="443" y="351"/>
                  </a:lnTo>
                  <a:lnTo>
                    <a:pt x="443" y="341"/>
                  </a:lnTo>
                  <a:lnTo>
                    <a:pt x="442" y="332"/>
                  </a:lnTo>
                  <a:lnTo>
                    <a:pt x="440" y="324"/>
                  </a:lnTo>
                  <a:lnTo>
                    <a:pt x="436" y="315"/>
                  </a:lnTo>
                  <a:lnTo>
                    <a:pt x="433" y="306"/>
                  </a:lnTo>
                  <a:lnTo>
                    <a:pt x="429" y="299"/>
                  </a:lnTo>
                  <a:lnTo>
                    <a:pt x="423" y="292"/>
                  </a:lnTo>
                  <a:lnTo>
                    <a:pt x="417" y="285"/>
                  </a:lnTo>
                  <a:lnTo>
                    <a:pt x="410" y="279"/>
                  </a:lnTo>
                  <a:lnTo>
                    <a:pt x="403" y="273"/>
                  </a:lnTo>
                  <a:lnTo>
                    <a:pt x="396" y="267"/>
                  </a:lnTo>
                  <a:lnTo>
                    <a:pt x="387" y="263"/>
                  </a:lnTo>
                  <a:lnTo>
                    <a:pt x="378" y="260"/>
                  </a:lnTo>
                  <a:lnTo>
                    <a:pt x="368" y="257"/>
                  </a:lnTo>
                  <a:lnTo>
                    <a:pt x="360" y="256"/>
                  </a:lnTo>
                  <a:lnTo>
                    <a:pt x="349" y="256"/>
                  </a:lnTo>
                  <a:close/>
                  <a:moveTo>
                    <a:pt x="349" y="496"/>
                  </a:moveTo>
                  <a:lnTo>
                    <a:pt x="335" y="495"/>
                  </a:lnTo>
                  <a:lnTo>
                    <a:pt x="321" y="492"/>
                  </a:lnTo>
                  <a:lnTo>
                    <a:pt x="306" y="489"/>
                  </a:lnTo>
                  <a:lnTo>
                    <a:pt x="292" y="483"/>
                  </a:lnTo>
                  <a:lnTo>
                    <a:pt x="279" y="478"/>
                  </a:lnTo>
                  <a:lnTo>
                    <a:pt x="267" y="471"/>
                  </a:lnTo>
                  <a:lnTo>
                    <a:pt x="256" y="462"/>
                  </a:lnTo>
                  <a:lnTo>
                    <a:pt x="246" y="452"/>
                  </a:lnTo>
                  <a:lnTo>
                    <a:pt x="236" y="442"/>
                  </a:lnTo>
                  <a:lnTo>
                    <a:pt x="227" y="430"/>
                  </a:lnTo>
                  <a:lnTo>
                    <a:pt x="220" y="417"/>
                  </a:lnTo>
                  <a:lnTo>
                    <a:pt x="214" y="404"/>
                  </a:lnTo>
                  <a:lnTo>
                    <a:pt x="210" y="390"/>
                  </a:lnTo>
                  <a:lnTo>
                    <a:pt x="207" y="377"/>
                  </a:lnTo>
                  <a:lnTo>
                    <a:pt x="204" y="363"/>
                  </a:lnTo>
                  <a:lnTo>
                    <a:pt x="204" y="348"/>
                  </a:lnTo>
                  <a:lnTo>
                    <a:pt x="204" y="334"/>
                  </a:lnTo>
                  <a:lnTo>
                    <a:pt x="207" y="319"/>
                  </a:lnTo>
                  <a:lnTo>
                    <a:pt x="211" y="306"/>
                  </a:lnTo>
                  <a:lnTo>
                    <a:pt x="216" y="292"/>
                  </a:lnTo>
                  <a:lnTo>
                    <a:pt x="220" y="283"/>
                  </a:lnTo>
                  <a:lnTo>
                    <a:pt x="226" y="273"/>
                  </a:lnTo>
                  <a:lnTo>
                    <a:pt x="231" y="265"/>
                  </a:lnTo>
                  <a:lnTo>
                    <a:pt x="239" y="256"/>
                  </a:lnTo>
                  <a:lnTo>
                    <a:pt x="246" y="249"/>
                  </a:lnTo>
                  <a:lnTo>
                    <a:pt x="253" y="240"/>
                  </a:lnTo>
                  <a:lnTo>
                    <a:pt x="260" y="234"/>
                  </a:lnTo>
                  <a:lnTo>
                    <a:pt x="269" y="229"/>
                  </a:lnTo>
                  <a:lnTo>
                    <a:pt x="279" y="223"/>
                  </a:lnTo>
                  <a:lnTo>
                    <a:pt x="288" y="217"/>
                  </a:lnTo>
                  <a:lnTo>
                    <a:pt x="298" y="214"/>
                  </a:lnTo>
                  <a:lnTo>
                    <a:pt x="308" y="210"/>
                  </a:lnTo>
                  <a:lnTo>
                    <a:pt x="318" y="207"/>
                  </a:lnTo>
                  <a:lnTo>
                    <a:pt x="328" y="206"/>
                  </a:lnTo>
                  <a:lnTo>
                    <a:pt x="339" y="204"/>
                  </a:lnTo>
                  <a:lnTo>
                    <a:pt x="349" y="204"/>
                  </a:lnTo>
                  <a:lnTo>
                    <a:pt x="364" y="204"/>
                  </a:lnTo>
                  <a:lnTo>
                    <a:pt x="378" y="207"/>
                  </a:lnTo>
                  <a:lnTo>
                    <a:pt x="393" y="211"/>
                  </a:lnTo>
                  <a:lnTo>
                    <a:pt x="407" y="216"/>
                  </a:lnTo>
                  <a:lnTo>
                    <a:pt x="420" y="223"/>
                  </a:lnTo>
                  <a:lnTo>
                    <a:pt x="433" y="230"/>
                  </a:lnTo>
                  <a:lnTo>
                    <a:pt x="445" y="239"/>
                  </a:lnTo>
                  <a:lnTo>
                    <a:pt x="455" y="249"/>
                  </a:lnTo>
                  <a:lnTo>
                    <a:pt x="465" y="259"/>
                  </a:lnTo>
                  <a:lnTo>
                    <a:pt x="472" y="270"/>
                  </a:lnTo>
                  <a:lnTo>
                    <a:pt x="479" y="283"/>
                  </a:lnTo>
                  <a:lnTo>
                    <a:pt x="485" y="296"/>
                  </a:lnTo>
                  <a:lnTo>
                    <a:pt x="489" y="309"/>
                  </a:lnTo>
                  <a:lnTo>
                    <a:pt x="493" y="322"/>
                  </a:lnTo>
                  <a:lnTo>
                    <a:pt x="495" y="337"/>
                  </a:lnTo>
                  <a:lnTo>
                    <a:pt x="495" y="351"/>
                  </a:lnTo>
                  <a:lnTo>
                    <a:pt x="495" y="365"/>
                  </a:lnTo>
                  <a:lnTo>
                    <a:pt x="492" y="380"/>
                  </a:lnTo>
                  <a:lnTo>
                    <a:pt x="489" y="393"/>
                  </a:lnTo>
                  <a:lnTo>
                    <a:pt x="483" y="407"/>
                  </a:lnTo>
                  <a:lnTo>
                    <a:pt x="479" y="417"/>
                  </a:lnTo>
                  <a:lnTo>
                    <a:pt x="473" y="426"/>
                  </a:lnTo>
                  <a:lnTo>
                    <a:pt x="468" y="436"/>
                  </a:lnTo>
                  <a:lnTo>
                    <a:pt x="462" y="443"/>
                  </a:lnTo>
                  <a:lnTo>
                    <a:pt x="455" y="452"/>
                  </a:lnTo>
                  <a:lnTo>
                    <a:pt x="447" y="459"/>
                  </a:lnTo>
                  <a:lnTo>
                    <a:pt x="439" y="466"/>
                  </a:lnTo>
                  <a:lnTo>
                    <a:pt x="430" y="472"/>
                  </a:lnTo>
                  <a:lnTo>
                    <a:pt x="421" y="478"/>
                  </a:lnTo>
                  <a:lnTo>
                    <a:pt x="411" y="482"/>
                  </a:lnTo>
                  <a:lnTo>
                    <a:pt x="403" y="486"/>
                  </a:lnTo>
                  <a:lnTo>
                    <a:pt x="393" y="489"/>
                  </a:lnTo>
                  <a:lnTo>
                    <a:pt x="381" y="492"/>
                  </a:lnTo>
                  <a:lnTo>
                    <a:pt x="371" y="494"/>
                  </a:lnTo>
                  <a:lnTo>
                    <a:pt x="361" y="495"/>
                  </a:lnTo>
                  <a:lnTo>
                    <a:pt x="349" y="496"/>
                  </a:lnTo>
                  <a:close/>
                  <a:moveTo>
                    <a:pt x="269" y="540"/>
                  </a:moveTo>
                  <a:lnTo>
                    <a:pt x="285" y="545"/>
                  </a:lnTo>
                  <a:lnTo>
                    <a:pt x="302" y="550"/>
                  </a:lnTo>
                  <a:lnTo>
                    <a:pt x="319" y="554"/>
                  </a:lnTo>
                  <a:lnTo>
                    <a:pt x="337" y="555"/>
                  </a:lnTo>
                  <a:lnTo>
                    <a:pt x="345" y="557"/>
                  </a:lnTo>
                  <a:lnTo>
                    <a:pt x="352" y="561"/>
                  </a:lnTo>
                  <a:lnTo>
                    <a:pt x="357" y="567"/>
                  </a:lnTo>
                  <a:lnTo>
                    <a:pt x="361" y="574"/>
                  </a:lnTo>
                  <a:lnTo>
                    <a:pt x="380" y="642"/>
                  </a:lnTo>
                  <a:lnTo>
                    <a:pt x="479" y="613"/>
                  </a:lnTo>
                  <a:lnTo>
                    <a:pt x="459" y="545"/>
                  </a:lnTo>
                  <a:lnTo>
                    <a:pt x="459" y="538"/>
                  </a:lnTo>
                  <a:lnTo>
                    <a:pt x="460" y="530"/>
                  </a:lnTo>
                  <a:lnTo>
                    <a:pt x="463" y="522"/>
                  </a:lnTo>
                  <a:lnTo>
                    <a:pt x="469" y="518"/>
                  </a:lnTo>
                  <a:lnTo>
                    <a:pt x="483" y="507"/>
                  </a:lnTo>
                  <a:lnTo>
                    <a:pt x="498" y="494"/>
                  </a:lnTo>
                  <a:lnTo>
                    <a:pt x="509" y="479"/>
                  </a:lnTo>
                  <a:lnTo>
                    <a:pt x="521" y="465"/>
                  </a:lnTo>
                  <a:lnTo>
                    <a:pt x="527" y="459"/>
                  </a:lnTo>
                  <a:lnTo>
                    <a:pt x="532" y="455"/>
                  </a:lnTo>
                  <a:lnTo>
                    <a:pt x="541" y="453"/>
                  </a:lnTo>
                  <a:lnTo>
                    <a:pt x="548" y="455"/>
                  </a:lnTo>
                  <a:lnTo>
                    <a:pt x="617" y="472"/>
                  </a:lnTo>
                  <a:lnTo>
                    <a:pt x="643" y="371"/>
                  </a:lnTo>
                  <a:lnTo>
                    <a:pt x="574" y="354"/>
                  </a:lnTo>
                  <a:lnTo>
                    <a:pt x="567" y="351"/>
                  </a:lnTo>
                  <a:lnTo>
                    <a:pt x="561" y="345"/>
                  </a:lnTo>
                  <a:lnTo>
                    <a:pt x="557" y="339"/>
                  </a:lnTo>
                  <a:lnTo>
                    <a:pt x="555" y="331"/>
                  </a:lnTo>
                  <a:lnTo>
                    <a:pt x="553" y="312"/>
                  </a:lnTo>
                  <a:lnTo>
                    <a:pt x="548" y="293"/>
                  </a:lnTo>
                  <a:lnTo>
                    <a:pt x="541" y="275"/>
                  </a:lnTo>
                  <a:lnTo>
                    <a:pt x="534" y="257"/>
                  </a:lnTo>
                  <a:lnTo>
                    <a:pt x="531" y="249"/>
                  </a:lnTo>
                  <a:lnTo>
                    <a:pt x="531" y="242"/>
                  </a:lnTo>
                  <a:lnTo>
                    <a:pt x="534" y="234"/>
                  </a:lnTo>
                  <a:lnTo>
                    <a:pt x="538" y="227"/>
                  </a:lnTo>
                  <a:lnTo>
                    <a:pt x="587" y="177"/>
                  </a:lnTo>
                  <a:lnTo>
                    <a:pt x="512" y="105"/>
                  </a:lnTo>
                  <a:lnTo>
                    <a:pt x="463" y="157"/>
                  </a:lnTo>
                  <a:lnTo>
                    <a:pt x="457" y="161"/>
                  </a:lnTo>
                  <a:lnTo>
                    <a:pt x="449" y="164"/>
                  </a:lnTo>
                  <a:lnTo>
                    <a:pt x="442" y="164"/>
                  </a:lnTo>
                  <a:lnTo>
                    <a:pt x="434" y="162"/>
                  </a:lnTo>
                  <a:lnTo>
                    <a:pt x="442" y="136"/>
                  </a:lnTo>
                  <a:lnTo>
                    <a:pt x="430" y="161"/>
                  </a:lnTo>
                  <a:lnTo>
                    <a:pt x="414" y="154"/>
                  </a:lnTo>
                  <a:lnTo>
                    <a:pt x="397" y="149"/>
                  </a:lnTo>
                  <a:lnTo>
                    <a:pt x="380" y="147"/>
                  </a:lnTo>
                  <a:lnTo>
                    <a:pt x="362" y="144"/>
                  </a:lnTo>
                  <a:lnTo>
                    <a:pt x="355" y="142"/>
                  </a:lnTo>
                  <a:lnTo>
                    <a:pt x="348" y="138"/>
                  </a:lnTo>
                  <a:lnTo>
                    <a:pt x="342" y="132"/>
                  </a:lnTo>
                  <a:lnTo>
                    <a:pt x="339" y="125"/>
                  </a:lnTo>
                  <a:lnTo>
                    <a:pt x="319" y="57"/>
                  </a:lnTo>
                  <a:lnTo>
                    <a:pt x="220" y="86"/>
                  </a:lnTo>
                  <a:lnTo>
                    <a:pt x="240" y="154"/>
                  </a:lnTo>
                  <a:lnTo>
                    <a:pt x="241" y="162"/>
                  </a:lnTo>
                  <a:lnTo>
                    <a:pt x="240" y="170"/>
                  </a:lnTo>
                  <a:lnTo>
                    <a:pt x="236" y="177"/>
                  </a:lnTo>
                  <a:lnTo>
                    <a:pt x="230" y="183"/>
                  </a:lnTo>
                  <a:lnTo>
                    <a:pt x="216" y="194"/>
                  </a:lnTo>
                  <a:lnTo>
                    <a:pt x="203" y="206"/>
                  </a:lnTo>
                  <a:lnTo>
                    <a:pt x="190" y="220"/>
                  </a:lnTo>
                  <a:lnTo>
                    <a:pt x="180" y="234"/>
                  </a:lnTo>
                  <a:lnTo>
                    <a:pt x="174" y="240"/>
                  </a:lnTo>
                  <a:lnTo>
                    <a:pt x="167" y="244"/>
                  </a:lnTo>
                  <a:lnTo>
                    <a:pt x="159" y="246"/>
                  </a:lnTo>
                  <a:lnTo>
                    <a:pt x="151" y="246"/>
                  </a:lnTo>
                  <a:lnTo>
                    <a:pt x="83" y="229"/>
                  </a:lnTo>
                  <a:lnTo>
                    <a:pt x="57" y="328"/>
                  </a:lnTo>
                  <a:lnTo>
                    <a:pt x="125" y="345"/>
                  </a:lnTo>
                  <a:lnTo>
                    <a:pt x="132" y="348"/>
                  </a:lnTo>
                  <a:lnTo>
                    <a:pt x="138" y="354"/>
                  </a:lnTo>
                  <a:lnTo>
                    <a:pt x="142" y="361"/>
                  </a:lnTo>
                  <a:lnTo>
                    <a:pt x="145" y="368"/>
                  </a:lnTo>
                  <a:lnTo>
                    <a:pt x="148" y="387"/>
                  </a:lnTo>
                  <a:lnTo>
                    <a:pt x="152" y="407"/>
                  </a:lnTo>
                  <a:lnTo>
                    <a:pt x="158" y="424"/>
                  </a:lnTo>
                  <a:lnTo>
                    <a:pt x="167" y="443"/>
                  </a:lnTo>
                  <a:lnTo>
                    <a:pt x="168" y="450"/>
                  </a:lnTo>
                  <a:lnTo>
                    <a:pt x="168" y="458"/>
                  </a:lnTo>
                  <a:lnTo>
                    <a:pt x="167" y="466"/>
                  </a:lnTo>
                  <a:lnTo>
                    <a:pt x="161" y="472"/>
                  </a:lnTo>
                  <a:lnTo>
                    <a:pt x="113" y="524"/>
                  </a:lnTo>
                  <a:lnTo>
                    <a:pt x="187" y="594"/>
                  </a:lnTo>
                  <a:lnTo>
                    <a:pt x="236" y="544"/>
                  </a:lnTo>
                  <a:lnTo>
                    <a:pt x="243" y="538"/>
                  </a:lnTo>
                  <a:lnTo>
                    <a:pt x="250" y="535"/>
                  </a:lnTo>
                  <a:lnTo>
                    <a:pt x="257" y="535"/>
                  </a:lnTo>
                  <a:lnTo>
                    <a:pt x="266" y="538"/>
                  </a:lnTo>
                  <a:lnTo>
                    <a:pt x="259" y="563"/>
                  </a:lnTo>
                  <a:lnTo>
                    <a:pt x="269" y="540"/>
                  </a:lnTo>
                  <a:close/>
                  <a:moveTo>
                    <a:pt x="362" y="701"/>
                  </a:moveTo>
                  <a:lnTo>
                    <a:pt x="354" y="699"/>
                  </a:lnTo>
                  <a:lnTo>
                    <a:pt x="347" y="695"/>
                  </a:lnTo>
                  <a:lnTo>
                    <a:pt x="341" y="689"/>
                  </a:lnTo>
                  <a:lnTo>
                    <a:pt x="337" y="682"/>
                  </a:lnTo>
                  <a:lnTo>
                    <a:pt x="315" y="606"/>
                  </a:lnTo>
                  <a:lnTo>
                    <a:pt x="302" y="603"/>
                  </a:lnTo>
                  <a:lnTo>
                    <a:pt x="288" y="600"/>
                  </a:lnTo>
                  <a:lnTo>
                    <a:pt x="275" y="597"/>
                  </a:lnTo>
                  <a:lnTo>
                    <a:pt x="262" y="593"/>
                  </a:lnTo>
                  <a:lnTo>
                    <a:pt x="207" y="649"/>
                  </a:lnTo>
                  <a:lnTo>
                    <a:pt x="203" y="653"/>
                  </a:lnTo>
                  <a:lnTo>
                    <a:pt x="198" y="655"/>
                  </a:lnTo>
                  <a:lnTo>
                    <a:pt x="194" y="658"/>
                  </a:lnTo>
                  <a:lnTo>
                    <a:pt x="188" y="658"/>
                  </a:lnTo>
                  <a:lnTo>
                    <a:pt x="184" y="658"/>
                  </a:lnTo>
                  <a:lnTo>
                    <a:pt x="180" y="656"/>
                  </a:lnTo>
                  <a:lnTo>
                    <a:pt x="174" y="653"/>
                  </a:lnTo>
                  <a:lnTo>
                    <a:pt x="169" y="651"/>
                  </a:lnTo>
                  <a:lnTo>
                    <a:pt x="57" y="543"/>
                  </a:lnTo>
                  <a:lnTo>
                    <a:pt x="54" y="540"/>
                  </a:lnTo>
                  <a:lnTo>
                    <a:pt x="51" y="535"/>
                  </a:lnTo>
                  <a:lnTo>
                    <a:pt x="50" y="530"/>
                  </a:lnTo>
                  <a:lnTo>
                    <a:pt x="50" y="525"/>
                  </a:lnTo>
                  <a:lnTo>
                    <a:pt x="50" y="519"/>
                  </a:lnTo>
                  <a:lnTo>
                    <a:pt x="51" y="515"/>
                  </a:lnTo>
                  <a:lnTo>
                    <a:pt x="54" y="511"/>
                  </a:lnTo>
                  <a:lnTo>
                    <a:pt x="57" y="507"/>
                  </a:lnTo>
                  <a:lnTo>
                    <a:pt x="112" y="449"/>
                  </a:lnTo>
                  <a:lnTo>
                    <a:pt x="106" y="435"/>
                  </a:lnTo>
                  <a:lnTo>
                    <a:pt x="102" y="422"/>
                  </a:lnTo>
                  <a:lnTo>
                    <a:pt x="97" y="406"/>
                  </a:lnTo>
                  <a:lnTo>
                    <a:pt x="95" y="391"/>
                  </a:lnTo>
                  <a:lnTo>
                    <a:pt x="18" y="373"/>
                  </a:lnTo>
                  <a:lnTo>
                    <a:pt x="14" y="370"/>
                  </a:lnTo>
                  <a:lnTo>
                    <a:pt x="10" y="368"/>
                  </a:lnTo>
                  <a:lnTo>
                    <a:pt x="5" y="364"/>
                  </a:lnTo>
                  <a:lnTo>
                    <a:pt x="2" y="360"/>
                  </a:lnTo>
                  <a:lnTo>
                    <a:pt x="1" y="355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0" y="341"/>
                  </a:lnTo>
                  <a:lnTo>
                    <a:pt x="38" y="190"/>
                  </a:lnTo>
                  <a:lnTo>
                    <a:pt x="40" y="185"/>
                  </a:lnTo>
                  <a:lnTo>
                    <a:pt x="43" y="181"/>
                  </a:lnTo>
                  <a:lnTo>
                    <a:pt x="46" y="177"/>
                  </a:lnTo>
                  <a:lnTo>
                    <a:pt x="50" y="174"/>
                  </a:lnTo>
                  <a:lnTo>
                    <a:pt x="54" y="171"/>
                  </a:lnTo>
                  <a:lnTo>
                    <a:pt x="60" y="171"/>
                  </a:lnTo>
                  <a:lnTo>
                    <a:pt x="64" y="170"/>
                  </a:lnTo>
                  <a:lnTo>
                    <a:pt x="70" y="171"/>
                  </a:lnTo>
                  <a:lnTo>
                    <a:pt x="146" y="191"/>
                  </a:lnTo>
                  <a:lnTo>
                    <a:pt x="155" y="180"/>
                  </a:lnTo>
                  <a:lnTo>
                    <a:pt x="165" y="170"/>
                  </a:lnTo>
                  <a:lnTo>
                    <a:pt x="174" y="161"/>
                  </a:lnTo>
                  <a:lnTo>
                    <a:pt x="185" y="151"/>
                  </a:lnTo>
                  <a:lnTo>
                    <a:pt x="164" y="76"/>
                  </a:lnTo>
                  <a:lnTo>
                    <a:pt x="162" y="70"/>
                  </a:lnTo>
                  <a:lnTo>
                    <a:pt x="162" y="64"/>
                  </a:lnTo>
                  <a:lnTo>
                    <a:pt x="164" y="60"/>
                  </a:lnTo>
                  <a:lnTo>
                    <a:pt x="165" y="56"/>
                  </a:lnTo>
                  <a:lnTo>
                    <a:pt x="168" y="51"/>
                  </a:lnTo>
                  <a:lnTo>
                    <a:pt x="172" y="47"/>
                  </a:lnTo>
                  <a:lnTo>
                    <a:pt x="177" y="44"/>
                  </a:lnTo>
                  <a:lnTo>
                    <a:pt x="181" y="43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5" y="1"/>
                  </a:lnTo>
                  <a:lnTo>
                    <a:pt x="349" y="3"/>
                  </a:lnTo>
                  <a:lnTo>
                    <a:pt x="354" y="5"/>
                  </a:lnTo>
                  <a:lnTo>
                    <a:pt x="358" y="8"/>
                  </a:lnTo>
                  <a:lnTo>
                    <a:pt x="361" y="13"/>
                  </a:lnTo>
                  <a:lnTo>
                    <a:pt x="362" y="18"/>
                  </a:lnTo>
                  <a:lnTo>
                    <a:pt x="384" y="95"/>
                  </a:lnTo>
                  <a:lnTo>
                    <a:pt x="398" y="96"/>
                  </a:lnTo>
                  <a:lnTo>
                    <a:pt x="411" y="99"/>
                  </a:lnTo>
                  <a:lnTo>
                    <a:pt x="424" y="103"/>
                  </a:lnTo>
                  <a:lnTo>
                    <a:pt x="437" y="108"/>
                  </a:lnTo>
                  <a:lnTo>
                    <a:pt x="492" y="50"/>
                  </a:lnTo>
                  <a:lnTo>
                    <a:pt x="496" y="47"/>
                  </a:lnTo>
                  <a:lnTo>
                    <a:pt x="501" y="44"/>
                  </a:lnTo>
                  <a:lnTo>
                    <a:pt x="505" y="43"/>
                  </a:lnTo>
                  <a:lnTo>
                    <a:pt x="511" y="41"/>
                  </a:lnTo>
                  <a:lnTo>
                    <a:pt x="515" y="43"/>
                  </a:lnTo>
                  <a:lnTo>
                    <a:pt x="521" y="43"/>
                  </a:lnTo>
                  <a:lnTo>
                    <a:pt x="525" y="46"/>
                  </a:lnTo>
                  <a:lnTo>
                    <a:pt x="529" y="49"/>
                  </a:lnTo>
                  <a:lnTo>
                    <a:pt x="642" y="157"/>
                  </a:lnTo>
                  <a:lnTo>
                    <a:pt x="645" y="161"/>
                  </a:lnTo>
                  <a:lnTo>
                    <a:pt x="648" y="165"/>
                  </a:lnTo>
                  <a:lnTo>
                    <a:pt x="649" y="170"/>
                  </a:lnTo>
                  <a:lnTo>
                    <a:pt x="650" y="175"/>
                  </a:lnTo>
                  <a:lnTo>
                    <a:pt x="649" y="180"/>
                  </a:lnTo>
                  <a:lnTo>
                    <a:pt x="648" y="185"/>
                  </a:lnTo>
                  <a:lnTo>
                    <a:pt x="646" y="190"/>
                  </a:lnTo>
                  <a:lnTo>
                    <a:pt x="643" y="194"/>
                  </a:lnTo>
                  <a:lnTo>
                    <a:pt x="589" y="250"/>
                  </a:lnTo>
                  <a:lnTo>
                    <a:pt x="593" y="265"/>
                  </a:lnTo>
                  <a:lnTo>
                    <a:pt x="599" y="279"/>
                  </a:lnTo>
                  <a:lnTo>
                    <a:pt x="601" y="293"/>
                  </a:lnTo>
                  <a:lnTo>
                    <a:pt x="604" y="308"/>
                  </a:lnTo>
                  <a:lnTo>
                    <a:pt x="681" y="328"/>
                  </a:lnTo>
                  <a:lnTo>
                    <a:pt x="686" y="329"/>
                  </a:lnTo>
                  <a:lnTo>
                    <a:pt x="691" y="332"/>
                  </a:lnTo>
                  <a:lnTo>
                    <a:pt x="694" y="335"/>
                  </a:lnTo>
                  <a:lnTo>
                    <a:pt x="697" y="339"/>
                  </a:lnTo>
                  <a:lnTo>
                    <a:pt x="699" y="344"/>
                  </a:lnTo>
                  <a:lnTo>
                    <a:pt x="701" y="350"/>
                  </a:lnTo>
                  <a:lnTo>
                    <a:pt x="701" y="354"/>
                  </a:lnTo>
                  <a:lnTo>
                    <a:pt x="699" y="360"/>
                  </a:lnTo>
                  <a:lnTo>
                    <a:pt x="661" y="509"/>
                  </a:lnTo>
                  <a:lnTo>
                    <a:pt x="659" y="515"/>
                  </a:lnTo>
                  <a:lnTo>
                    <a:pt x="656" y="519"/>
                  </a:lnTo>
                  <a:lnTo>
                    <a:pt x="653" y="522"/>
                  </a:lnTo>
                  <a:lnTo>
                    <a:pt x="649" y="525"/>
                  </a:lnTo>
                  <a:lnTo>
                    <a:pt x="645" y="528"/>
                  </a:lnTo>
                  <a:lnTo>
                    <a:pt x="640" y="530"/>
                  </a:lnTo>
                  <a:lnTo>
                    <a:pt x="635" y="530"/>
                  </a:lnTo>
                  <a:lnTo>
                    <a:pt x="629" y="528"/>
                  </a:lnTo>
                  <a:lnTo>
                    <a:pt x="553" y="509"/>
                  </a:lnTo>
                  <a:lnTo>
                    <a:pt x="544" y="519"/>
                  </a:lnTo>
                  <a:lnTo>
                    <a:pt x="535" y="530"/>
                  </a:lnTo>
                  <a:lnTo>
                    <a:pt x="525" y="540"/>
                  </a:lnTo>
                  <a:lnTo>
                    <a:pt x="515" y="548"/>
                  </a:lnTo>
                  <a:lnTo>
                    <a:pt x="537" y="625"/>
                  </a:lnTo>
                  <a:lnTo>
                    <a:pt x="537" y="629"/>
                  </a:lnTo>
                  <a:lnTo>
                    <a:pt x="537" y="635"/>
                  </a:lnTo>
                  <a:lnTo>
                    <a:pt x="537" y="639"/>
                  </a:lnTo>
                  <a:lnTo>
                    <a:pt x="534" y="645"/>
                  </a:lnTo>
                  <a:lnTo>
                    <a:pt x="531" y="649"/>
                  </a:lnTo>
                  <a:lnTo>
                    <a:pt x="528" y="652"/>
                  </a:lnTo>
                  <a:lnTo>
                    <a:pt x="524" y="655"/>
                  </a:lnTo>
                  <a:lnTo>
                    <a:pt x="518" y="656"/>
                  </a:lnTo>
                  <a:lnTo>
                    <a:pt x="370" y="699"/>
                  </a:lnTo>
                  <a:lnTo>
                    <a:pt x="365" y="701"/>
                  </a:lnTo>
                  <a:lnTo>
                    <a:pt x="362" y="7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3516078" y="2362433"/>
            <a:ext cx="322321" cy="413909"/>
            <a:chOff x="6248400" y="1760538"/>
            <a:chExt cx="581025" cy="746125"/>
          </a:xfrm>
          <a:solidFill>
            <a:schemeClr val="bg1"/>
          </a:solidFill>
        </p:grpSpPr>
        <p:sp>
          <p:nvSpPr>
            <p:cNvPr id="279" name="Freeform 119"/>
            <p:cNvSpPr>
              <a:spLocks/>
            </p:cNvSpPr>
            <p:nvPr/>
          </p:nvSpPr>
          <p:spPr bwMode="auto">
            <a:xfrm>
              <a:off x="6386513" y="1982788"/>
              <a:ext cx="28575" cy="26988"/>
            </a:xfrm>
            <a:custGeom>
              <a:avLst/>
              <a:gdLst>
                <a:gd name="T0" fmla="*/ 27 w 53"/>
                <a:gd name="T1" fmla="*/ 51 h 51"/>
                <a:gd name="T2" fmla="*/ 21 w 53"/>
                <a:gd name="T3" fmla="*/ 51 h 51"/>
                <a:gd name="T4" fmla="*/ 17 w 53"/>
                <a:gd name="T5" fmla="*/ 50 h 51"/>
                <a:gd name="T6" fmla="*/ 13 w 53"/>
                <a:gd name="T7" fmla="*/ 47 h 51"/>
                <a:gd name="T8" fmla="*/ 8 w 53"/>
                <a:gd name="T9" fmla="*/ 44 h 51"/>
                <a:gd name="T10" fmla="*/ 5 w 53"/>
                <a:gd name="T11" fmla="*/ 40 h 51"/>
                <a:gd name="T12" fmla="*/ 3 w 53"/>
                <a:gd name="T13" fmla="*/ 36 h 51"/>
                <a:gd name="T14" fmla="*/ 1 w 53"/>
                <a:gd name="T15" fmla="*/ 31 h 51"/>
                <a:gd name="T16" fmla="*/ 0 w 53"/>
                <a:gd name="T17" fmla="*/ 25 h 51"/>
                <a:gd name="T18" fmla="*/ 1 w 53"/>
                <a:gd name="T19" fmla="*/ 21 h 51"/>
                <a:gd name="T20" fmla="*/ 3 w 53"/>
                <a:gd name="T21" fmla="*/ 15 h 51"/>
                <a:gd name="T22" fmla="*/ 5 w 53"/>
                <a:gd name="T23" fmla="*/ 11 h 51"/>
                <a:gd name="T24" fmla="*/ 8 w 53"/>
                <a:gd name="T25" fmla="*/ 7 h 51"/>
                <a:gd name="T26" fmla="*/ 13 w 53"/>
                <a:gd name="T27" fmla="*/ 4 h 51"/>
                <a:gd name="T28" fmla="*/ 17 w 53"/>
                <a:gd name="T29" fmla="*/ 2 h 51"/>
                <a:gd name="T30" fmla="*/ 21 w 53"/>
                <a:gd name="T31" fmla="*/ 1 h 51"/>
                <a:gd name="T32" fmla="*/ 27 w 53"/>
                <a:gd name="T33" fmla="*/ 0 h 51"/>
                <a:gd name="T34" fmla="*/ 31 w 53"/>
                <a:gd name="T35" fmla="*/ 1 h 51"/>
                <a:gd name="T36" fmla="*/ 37 w 53"/>
                <a:gd name="T37" fmla="*/ 2 h 51"/>
                <a:gd name="T38" fmla="*/ 41 w 53"/>
                <a:gd name="T39" fmla="*/ 4 h 51"/>
                <a:gd name="T40" fmla="*/ 44 w 53"/>
                <a:gd name="T41" fmla="*/ 7 h 51"/>
                <a:gd name="T42" fmla="*/ 49 w 53"/>
                <a:gd name="T43" fmla="*/ 11 h 51"/>
                <a:gd name="T44" fmla="*/ 50 w 53"/>
                <a:gd name="T45" fmla="*/ 15 h 51"/>
                <a:gd name="T46" fmla="*/ 51 w 53"/>
                <a:gd name="T47" fmla="*/ 21 h 51"/>
                <a:gd name="T48" fmla="*/ 53 w 53"/>
                <a:gd name="T49" fmla="*/ 25 h 51"/>
                <a:gd name="T50" fmla="*/ 51 w 53"/>
                <a:gd name="T51" fmla="*/ 31 h 51"/>
                <a:gd name="T52" fmla="*/ 50 w 53"/>
                <a:gd name="T53" fmla="*/ 36 h 51"/>
                <a:gd name="T54" fmla="*/ 49 w 53"/>
                <a:gd name="T55" fmla="*/ 40 h 51"/>
                <a:gd name="T56" fmla="*/ 44 w 53"/>
                <a:gd name="T57" fmla="*/ 44 h 51"/>
                <a:gd name="T58" fmla="*/ 41 w 53"/>
                <a:gd name="T59" fmla="*/ 47 h 51"/>
                <a:gd name="T60" fmla="*/ 37 w 53"/>
                <a:gd name="T61" fmla="*/ 50 h 51"/>
                <a:gd name="T62" fmla="*/ 31 w 53"/>
                <a:gd name="T63" fmla="*/ 51 h 51"/>
                <a:gd name="T64" fmla="*/ 27 w 53"/>
                <a:gd name="T6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1">
                  <a:moveTo>
                    <a:pt x="27" y="51"/>
                  </a:moveTo>
                  <a:lnTo>
                    <a:pt x="21" y="51"/>
                  </a:lnTo>
                  <a:lnTo>
                    <a:pt x="17" y="50"/>
                  </a:lnTo>
                  <a:lnTo>
                    <a:pt x="13" y="47"/>
                  </a:lnTo>
                  <a:lnTo>
                    <a:pt x="8" y="44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1" y="21"/>
                  </a:lnTo>
                  <a:lnTo>
                    <a:pt x="3" y="15"/>
                  </a:lnTo>
                  <a:lnTo>
                    <a:pt x="5" y="11"/>
                  </a:lnTo>
                  <a:lnTo>
                    <a:pt x="8" y="7"/>
                  </a:lnTo>
                  <a:lnTo>
                    <a:pt x="13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7" y="2"/>
                  </a:lnTo>
                  <a:lnTo>
                    <a:pt x="41" y="4"/>
                  </a:lnTo>
                  <a:lnTo>
                    <a:pt x="44" y="7"/>
                  </a:lnTo>
                  <a:lnTo>
                    <a:pt x="49" y="11"/>
                  </a:lnTo>
                  <a:lnTo>
                    <a:pt x="50" y="15"/>
                  </a:lnTo>
                  <a:lnTo>
                    <a:pt x="51" y="21"/>
                  </a:lnTo>
                  <a:lnTo>
                    <a:pt x="53" y="25"/>
                  </a:lnTo>
                  <a:lnTo>
                    <a:pt x="51" y="31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4"/>
                  </a:lnTo>
                  <a:lnTo>
                    <a:pt x="41" y="47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20"/>
            <p:cNvSpPr>
              <a:spLocks/>
            </p:cNvSpPr>
            <p:nvPr/>
          </p:nvSpPr>
          <p:spPr bwMode="auto">
            <a:xfrm>
              <a:off x="6442075" y="1982788"/>
              <a:ext cx="249238" cy="26988"/>
            </a:xfrm>
            <a:custGeom>
              <a:avLst/>
              <a:gdLst>
                <a:gd name="T0" fmla="*/ 443 w 471"/>
                <a:gd name="T1" fmla="*/ 51 h 51"/>
                <a:gd name="T2" fmla="*/ 26 w 471"/>
                <a:gd name="T3" fmla="*/ 51 h 51"/>
                <a:gd name="T4" fmla="*/ 21 w 471"/>
                <a:gd name="T5" fmla="*/ 51 h 51"/>
                <a:gd name="T6" fmla="*/ 16 w 471"/>
                <a:gd name="T7" fmla="*/ 50 h 51"/>
                <a:gd name="T8" fmla="*/ 11 w 471"/>
                <a:gd name="T9" fmla="*/ 47 h 51"/>
                <a:gd name="T10" fmla="*/ 7 w 471"/>
                <a:gd name="T11" fmla="*/ 44 h 51"/>
                <a:gd name="T12" fmla="*/ 4 w 471"/>
                <a:gd name="T13" fmla="*/ 40 h 51"/>
                <a:gd name="T14" fmla="*/ 1 w 471"/>
                <a:gd name="T15" fmla="*/ 36 h 51"/>
                <a:gd name="T16" fmla="*/ 0 w 471"/>
                <a:gd name="T17" fmla="*/ 31 h 51"/>
                <a:gd name="T18" fmla="*/ 0 w 471"/>
                <a:gd name="T19" fmla="*/ 25 h 51"/>
                <a:gd name="T20" fmla="*/ 0 w 471"/>
                <a:gd name="T21" fmla="*/ 21 h 51"/>
                <a:gd name="T22" fmla="*/ 1 w 471"/>
                <a:gd name="T23" fmla="*/ 15 h 51"/>
                <a:gd name="T24" fmla="*/ 4 w 471"/>
                <a:gd name="T25" fmla="*/ 11 h 51"/>
                <a:gd name="T26" fmla="*/ 7 w 471"/>
                <a:gd name="T27" fmla="*/ 7 h 51"/>
                <a:gd name="T28" fmla="*/ 11 w 471"/>
                <a:gd name="T29" fmla="*/ 4 h 51"/>
                <a:gd name="T30" fmla="*/ 16 w 471"/>
                <a:gd name="T31" fmla="*/ 1 h 51"/>
                <a:gd name="T32" fmla="*/ 21 w 471"/>
                <a:gd name="T33" fmla="*/ 0 h 51"/>
                <a:gd name="T34" fmla="*/ 26 w 471"/>
                <a:gd name="T35" fmla="*/ 0 h 51"/>
                <a:gd name="T36" fmla="*/ 443 w 471"/>
                <a:gd name="T37" fmla="*/ 0 h 51"/>
                <a:gd name="T38" fmla="*/ 449 w 471"/>
                <a:gd name="T39" fmla="*/ 0 h 51"/>
                <a:gd name="T40" fmla="*/ 453 w 471"/>
                <a:gd name="T41" fmla="*/ 1 h 51"/>
                <a:gd name="T42" fmla="*/ 459 w 471"/>
                <a:gd name="T43" fmla="*/ 4 h 51"/>
                <a:gd name="T44" fmla="*/ 462 w 471"/>
                <a:gd name="T45" fmla="*/ 7 h 51"/>
                <a:gd name="T46" fmla="*/ 465 w 471"/>
                <a:gd name="T47" fmla="*/ 11 h 51"/>
                <a:gd name="T48" fmla="*/ 468 w 471"/>
                <a:gd name="T49" fmla="*/ 15 h 51"/>
                <a:gd name="T50" fmla="*/ 469 w 471"/>
                <a:gd name="T51" fmla="*/ 21 h 51"/>
                <a:gd name="T52" fmla="*/ 471 w 471"/>
                <a:gd name="T53" fmla="*/ 25 h 51"/>
                <a:gd name="T54" fmla="*/ 469 w 471"/>
                <a:gd name="T55" fmla="*/ 31 h 51"/>
                <a:gd name="T56" fmla="*/ 468 w 471"/>
                <a:gd name="T57" fmla="*/ 36 h 51"/>
                <a:gd name="T58" fmla="*/ 465 w 471"/>
                <a:gd name="T59" fmla="*/ 40 h 51"/>
                <a:gd name="T60" fmla="*/ 462 w 471"/>
                <a:gd name="T61" fmla="*/ 44 h 51"/>
                <a:gd name="T62" fmla="*/ 459 w 471"/>
                <a:gd name="T63" fmla="*/ 47 h 51"/>
                <a:gd name="T64" fmla="*/ 453 w 471"/>
                <a:gd name="T65" fmla="*/ 50 h 51"/>
                <a:gd name="T66" fmla="*/ 449 w 471"/>
                <a:gd name="T67" fmla="*/ 51 h 51"/>
                <a:gd name="T68" fmla="*/ 443 w 471"/>
                <a:gd name="T6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1">
                  <a:moveTo>
                    <a:pt x="443" y="51"/>
                  </a:moveTo>
                  <a:lnTo>
                    <a:pt x="26" y="51"/>
                  </a:lnTo>
                  <a:lnTo>
                    <a:pt x="21" y="51"/>
                  </a:lnTo>
                  <a:lnTo>
                    <a:pt x="16" y="50"/>
                  </a:lnTo>
                  <a:lnTo>
                    <a:pt x="11" y="47"/>
                  </a:lnTo>
                  <a:lnTo>
                    <a:pt x="7" y="44"/>
                  </a:lnTo>
                  <a:lnTo>
                    <a:pt x="4" y="40"/>
                  </a:lnTo>
                  <a:lnTo>
                    <a:pt x="1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0"/>
                  </a:lnTo>
                  <a:lnTo>
                    <a:pt x="453" y="1"/>
                  </a:lnTo>
                  <a:lnTo>
                    <a:pt x="459" y="4"/>
                  </a:lnTo>
                  <a:lnTo>
                    <a:pt x="462" y="7"/>
                  </a:lnTo>
                  <a:lnTo>
                    <a:pt x="465" y="11"/>
                  </a:lnTo>
                  <a:lnTo>
                    <a:pt x="468" y="15"/>
                  </a:lnTo>
                  <a:lnTo>
                    <a:pt x="469" y="21"/>
                  </a:lnTo>
                  <a:lnTo>
                    <a:pt x="471" y="25"/>
                  </a:lnTo>
                  <a:lnTo>
                    <a:pt x="469" y="31"/>
                  </a:lnTo>
                  <a:lnTo>
                    <a:pt x="468" y="36"/>
                  </a:lnTo>
                  <a:lnTo>
                    <a:pt x="465" y="40"/>
                  </a:lnTo>
                  <a:lnTo>
                    <a:pt x="462" y="44"/>
                  </a:lnTo>
                  <a:lnTo>
                    <a:pt x="459" y="47"/>
                  </a:lnTo>
                  <a:lnTo>
                    <a:pt x="453" y="50"/>
                  </a:lnTo>
                  <a:lnTo>
                    <a:pt x="449" y="51"/>
                  </a:lnTo>
                  <a:lnTo>
                    <a:pt x="44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25"/>
            <p:cNvSpPr>
              <a:spLocks/>
            </p:cNvSpPr>
            <p:nvPr/>
          </p:nvSpPr>
          <p:spPr bwMode="auto">
            <a:xfrm>
              <a:off x="6386513" y="209232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2 h 52"/>
                <a:gd name="T4" fmla="*/ 17 w 53"/>
                <a:gd name="T5" fmla="*/ 51 h 52"/>
                <a:gd name="T6" fmla="*/ 13 w 53"/>
                <a:gd name="T7" fmla="*/ 48 h 52"/>
                <a:gd name="T8" fmla="*/ 8 w 53"/>
                <a:gd name="T9" fmla="*/ 45 h 52"/>
                <a:gd name="T10" fmla="*/ 5 w 53"/>
                <a:gd name="T11" fmla="*/ 41 h 52"/>
                <a:gd name="T12" fmla="*/ 3 w 53"/>
                <a:gd name="T13" fmla="*/ 36 h 52"/>
                <a:gd name="T14" fmla="*/ 1 w 53"/>
                <a:gd name="T15" fmla="*/ 32 h 52"/>
                <a:gd name="T16" fmla="*/ 0 w 53"/>
                <a:gd name="T17" fmla="*/ 26 h 52"/>
                <a:gd name="T18" fmla="*/ 1 w 53"/>
                <a:gd name="T19" fmla="*/ 22 h 52"/>
                <a:gd name="T20" fmla="*/ 3 w 53"/>
                <a:gd name="T21" fmla="*/ 16 h 52"/>
                <a:gd name="T22" fmla="*/ 5 w 53"/>
                <a:gd name="T23" fmla="*/ 12 h 52"/>
                <a:gd name="T24" fmla="*/ 8 w 53"/>
                <a:gd name="T25" fmla="*/ 8 h 52"/>
                <a:gd name="T26" fmla="*/ 13 w 53"/>
                <a:gd name="T27" fmla="*/ 5 h 52"/>
                <a:gd name="T28" fmla="*/ 17 w 53"/>
                <a:gd name="T29" fmla="*/ 3 h 52"/>
                <a:gd name="T30" fmla="*/ 21 w 53"/>
                <a:gd name="T31" fmla="*/ 2 h 52"/>
                <a:gd name="T32" fmla="*/ 27 w 53"/>
                <a:gd name="T33" fmla="*/ 0 h 52"/>
                <a:gd name="T34" fmla="*/ 31 w 53"/>
                <a:gd name="T35" fmla="*/ 2 h 52"/>
                <a:gd name="T36" fmla="*/ 37 w 53"/>
                <a:gd name="T37" fmla="*/ 3 h 52"/>
                <a:gd name="T38" fmla="*/ 41 w 53"/>
                <a:gd name="T39" fmla="*/ 5 h 52"/>
                <a:gd name="T40" fmla="*/ 44 w 53"/>
                <a:gd name="T41" fmla="*/ 8 h 52"/>
                <a:gd name="T42" fmla="*/ 49 w 53"/>
                <a:gd name="T43" fmla="*/ 12 h 52"/>
                <a:gd name="T44" fmla="*/ 50 w 53"/>
                <a:gd name="T45" fmla="*/ 16 h 52"/>
                <a:gd name="T46" fmla="*/ 51 w 53"/>
                <a:gd name="T47" fmla="*/ 22 h 52"/>
                <a:gd name="T48" fmla="*/ 53 w 53"/>
                <a:gd name="T49" fmla="*/ 26 h 52"/>
                <a:gd name="T50" fmla="*/ 51 w 53"/>
                <a:gd name="T51" fmla="*/ 32 h 52"/>
                <a:gd name="T52" fmla="*/ 50 w 53"/>
                <a:gd name="T53" fmla="*/ 36 h 52"/>
                <a:gd name="T54" fmla="*/ 49 w 53"/>
                <a:gd name="T55" fmla="*/ 41 h 52"/>
                <a:gd name="T56" fmla="*/ 44 w 53"/>
                <a:gd name="T57" fmla="*/ 45 h 52"/>
                <a:gd name="T58" fmla="*/ 41 w 53"/>
                <a:gd name="T59" fmla="*/ 48 h 52"/>
                <a:gd name="T60" fmla="*/ 37 w 53"/>
                <a:gd name="T61" fmla="*/ 51 h 52"/>
                <a:gd name="T62" fmla="*/ 31 w 53"/>
                <a:gd name="T63" fmla="*/ 52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2"/>
                  </a:lnTo>
                  <a:lnTo>
                    <a:pt x="17" y="51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8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5"/>
                  </a:lnTo>
                  <a:lnTo>
                    <a:pt x="44" y="8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1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1"/>
                  </a:lnTo>
                  <a:lnTo>
                    <a:pt x="31" y="52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26"/>
            <p:cNvSpPr>
              <a:spLocks/>
            </p:cNvSpPr>
            <p:nvPr/>
          </p:nvSpPr>
          <p:spPr bwMode="auto">
            <a:xfrm>
              <a:off x="6442075" y="2092326"/>
              <a:ext cx="249238" cy="26988"/>
            </a:xfrm>
            <a:custGeom>
              <a:avLst/>
              <a:gdLst>
                <a:gd name="T0" fmla="*/ 443 w 471"/>
                <a:gd name="T1" fmla="*/ 52 h 52"/>
                <a:gd name="T2" fmla="*/ 26 w 471"/>
                <a:gd name="T3" fmla="*/ 52 h 52"/>
                <a:gd name="T4" fmla="*/ 21 w 471"/>
                <a:gd name="T5" fmla="*/ 52 h 52"/>
                <a:gd name="T6" fmla="*/ 16 w 471"/>
                <a:gd name="T7" fmla="*/ 51 h 52"/>
                <a:gd name="T8" fmla="*/ 11 w 471"/>
                <a:gd name="T9" fmla="*/ 48 h 52"/>
                <a:gd name="T10" fmla="*/ 7 w 471"/>
                <a:gd name="T11" fmla="*/ 45 h 52"/>
                <a:gd name="T12" fmla="*/ 4 w 471"/>
                <a:gd name="T13" fmla="*/ 41 h 52"/>
                <a:gd name="T14" fmla="*/ 1 w 471"/>
                <a:gd name="T15" fmla="*/ 36 h 52"/>
                <a:gd name="T16" fmla="*/ 0 w 471"/>
                <a:gd name="T17" fmla="*/ 32 h 52"/>
                <a:gd name="T18" fmla="*/ 0 w 471"/>
                <a:gd name="T19" fmla="*/ 26 h 52"/>
                <a:gd name="T20" fmla="*/ 0 w 471"/>
                <a:gd name="T21" fmla="*/ 22 h 52"/>
                <a:gd name="T22" fmla="*/ 1 w 471"/>
                <a:gd name="T23" fmla="*/ 16 h 52"/>
                <a:gd name="T24" fmla="*/ 4 w 471"/>
                <a:gd name="T25" fmla="*/ 12 h 52"/>
                <a:gd name="T26" fmla="*/ 7 w 471"/>
                <a:gd name="T27" fmla="*/ 8 h 52"/>
                <a:gd name="T28" fmla="*/ 11 w 471"/>
                <a:gd name="T29" fmla="*/ 5 h 52"/>
                <a:gd name="T30" fmla="*/ 16 w 471"/>
                <a:gd name="T31" fmla="*/ 3 h 52"/>
                <a:gd name="T32" fmla="*/ 21 w 471"/>
                <a:gd name="T33" fmla="*/ 2 h 52"/>
                <a:gd name="T34" fmla="*/ 26 w 471"/>
                <a:gd name="T35" fmla="*/ 0 h 52"/>
                <a:gd name="T36" fmla="*/ 443 w 471"/>
                <a:gd name="T37" fmla="*/ 0 h 52"/>
                <a:gd name="T38" fmla="*/ 449 w 471"/>
                <a:gd name="T39" fmla="*/ 2 h 52"/>
                <a:gd name="T40" fmla="*/ 453 w 471"/>
                <a:gd name="T41" fmla="*/ 3 h 52"/>
                <a:gd name="T42" fmla="*/ 459 w 471"/>
                <a:gd name="T43" fmla="*/ 5 h 52"/>
                <a:gd name="T44" fmla="*/ 462 w 471"/>
                <a:gd name="T45" fmla="*/ 8 h 52"/>
                <a:gd name="T46" fmla="*/ 465 w 471"/>
                <a:gd name="T47" fmla="*/ 12 h 52"/>
                <a:gd name="T48" fmla="*/ 468 w 471"/>
                <a:gd name="T49" fmla="*/ 16 h 52"/>
                <a:gd name="T50" fmla="*/ 469 w 471"/>
                <a:gd name="T51" fmla="*/ 22 h 52"/>
                <a:gd name="T52" fmla="*/ 471 w 471"/>
                <a:gd name="T53" fmla="*/ 26 h 52"/>
                <a:gd name="T54" fmla="*/ 469 w 471"/>
                <a:gd name="T55" fmla="*/ 32 h 52"/>
                <a:gd name="T56" fmla="*/ 468 w 471"/>
                <a:gd name="T57" fmla="*/ 36 h 52"/>
                <a:gd name="T58" fmla="*/ 465 w 471"/>
                <a:gd name="T59" fmla="*/ 41 h 52"/>
                <a:gd name="T60" fmla="*/ 462 w 471"/>
                <a:gd name="T61" fmla="*/ 45 h 52"/>
                <a:gd name="T62" fmla="*/ 459 w 471"/>
                <a:gd name="T63" fmla="*/ 48 h 52"/>
                <a:gd name="T64" fmla="*/ 453 w 471"/>
                <a:gd name="T65" fmla="*/ 51 h 52"/>
                <a:gd name="T66" fmla="*/ 449 w 471"/>
                <a:gd name="T67" fmla="*/ 52 h 52"/>
                <a:gd name="T68" fmla="*/ 443 w 471"/>
                <a:gd name="T6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2">
                  <a:moveTo>
                    <a:pt x="443" y="52"/>
                  </a:moveTo>
                  <a:lnTo>
                    <a:pt x="26" y="52"/>
                  </a:lnTo>
                  <a:lnTo>
                    <a:pt x="21" y="52"/>
                  </a:lnTo>
                  <a:lnTo>
                    <a:pt x="16" y="51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1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5"/>
                  </a:lnTo>
                  <a:lnTo>
                    <a:pt x="462" y="8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1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1"/>
                  </a:lnTo>
                  <a:lnTo>
                    <a:pt x="449" y="52"/>
                  </a:lnTo>
                  <a:lnTo>
                    <a:pt x="44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27"/>
            <p:cNvSpPr>
              <a:spLocks/>
            </p:cNvSpPr>
            <p:nvPr/>
          </p:nvSpPr>
          <p:spPr bwMode="auto">
            <a:xfrm>
              <a:off x="6386513" y="2203451"/>
              <a:ext cx="28575" cy="26988"/>
            </a:xfrm>
            <a:custGeom>
              <a:avLst/>
              <a:gdLst>
                <a:gd name="T0" fmla="*/ 27 w 53"/>
                <a:gd name="T1" fmla="*/ 53 h 53"/>
                <a:gd name="T2" fmla="*/ 21 w 53"/>
                <a:gd name="T3" fmla="*/ 52 h 53"/>
                <a:gd name="T4" fmla="*/ 17 w 53"/>
                <a:gd name="T5" fmla="*/ 50 h 53"/>
                <a:gd name="T6" fmla="*/ 13 w 53"/>
                <a:gd name="T7" fmla="*/ 48 h 53"/>
                <a:gd name="T8" fmla="*/ 8 w 53"/>
                <a:gd name="T9" fmla="*/ 45 h 53"/>
                <a:gd name="T10" fmla="*/ 5 w 53"/>
                <a:gd name="T11" fmla="*/ 40 h 53"/>
                <a:gd name="T12" fmla="*/ 3 w 53"/>
                <a:gd name="T13" fmla="*/ 36 h 53"/>
                <a:gd name="T14" fmla="*/ 1 w 53"/>
                <a:gd name="T15" fmla="*/ 32 h 53"/>
                <a:gd name="T16" fmla="*/ 0 w 53"/>
                <a:gd name="T17" fmla="*/ 26 h 53"/>
                <a:gd name="T18" fmla="*/ 1 w 53"/>
                <a:gd name="T19" fmla="*/ 22 h 53"/>
                <a:gd name="T20" fmla="*/ 3 w 53"/>
                <a:gd name="T21" fmla="*/ 16 h 53"/>
                <a:gd name="T22" fmla="*/ 5 w 53"/>
                <a:gd name="T23" fmla="*/ 12 h 53"/>
                <a:gd name="T24" fmla="*/ 8 w 53"/>
                <a:gd name="T25" fmla="*/ 9 h 53"/>
                <a:gd name="T26" fmla="*/ 13 w 53"/>
                <a:gd name="T27" fmla="*/ 4 h 53"/>
                <a:gd name="T28" fmla="*/ 17 w 53"/>
                <a:gd name="T29" fmla="*/ 3 h 53"/>
                <a:gd name="T30" fmla="*/ 21 w 53"/>
                <a:gd name="T31" fmla="*/ 2 h 53"/>
                <a:gd name="T32" fmla="*/ 27 w 53"/>
                <a:gd name="T33" fmla="*/ 0 h 53"/>
                <a:gd name="T34" fmla="*/ 31 w 53"/>
                <a:gd name="T35" fmla="*/ 2 h 53"/>
                <a:gd name="T36" fmla="*/ 37 w 53"/>
                <a:gd name="T37" fmla="*/ 3 h 53"/>
                <a:gd name="T38" fmla="*/ 41 w 53"/>
                <a:gd name="T39" fmla="*/ 4 h 53"/>
                <a:gd name="T40" fmla="*/ 44 w 53"/>
                <a:gd name="T41" fmla="*/ 9 h 53"/>
                <a:gd name="T42" fmla="*/ 49 w 53"/>
                <a:gd name="T43" fmla="*/ 12 h 53"/>
                <a:gd name="T44" fmla="*/ 50 w 53"/>
                <a:gd name="T45" fmla="*/ 16 h 53"/>
                <a:gd name="T46" fmla="*/ 51 w 53"/>
                <a:gd name="T47" fmla="*/ 22 h 53"/>
                <a:gd name="T48" fmla="*/ 53 w 53"/>
                <a:gd name="T49" fmla="*/ 26 h 53"/>
                <a:gd name="T50" fmla="*/ 51 w 53"/>
                <a:gd name="T51" fmla="*/ 32 h 53"/>
                <a:gd name="T52" fmla="*/ 50 w 53"/>
                <a:gd name="T53" fmla="*/ 36 h 53"/>
                <a:gd name="T54" fmla="*/ 49 w 53"/>
                <a:gd name="T55" fmla="*/ 40 h 53"/>
                <a:gd name="T56" fmla="*/ 44 w 53"/>
                <a:gd name="T57" fmla="*/ 45 h 53"/>
                <a:gd name="T58" fmla="*/ 41 w 53"/>
                <a:gd name="T59" fmla="*/ 48 h 53"/>
                <a:gd name="T60" fmla="*/ 37 w 53"/>
                <a:gd name="T61" fmla="*/ 50 h 53"/>
                <a:gd name="T62" fmla="*/ 31 w 53"/>
                <a:gd name="T63" fmla="*/ 52 h 53"/>
                <a:gd name="T64" fmla="*/ 27 w 53"/>
                <a:gd name="T6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3">
                  <a:moveTo>
                    <a:pt x="27" y="53"/>
                  </a:moveTo>
                  <a:lnTo>
                    <a:pt x="21" y="52"/>
                  </a:lnTo>
                  <a:lnTo>
                    <a:pt x="17" y="50"/>
                  </a:lnTo>
                  <a:lnTo>
                    <a:pt x="13" y="48"/>
                  </a:lnTo>
                  <a:lnTo>
                    <a:pt x="8" y="45"/>
                  </a:lnTo>
                  <a:lnTo>
                    <a:pt x="5" y="40"/>
                  </a:lnTo>
                  <a:lnTo>
                    <a:pt x="3" y="36"/>
                  </a:lnTo>
                  <a:lnTo>
                    <a:pt x="1" y="32"/>
                  </a:lnTo>
                  <a:lnTo>
                    <a:pt x="0" y="26"/>
                  </a:lnTo>
                  <a:lnTo>
                    <a:pt x="1" y="2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7" y="3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1" y="2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4" y="9"/>
                  </a:lnTo>
                  <a:lnTo>
                    <a:pt x="49" y="12"/>
                  </a:lnTo>
                  <a:lnTo>
                    <a:pt x="50" y="16"/>
                  </a:lnTo>
                  <a:lnTo>
                    <a:pt x="51" y="22"/>
                  </a:lnTo>
                  <a:lnTo>
                    <a:pt x="53" y="26"/>
                  </a:lnTo>
                  <a:lnTo>
                    <a:pt x="51" y="32"/>
                  </a:lnTo>
                  <a:lnTo>
                    <a:pt x="50" y="36"/>
                  </a:lnTo>
                  <a:lnTo>
                    <a:pt x="49" y="40"/>
                  </a:lnTo>
                  <a:lnTo>
                    <a:pt x="44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28"/>
            <p:cNvSpPr>
              <a:spLocks/>
            </p:cNvSpPr>
            <p:nvPr/>
          </p:nvSpPr>
          <p:spPr bwMode="auto">
            <a:xfrm>
              <a:off x="6442075" y="2203451"/>
              <a:ext cx="249238" cy="26988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8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6 h 53"/>
                <a:gd name="T16" fmla="*/ 0 w 471"/>
                <a:gd name="T17" fmla="*/ 32 h 53"/>
                <a:gd name="T18" fmla="*/ 0 w 471"/>
                <a:gd name="T19" fmla="*/ 26 h 53"/>
                <a:gd name="T20" fmla="*/ 0 w 471"/>
                <a:gd name="T21" fmla="*/ 22 h 53"/>
                <a:gd name="T22" fmla="*/ 1 w 471"/>
                <a:gd name="T23" fmla="*/ 16 h 53"/>
                <a:gd name="T24" fmla="*/ 4 w 471"/>
                <a:gd name="T25" fmla="*/ 12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2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2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2 h 53"/>
                <a:gd name="T48" fmla="*/ 468 w 471"/>
                <a:gd name="T49" fmla="*/ 16 h 53"/>
                <a:gd name="T50" fmla="*/ 469 w 471"/>
                <a:gd name="T51" fmla="*/ 22 h 53"/>
                <a:gd name="T52" fmla="*/ 471 w 471"/>
                <a:gd name="T53" fmla="*/ 26 h 53"/>
                <a:gd name="T54" fmla="*/ 469 w 471"/>
                <a:gd name="T55" fmla="*/ 32 h 53"/>
                <a:gd name="T56" fmla="*/ 468 w 471"/>
                <a:gd name="T57" fmla="*/ 36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8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1" y="16"/>
                  </a:lnTo>
                  <a:lnTo>
                    <a:pt x="4" y="12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2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2"/>
                  </a:lnTo>
                  <a:lnTo>
                    <a:pt x="468" y="16"/>
                  </a:lnTo>
                  <a:lnTo>
                    <a:pt x="469" y="22"/>
                  </a:lnTo>
                  <a:lnTo>
                    <a:pt x="471" y="26"/>
                  </a:lnTo>
                  <a:lnTo>
                    <a:pt x="469" y="32"/>
                  </a:lnTo>
                  <a:lnTo>
                    <a:pt x="468" y="36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8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29"/>
            <p:cNvSpPr>
              <a:spLocks/>
            </p:cNvSpPr>
            <p:nvPr/>
          </p:nvSpPr>
          <p:spPr bwMode="auto">
            <a:xfrm>
              <a:off x="6386513" y="2314576"/>
              <a:ext cx="28575" cy="26988"/>
            </a:xfrm>
            <a:custGeom>
              <a:avLst/>
              <a:gdLst>
                <a:gd name="T0" fmla="*/ 27 w 53"/>
                <a:gd name="T1" fmla="*/ 52 h 52"/>
                <a:gd name="T2" fmla="*/ 21 w 53"/>
                <a:gd name="T3" fmla="*/ 51 h 52"/>
                <a:gd name="T4" fmla="*/ 17 w 53"/>
                <a:gd name="T5" fmla="*/ 49 h 52"/>
                <a:gd name="T6" fmla="*/ 13 w 53"/>
                <a:gd name="T7" fmla="*/ 48 h 52"/>
                <a:gd name="T8" fmla="*/ 8 w 53"/>
                <a:gd name="T9" fmla="*/ 44 h 52"/>
                <a:gd name="T10" fmla="*/ 5 w 53"/>
                <a:gd name="T11" fmla="*/ 41 h 52"/>
                <a:gd name="T12" fmla="*/ 3 w 53"/>
                <a:gd name="T13" fmla="*/ 35 h 52"/>
                <a:gd name="T14" fmla="*/ 1 w 53"/>
                <a:gd name="T15" fmla="*/ 31 h 52"/>
                <a:gd name="T16" fmla="*/ 0 w 53"/>
                <a:gd name="T17" fmla="*/ 26 h 52"/>
                <a:gd name="T18" fmla="*/ 1 w 53"/>
                <a:gd name="T19" fmla="*/ 20 h 52"/>
                <a:gd name="T20" fmla="*/ 3 w 53"/>
                <a:gd name="T21" fmla="*/ 16 h 52"/>
                <a:gd name="T22" fmla="*/ 5 w 53"/>
                <a:gd name="T23" fmla="*/ 10 h 52"/>
                <a:gd name="T24" fmla="*/ 8 w 53"/>
                <a:gd name="T25" fmla="*/ 8 h 52"/>
                <a:gd name="T26" fmla="*/ 13 w 53"/>
                <a:gd name="T27" fmla="*/ 3 h 52"/>
                <a:gd name="T28" fmla="*/ 17 w 53"/>
                <a:gd name="T29" fmla="*/ 2 h 52"/>
                <a:gd name="T30" fmla="*/ 21 w 53"/>
                <a:gd name="T31" fmla="*/ 0 h 52"/>
                <a:gd name="T32" fmla="*/ 27 w 53"/>
                <a:gd name="T33" fmla="*/ 0 h 52"/>
                <a:gd name="T34" fmla="*/ 31 w 53"/>
                <a:gd name="T35" fmla="*/ 0 h 52"/>
                <a:gd name="T36" fmla="*/ 37 w 53"/>
                <a:gd name="T37" fmla="*/ 2 h 52"/>
                <a:gd name="T38" fmla="*/ 41 w 53"/>
                <a:gd name="T39" fmla="*/ 3 h 52"/>
                <a:gd name="T40" fmla="*/ 44 w 53"/>
                <a:gd name="T41" fmla="*/ 8 h 52"/>
                <a:gd name="T42" fmla="*/ 49 w 53"/>
                <a:gd name="T43" fmla="*/ 10 h 52"/>
                <a:gd name="T44" fmla="*/ 50 w 53"/>
                <a:gd name="T45" fmla="*/ 16 h 52"/>
                <a:gd name="T46" fmla="*/ 51 w 53"/>
                <a:gd name="T47" fmla="*/ 20 h 52"/>
                <a:gd name="T48" fmla="*/ 53 w 53"/>
                <a:gd name="T49" fmla="*/ 26 h 52"/>
                <a:gd name="T50" fmla="*/ 51 w 53"/>
                <a:gd name="T51" fmla="*/ 31 h 52"/>
                <a:gd name="T52" fmla="*/ 50 w 53"/>
                <a:gd name="T53" fmla="*/ 35 h 52"/>
                <a:gd name="T54" fmla="*/ 49 w 53"/>
                <a:gd name="T55" fmla="*/ 41 h 52"/>
                <a:gd name="T56" fmla="*/ 44 w 53"/>
                <a:gd name="T57" fmla="*/ 44 h 52"/>
                <a:gd name="T58" fmla="*/ 41 w 53"/>
                <a:gd name="T59" fmla="*/ 48 h 52"/>
                <a:gd name="T60" fmla="*/ 37 w 53"/>
                <a:gd name="T61" fmla="*/ 49 h 52"/>
                <a:gd name="T62" fmla="*/ 31 w 53"/>
                <a:gd name="T63" fmla="*/ 51 h 52"/>
                <a:gd name="T64" fmla="*/ 27 w 53"/>
                <a:gd name="T6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52">
                  <a:moveTo>
                    <a:pt x="27" y="52"/>
                  </a:moveTo>
                  <a:lnTo>
                    <a:pt x="21" y="51"/>
                  </a:lnTo>
                  <a:lnTo>
                    <a:pt x="17" y="49"/>
                  </a:lnTo>
                  <a:lnTo>
                    <a:pt x="13" y="48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3" y="35"/>
                  </a:lnTo>
                  <a:lnTo>
                    <a:pt x="1" y="31"/>
                  </a:lnTo>
                  <a:lnTo>
                    <a:pt x="0" y="26"/>
                  </a:lnTo>
                  <a:lnTo>
                    <a:pt x="1" y="20"/>
                  </a:lnTo>
                  <a:lnTo>
                    <a:pt x="3" y="16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7" y="2"/>
                  </a:lnTo>
                  <a:lnTo>
                    <a:pt x="41" y="3"/>
                  </a:lnTo>
                  <a:lnTo>
                    <a:pt x="44" y="8"/>
                  </a:lnTo>
                  <a:lnTo>
                    <a:pt x="49" y="10"/>
                  </a:lnTo>
                  <a:lnTo>
                    <a:pt x="50" y="16"/>
                  </a:lnTo>
                  <a:lnTo>
                    <a:pt x="51" y="20"/>
                  </a:lnTo>
                  <a:lnTo>
                    <a:pt x="53" y="26"/>
                  </a:lnTo>
                  <a:lnTo>
                    <a:pt x="51" y="31"/>
                  </a:lnTo>
                  <a:lnTo>
                    <a:pt x="50" y="35"/>
                  </a:lnTo>
                  <a:lnTo>
                    <a:pt x="49" y="41"/>
                  </a:lnTo>
                  <a:lnTo>
                    <a:pt x="44" y="44"/>
                  </a:lnTo>
                  <a:lnTo>
                    <a:pt x="41" y="48"/>
                  </a:lnTo>
                  <a:lnTo>
                    <a:pt x="37" y="49"/>
                  </a:lnTo>
                  <a:lnTo>
                    <a:pt x="31" y="51"/>
                  </a:lnTo>
                  <a:lnTo>
                    <a:pt x="27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30"/>
            <p:cNvSpPr>
              <a:spLocks/>
            </p:cNvSpPr>
            <p:nvPr/>
          </p:nvSpPr>
          <p:spPr bwMode="auto">
            <a:xfrm>
              <a:off x="6442075" y="2312988"/>
              <a:ext cx="249238" cy="28575"/>
            </a:xfrm>
            <a:custGeom>
              <a:avLst/>
              <a:gdLst>
                <a:gd name="T0" fmla="*/ 443 w 471"/>
                <a:gd name="T1" fmla="*/ 53 h 53"/>
                <a:gd name="T2" fmla="*/ 26 w 471"/>
                <a:gd name="T3" fmla="*/ 53 h 53"/>
                <a:gd name="T4" fmla="*/ 21 w 471"/>
                <a:gd name="T5" fmla="*/ 52 h 53"/>
                <a:gd name="T6" fmla="*/ 16 w 471"/>
                <a:gd name="T7" fmla="*/ 50 h 53"/>
                <a:gd name="T8" fmla="*/ 11 w 471"/>
                <a:gd name="T9" fmla="*/ 49 h 53"/>
                <a:gd name="T10" fmla="*/ 7 w 471"/>
                <a:gd name="T11" fmla="*/ 45 h 53"/>
                <a:gd name="T12" fmla="*/ 4 w 471"/>
                <a:gd name="T13" fmla="*/ 42 h 53"/>
                <a:gd name="T14" fmla="*/ 1 w 471"/>
                <a:gd name="T15" fmla="*/ 37 h 53"/>
                <a:gd name="T16" fmla="*/ 0 w 471"/>
                <a:gd name="T17" fmla="*/ 32 h 53"/>
                <a:gd name="T18" fmla="*/ 0 w 471"/>
                <a:gd name="T19" fmla="*/ 27 h 53"/>
                <a:gd name="T20" fmla="*/ 0 w 471"/>
                <a:gd name="T21" fmla="*/ 21 h 53"/>
                <a:gd name="T22" fmla="*/ 1 w 471"/>
                <a:gd name="T23" fmla="*/ 16 h 53"/>
                <a:gd name="T24" fmla="*/ 4 w 471"/>
                <a:gd name="T25" fmla="*/ 11 h 53"/>
                <a:gd name="T26" fmla="*/ 7 w 471"/>
                <a:gd name="T27" fmla="*/ 9 h 53"/>
                <a:gd name="T28" fmla="*/ 11 w 471"/>
                <a:gd name="T29" fmla="*/ 4 h 53"/>
                <a:gd name="T30" fmla="*/ 16 w 471"/>
                <a:gd name="T31" fmla="*/ 3 h 53"/>
                <a:gd name="T32" fmla="*/ 21 w 471"/>
                <a:gd name="T33" fmla="*/ 1 h 53"/>
                <a:gd name="T34" fmla="*/ 26 w 471"/>
                <a:gd name="T35" fmla="*/ 0 h 53"/>
                <a:gd name="T36" fmla="*/ 443 w 471"/>
                <a:gd name="T37" fmla="*/ 0 h 53"/>
                <a:gd name="T38" fmla="*/ 449 w 471"/>
                <a:gd name="T39" fmla="*/ 1 h 53"/>
                <a:gd name="T40" fmla="*/ 453 w 471"/>
                <a:gd name="T41" fmla="*/ 3 h 53"/>
                <a:gd name="T42" fmla="*/ 459 w 471"/>
                <a:gd name="T43" fmla="*/ 4 h 53"/>
                <a:gd name="T44" fmla="*/ 462 w 471"/>
                <a:gd name="T45" fmla="*/ 9 h 53"/>
                <a:gd name="T46" fmla="*/ 465 w 471"/>
                <a:gd name="T47" fmla="*/ 11 h 53"/>
                <a:gd name="T48" fmla="*/ 468 w 471"/>
                <a:gd name="T49" fmla="*/ 16 h 53"/>
                <a:gd name="T50" fmla="*/ 469 w 471"/>
                <a:gd name="T51" fmla="*/ 21 h 53"/>
                <a:gd name="T52" fmla="*/ 471 w 471"/>
                <a:gd name="T53" fmla="*/ 27 h 53"/>
                <a:gd name="T54" fmla="*/ 469 w 471"/>
                <a:gd name="T55" fmla="*/ 32 h 53"/>
                <a:gd name="T56" fmla="*/ 468 w 471"/>
                <a:gd name="T57" fmla="*/ 37 h 53"/>
                <a:gd name="T58" fmla="*/ 465 w 471"/>
                <a:gd name="T59" fmla="*/ 42 h 53"/>
                <a:gd name="T60" fmla="*/ 462 w 471"/>
                <a:gd name="T61" fmla="*/ 45 h 53"/>
                <a:gd name="T62" fmla="*/ 459 w 471"/>
                <a:gd name="T63" fmla="*/ 49 h 53"/>
                <a:gd name="T64" fmla="*/ 453 w 471"/>
                <a:gd name="T65" fmla="*/ 50 h 53"/>
                <a:gd name="T66" fmla="*/ 449 w 471"/>
                <a:gd name="T67" fmla="*/ 52 h 53"/>
                <a:gd name="T68" fmla="*/ 443 w 471"/>
                <a:gd name="T6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1" h="53">
                  <a:moveTo>
                    <a:pt x="443" y="53"/>
                  </a:moveTo>
                  <a:lnTo>
                    <a:pt x="26" y="53"/>
                  </a:lnTo>
                  <a:lnTo>
                    <a:pt x="21" y="52"/>
                  </a:lnTo>
                  <a:lnTo>
                    <a:pt x="16" y="50"/>
                  </a:lnTo>
                  <a:lnTo>
                    <a:pt x="11" y="49"/>
                  </a:lnTo>
                  <a:lnTo>
                    <a:pt x="7" y="45"/>
                  </a:lnTo>
                  <a:lnTo>
                    <a:pt x="4" y="42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9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443" y="0"/>
                  </a:lnTo>
                  <a:lnTo>
                    <a:pt x="449" y="1"/>
                  </a:lnTo>
                  <a:lnTo>
                    <a:pt x="453" y="3"/>
                  </a:lnTo>
                  <a:lnTo>
                    <a:pt x="459" y="4"/>
                  </a:lnTo>
                  <a:lnTo>
                    <a:pt x="462" y="9"/>
                  </a:lnTo>
                  <a:lnTo>
                    <a:pt x="465" y="11"/>
                  </a:lnTo>
                  <a:lnTo>
                    <a:pt x="468" y="16"/>
                  </a:lnTo>
                  <a:lnTo>
                    <a:pt x="469" y="21"/>
                  </a:lnTo>
                  <a:lnTo>
                    <a:pt x="471" y="27"/>
                  </a:lnTo>
                  <a:lnTo>
                    <a:pt x="469" y="32"/>
                  </a:lnTo>
                  <a:lnTo>
                    <a:pt x="468" y="37"/>
                  </a:lnTo>
                  <a:lnTo>
                    <a:pt x="465" y="42"/>
                  </a:lnTo>
                  <a:lnTo>
                    <a:pt x="462" y="45"/>
                  </a:lnTo>
                  <a:lnTo>
                    <a:pt x="459" y="49"/>
                  </a:lnTo>
                  <a:lnTo>
                    <a:pt x="453" y="50"/>
                  </a:lnTo>
                  <a:lnTo>
                    <a:pt x="449" y="52"/>
                  </a:lnTo>
                  <a:lnTo>
                    <a:pt x="44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16"/>
            <p:cNvSpPr>
              <a:spLocks/>
            </p:cNvSpPr>
            <p:nvPr/>
          </p:nvSpPr>
          <p:spPr bwMode="auto">
            <a:xfrm>
              <a:off x="6303963" y="1816101"/>
              <a:ext cx="469900" cy="636588"/>
            </a:xfrm>
            <a:custGeom>
              <a:avLst/>
              <a:gdLst>
                <a:gd name="T0" fmla="*/ 26 w 887"/>
                <a:gd name="T1" fmla="*/ 1202 h 1202"/>
                <a:gd name="T2" fmla="*/ 16 w 887"/>
                <a:gd name="T3" fmla="*/ 1199 h 1202"/>
                <a:gd name="T4" fmla="*/ 7 w 887"/>
                <a:gd name="T5" fmla="*/ 1193 h 1202"/>
                <a:gd name="T6" fmla="*/ 2 w 887"/>
                <a:gd name="T7" fmla="*/ 1186 h 1202"/>
                <a:gd name="T8" fmla="*/ 0 w 887"/>
                <a:gd name="T9" fmla="*/ 1176 h 1202"/>
                <a:gd name="T10" fmla="*/ 0 w 887"/>
                <a:gd name="T11" fmla="*/ 21 h 1202"/>
                <a:gd name="T12" fmla="*/ 4 w 887"/>
                <a:gd name="T13" fmla="*/ 11 h 1202"/>
                <a:gd name="T14" fmla="*/ 12 w 887"/>
                <a:gd name="T15" fmla="*/ 4 h 1202"/>
                <a:gd name="T16" fmla="*/ 20 w 887"/>
                <a:gd name="T17" fmla="*/ 1 h 1202"/>
                <a:gd name="T18" fmla="*/ 235 w 887"/>
                <a:gd name="T19" fmla="*/ 0 h 1202"/>
                <a:gd name="T20" fmla="*/ 245 w 887"/>
                <a:gd name="T21" fmla="*/ 2 h 1202"/>
                <a:gd name="T22" fmla="*/ 254 w 887"/>
                <a:gd name="T23" fmla="*/ 8 h 1202"/>
                <a:gd name="T24" fmla="*/ 259 w 887"/>
                <a:gd name="T25" fmla="*/ 15 h 1202"/>
                <a:gd name="T26" fmla="*/ 261 w 887"/>
                <a:gd name="T27" fmla="*/ 26 h 1202"/>
                <a:gd name="T28" fmla="*/ 259 w 887"/>
                <a:gd name="T29" fmla="*/ 37 h 1202"/>
                <a:gd name="T30" fmla="*/ 254 w 887"/>
                <a:gd name="T31" fmla="*/ 44 h 1202"/>
                <a:gd name="T32" fmla="*/ 245 w 887"/>
                <a:gd name="T33" fmla="*/ 50 h 1202"/>
                <a:gd name="T34" fmla="*/ 235 w 887"/>
                <a:gd name="T35" fmla="*/ 53 h 1202"/>
                <a:gd name="T36" fmla="*/ 52 w 887"/>
                <a:gd name="T37" fmla="*/ 1150 h 1202"/>
                <a:gd name="T38" fmla="*/ 835 w 887"/>
                <a:gd name="T39" fmla="*/ 53 h 1202"/>
                <a:gd name="T40" fmla="*/ 700 w 887"/>
                <a:gd name="T41" fmla="*/ 51 h 1202"/>
                <a:gd name="T42" fmla="*/ 690 w 887"/>
                <a:gd name="T43" fmla="*/ 49 h 1202"/>
                <a:gd name="T44" fmla="*/ 683 w 887"/>
                <a:gd name="T45" fmla="*/ 41 h 1202"/>
                <a:gd name="T46" fmla="*/ 680 w 887"/>
                <a:gd name="T47" fmla="*/ 31 h 1202"/>
                <a:gd name="T48" fmla="*/ 680 w 887"/>
                <a:gd name="T49" fmla="*/ 21 h 1202"/>
                <a:gd name="T50" fmla="*/ 683 w 887"/>
                <a:gd name="T51" fmla="*/ 11 h 1202"/>
                <a:gd name="T52" fmla="*/ 690 w 887"/>
                <a:gd name="T53" fmla="*/ 4 h 1202"/>
                <a:gd name="T54" fmla="*/ 700 w 887"/>
                <a:gd name="T55" fmla="*/ 1 h 1202"/>
                <a:gd name="T56" fmla="*/ 861 w 887"/>
                <a:gd name="T57" fmla="*/ 0 h 1202"/>
                <a:gd name="T58" fmla="*/ 871 w 887"/>
                <a:gd name="T59" fmla="*/ 2 h 1202"/>
                <a:gd name="T60" fmla="*/ 880 w 887"/>
                <a:gd name="T61" fmla="*/ 8 h 1202"/>
                <a:gd name="T62" fmla="*/ 886 w 887"/>
                <a:gd name="T63" fmla="*/ 15 h 1202"/>
                <a:gd name="T64" fmla="*/ 887 w 887"/>
                <a:gd name="T65" fmla="*/ 26 h 1202"/>
                <a:gd name="T66" fmla="*/ 887 w 887"/>
                <a:gd name="T67" fmla="*/ 1180 h 1202"/>
                <a:gd name="T68" fmla="*/ 883 w 887"/>
                <a:gd name="T69" fmla="*/ 1190 h 1202"/>
                <a:gd name="T70" fmla="*/ 876 w 887"/>
                <a:gd name="T71" fmla="*/ 1198 h 1202"/>
                <a:gd name="T72" fmla="*/ 867 w 887"/>
                <a:gd name="T73" fmla="*/ 1201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7" h="1202">
                  <a:moveTo>
                    <a:pt x="861" y="1202"/>
                  </a:moveTo>
                  <a:lnTo>
                    <a:pt x="26" y="1202"/>
                  </a:lnTo>
                  <a:lnTo>
                    <a:pt x="20" y="1201"/>
                  </a:lnTo>
                  <a:lnTo>
                    <a:pt x="16" y="1199"/>
                  </a:lnTo>
                  <a:lnTo>
                    <a:pt x="12" y="1198"/>
                  </a:lnTo>
                  <a:lnTo>
                    <a:pt x="7" y="1193"/>
                  </a:lnTo>
                  <a:lnTo>
                    <a:pt x="4" y="1190"/>
                  </a:lnTo>
                  <a:lnTo>
                    <a:pt x="2" y="1186"/>
                  </a:lnTo>
                  <a:lnTo>
                    <a:pt x="0" y="1180"/>
                  </a:lnTo>
                  <a:lnTo>
                    <a:pt x="0" y="1176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2" y="15"/>
                  </a:lnTo>
                  <a:lnTo>
                    <a:pt x="4" y="11"/>
                  </a:lnTo>
                  <a:lnTo>
                    <a:pt x="7" y="8"/>
                  </a:lnTo>
                  <a:lnTo>
                    <a:pt x="12" y="4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6" y="0"/>
                  </a:lnTo>
                  <a:lnTo>
                    <a:pt x="235" y="0"/>
                  </a:lnTo>
                  <a:lnTo>
                    <a:pt x="241" y="1"/>
                  </a:lnTo>
                  <a:lnTo>
                    <a:pt x="245" y="2"/>
                  </a:lnTo>
                  <a:lnTo>
                    <a:pt x="249" y="4"/>
                  </a:lnTo>
                  <a:lnTo>
                    <a:pt x="254" y="8"/>
                  </a:lnTo>
                  <a:lnTo>
                    <a:pt x="256" y="11"/>
                  </a:lnTo>
                  <a:lnTo>
                    <a:pt x="259" y="15"/>
                  </a:lnTo>
                  <a:lnTo>
                    <a:pt x="261" y="21"/>
                  </a:lnTo>
                  <a:lnTo>
                    <a:pt x="261" y="26"/>
                  </a:lnTo>
                  <a:lnTo>
                    <a:pt x="261" y="31"/>
                  </a:lnTo>
                  <a:lnTo>
                    <a:pt x="259" y="37"/>
                  </a:lnTo>
                  <a:lnTo>
                    <a:pt x="256" y="41"/>
                  </a:lnTo>
                  <a:lnTo>
                    <a:pt x="254" y="44"/>
                  </a:lnTo>
                  <a:lnTo>
                    <a:pt x="249" y="49"/>
                  </a:lnTo>
                  <a:lnTo>
                    <a:pt x="245" y="50"/>
                  </a:lnTo>
                  <a:lnTo>
                    <a:pt x="241" y="51"/>
                  </a:lnTo>
                  <a:lnTo>
                    <a:pt x="235" y="53"/>
                  </a:lnTo>
                  <a:lnTo>
                    <a:pt x="52" y="53"/>
                  </a:lnTo>
                  <a:lnTo>
                    <a:pt x="52" y="1150"/>
                  </a:lnTo>
                  <a:lnTo>
                    <a:pt x="835" y="1150"/>
                  </a:lnTo>
                  <a:lnTo>
                    <a:pt x="835" y="53"/>
                  </a:lnTo>
                  <a:lnTo>
                    <a:pt x="704" y="53"/>
                  </a:lnTo>
                  <a:lnTo>
                    <a:pt x="700" y="51"/>
                  </a:lnTo>
                  <a:lnTo>
                    <a:pt x="694" y="50"/>
                  </a:lnTo>
                  <a:lnTo>
                    <a:pt x="690" y="49"/>
                  </a:lnTo>
                  <a:lnTo>
                    <a:pt x="687" y="44"/>
                  </a:lnTo>
                  <a:lnTo>
                    <a:pt x="683" y="41"/>
                  </a:lnTo>
                  <a:lnTo>
                    <a:pt x="681" y="37"/>
                  </a:lnTo>
                  <a:lnTo>
                    <a:pt x="680" y="31"/>
                  </a:lnTo>
                  <a:lnTo>
                    <a:pt x="678" y="26"/>
                  </a:lnTo>
                  <a:lnTo>
                    <a:pt x="680" y="21"/>
                  </a:lnTo>
                  <a:lnTo>
                    <a:pt x="681" y="15"/>
                  </a:lnTo>
                  <a:lnTo>
                    <a:pt x="683" y="11"/>
                  </a:lnTo>
                  <a:lnTo>
                    <a:pt x="687" y="8"/>
                  </a:lnTo>
                  <a:lnTo>
                    <a:pt x="690" y="4"/>
                  </a:lnTo>
                  <a:lnTo>
                    <a:pt x="694" y="2"/>
                  </a:lnTo>
                  <a:lnTo>
                    <a:pt x="700" y="1"/>
                  </a:lnTo>
                  <a:lnTo>
                    <a:pt x="704" y="0"/>
                  </a:lnTo>
                  <a:lnTo>
                    <a:pt x="861" y="0"/>
                  </a:lnTo>
                  <a:lnTo>
                    <a:pt x="867" y="1"/>
                  </a:lnTo>
                  <a:lnTo>
                    <a:pt x="871" y="2"/>
                  </a:lnTo>
                  <a:lnTo>
                    <a:pt x="876" y="4"/>
                  </a:lnTo>
                  <a:lnTo>
                    <a:pt x="880" y="8"/>
                  </a:lnTo>
                  <a:lnTo>
                    <a:pt x="883" y="11"/>
                  </a:lnTo>
                  <a:lnTo>
                    <a:pt x="886" y="15"/>
                  </a:lnTo>
                  <a:lnTo>
                    <a:pt x="887" y="21"/>
                  </a:lnTo>
                  <a:lnTo>
                    <a:pt x="887" y="26"/>
                  </a:lnTo>
                  <a:lnTo>
                    <a:pt x="887" y="1176"/>
                  </a:lnTo>
                  <a:lnTo>
                    <a:pt x="887" y="1180"/>
                  </a:lnTo>
                  <a:lnTo>
                    <a:pt x="886" y="1186"/>
                  </a:lnTo>
                  <a:lnTo>
                    <a:pt x="883" y="1190"/>
                  </a:lnTo>
                  <a:lnTo>
                    <a:pt x="880" y="1193"/>
                  </a:lnTo>
                  <a:lnTo>
                    <a:pt x="876" y="1198"/>
                  </a:lnTo>
                  <a:lnTo>
                    <a:pt x="871" y="1199"/>
                  </a:lnTo>
                  <a:lnTo>
                    <a:pt x="867" y="1201"/>
                  </a:lnTo>
                  <a:lnTo>
                    <a:pt x="861" y="1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18"/>
            <p:cNvSpPr>
              <a:spLocks noEditPoints="1"/>
            </p:cNvSpPr>
            <p:nvPr/>
          </p:nvSpPr>
          <p:spPr bwMode="auto">
            <a:xfrm>
              <a:off x="6248400" y="1760538"/>
              <a:ext cx="581025" cy="746125"/>
            </a:xfrm>
            <a:custGeom>
              <a:avLst/>
              <a:gdLst>
                <a:gd name="T0" fmla="*/ 52 w 1097"/>
                <a:gd name="T1" fmla="*/ 1358 h 1410"/>
                <a:gd name="T2" fmla="*/ 1045 w 1097"/>
                <a:gd name="T3" fmla="*/ 1358 h 1410"/>
                <a:gd name="T4" fmla="*/ 1045 w 1097"/>
                <a:gd name="T5" fmla="*/ 52 h 1410"/>
                <a:gd name="T6" fmla="*/ 52 w 1097"/>
                <a:gd name="T7" fmla="*/ 52 h 1410"/>
                <a:gd name="T8" fmla="*/ 52 w 1097"/>
                <a:gd name="T9" fmla="*/ 1358 h 1410"/>
                <a:gd name="T10" fmla="*/ 1071 w 1097"/>
                <a:gd name="T11" fmla="*/ 1410 h 1410"/>
                <a:gd name="T12" fmla="*/ 26 w 1097"/>
                <a:gd name="T13" fmla="*/ 1410 h 1410"/>
                <a:gd name="T14" fmla="*/ 22 w 1097"/>
                <a:gd name="T15" fmla="*/ 1410 h 1410"/>
                <a:gd name="T16" fmla="*/ 16 w 1097"/>
                <a:gd name="T17" fmla="*/ 1408 h 1410"/>
                <a:gd name="T18" fmla="*/ 12 w 1097"/>
                <a:gd name="T19" fmla="*/ 1405 h 1410"/>
                <a:gd name="T20" fmla="*/ 7 w 1097"/>
                <a:gd name="T21" fmla="*/ 1402 h 1410"/>
                <a:gd name="T22" fmla="*/ 4 w 1097"/>
                <a:gd name="T23" fmla="*/ 1398 h 1410"/>
                <a:gd name="T24" fmla="*/ 3 w 1097"/>
                <a:gd name="T25" fmla="*/ 1394 h 1410"/>
                <a:gd name="T26" fmla="*/ 0 w 1097"/>
                <a:gd name="T27" fmla="*/ 1389 h 1410"/>
                <a:gd name="T28" fmla="*/ 0 w 1097"/>
                <a:gd name="T29" fmla="*/ 1384 h 1410"/>
                <a:gd name="T30" fmla="*/ 0 w 1097"/>
                <a:gd name="T31" fmla="*/ 26 h 1410"/>
                <a:gd name="T32" fmla="*/ 0 w 1097"/>
                <a:gd name="T33" fmla="*/ 20 h 1410"/>
                <a:gd name="T34" fmla="*/ 3 w 1097"/>
                <a:gd name="T35" fmla="*/ 16 h 1410"/>
                <a:gd name="T36" fmla="*/ 4 w 1097"/>
                <a:gd name="T37" fmla="*/ 11 h 1410"/>
                <a:gd name="T38" fmla="*/ 7 w 1097"/>
                <a:gd name="T39" fmla="*/ 7 h 1410"/>
                <a:gd name="T40" fmla="*/ 12 w 1097"/>
                <a:gd name="T41" fmla="*/ 4 h 1410"/>
                <a:gd name="T42" fmla="*/ 16 w 1097"/>
                <a:gd name="T43" fmla="*/ 1 h 1410"/>
                <a:gd name="T44" fmla="*/ 22 w 1097"/>
                <a:gd name="T45" fmla="*/ 0 h 1410"/>
                <a:gd name="T46" fmla="*/ 26 w 1097"/>
                <a:gd name="T47" fmla="*/ 0 h 1410"/>
                <a:gd name="T48" fmla="*/ 1071 w 1097"/>
                <a:gd name="T49" fmla="*/ 0 h 1410"/>
                <a:gd name="T50" fmla="*/ 1076 w 1097"/>
                <a:gd name="T51" fmla="*/ 0 h 1410"/>
                <a:gd name="T52" fmla="*/ 1081 w 1097"/>
                <a:gd name="T53" fmla="*/ 1 h 1410"/>
                <a:gd name="T54" fmla="*/ 1086 w 1097"/>
                <a:gd name="T55" fmla="*/ 4 h 1410"/>
                <a:gd name="T56" fmla="*/ 1090 w 1097"/>
                <a:gd name="T57" fmla="*/ 7 h 1410"/>
                <a:gd name="T58" fmla="*/ 1093 w 1097"/>
                <a:gd name="T59" fmla="*/ 11 h 1410"/>
                <a:gd name="T60" fmla="*/ 1096 w 1097"/>
                <a:gd name="T61" fmla="*/ 16 h 1410"/>
                <a:gd name="T62" fmla="*/ 1097 w 1097"/>
                <a:gd name="T63" fmla="*/ 20 h 1410"/>
                <a:gd name="T64" fmla="*/ 1097 w 1097"/>
                <a:gd name="T65" fmla="*/ 26 h 1410"/>
                <a:gd name="T66" fmla="*/ 1097 w 1097"/>
                <a:gd name="T67" fmla="*/ 1384 h 1410"/>
                <a:gd name="T68" fmla="*/ 1097 w 1097"/>
                <a:gd name="T69" fmla="*/ 1389 h 1410"/>
                <a:gd name="T70" fmla="*/ 1096 w 1097"/>
                <a:gd name="T71" fmla="*/ 1394 h 1410"/>
                <a:gd name="T72" fmla="*/ 1093 w 1097"/>
                <a:gd name="T73" fmla="*/ 1398 h 1410"/>
                <a:gd name="T74" fmla="*/ 1090 w 1097"/>
                <a:gd name="T75" fmla="*/ 1402 h 1410"/>
                <a:gd name="T76" fmla="*/ 1086 w 1097"/>
                <a:gd name="T77" fmla="*/ 1405 h 1410"/>
                <a:gd name="T78" fmla="*/ 1081 w 1097"/>
                <a:gd name="T79" fmla="*/ 1408 h 1410"/>
                <a:gd name="T80" fmla="*/ 1076 w 1097"/>
                <a:gd name="T81" fmla="*/ 1410 h 1410"/>
                <a:gd name="T82" fmla="*/ 1071 w 1097"/>
                <a:gd name="T83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7" h="1410">
                  <a:moveTo>
                    <a:pt x="52" y="1358"/>
                  </a:moveTo>
                  <a:lnTo>
                    <a:pt x="1045" y="1358"/>
                  </a:lnTo>
                  <a:lnTo>
                    <a:pt x="1045" y="52"/>
                  </a:lnTo>
                  <a:lnTo>
                    <a:pt x="52" y="52"/>
                  </a:lnTo>
                  <a:lnTo>
                    <a:pt x="52" y="1358"/>
                  </a:lnTo>
                  <a:close/>
                  <a:moveTo>
                    <a:pt x="1071" y="1410"/>
                  </a:moveTo>
                  <a:lnTo>
                    <a:pt x="26" y="1410"/>
                  </a:lnTo>
                  <a:lnTo>
                    <a:pt x="22" y="1410"/>
                  </a:lnTo>
                  <a:lnTo>
                    <a:pt x="16" y="1408"/>
                  </a:lnTo>
                  <a:lnTo>
                    <a:pt x="12" y="1405"/>
                  </a:lnTo>
                  <a:lnTo>
                    <a:pt x="7" y="1402"/>
                  </a:lnTo>
                  <a:lnTo>
                    <a:pt x="4" y="1398"/>
                  </a:lnTo>
                  <a:lnTo>
                    <a:pt x="3" y="1394"/>
                  </a:lnTo>
                  <a:lnTo>
                    <a:pt x="0" y="1389"/>
                  </a:lnTo>
                  <a:lnTo>
                    <a:pt x="0" y="1384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071" y="0"/>
                  </a:lnTo>
                  <a:lnTo>
                    <a:pt x="1076" y="0"/>
                  </a:lnTo>
                  <a:lnTo>
                    <a:pt x="1081" y="1"/>
                  </a:lnTo>
                  <a:lnTo>
                    <a:pt x="1086" y="4"/>
                  </a:lnTo>
                  <a:lnTo>
                    <a:pt x="1090" y="7"/>
                  </a:lnTo>
                  <a:lnTo>
                    <a:pt x="1093" y="11"/>
                  </a:lnTo>
                  <a:lnTo>
                    <a:pt x="1096" y="16"/>
                  </a:lnTo>
                  <a:lnTo>
                    <a:pt x="1097" y="20"/>
                  </a:lnTo>
                  <a:lnTo>
                    <a:pt x="1097" y="26"/>
                  </a:lnTo>
                  <a:lnTo>
                    <a:pt x="1097" y="1384"/>
                  </a:lnTo>
                  <a:lnTo>
                    <a:pt x="1097" y="1389"/>
                  </a:lnTo>
                  <a:lnTo>
                    <a:pt x="1096" y="1394"/>
                  </a:lnTo>
                  <a:lnTo>
                    <a:pt x="1093" y="1398"/>
                  </a:lnTo>
                  <a:lnTo>
                    <a:pt x="1090" y="1402"/>
                  </a:lnTo>
                  <a:lnTo>
                    <a:pt x="1086" y="1405"/>
                  </a:lnTo>
                  <a:lnTo>
                    <a:pt x="1081" y="1408"/>
                  </a:lnTo>
                  <a:lnTo>
                    <a:pt x="1076" y="1410"/>
                  </a:lnTo>
                  <a:lnTo>
                    <a:pt x="1071" y="1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19"/>
            <p:cNvSpPr>
              <a:spLocks noEditPoints="1"/>
            </p:cNvSpPr>
            <p:nvPr/>
          </p:nvSpPr>
          <p:spPr bwMode="auto">
            <a:xfrm>
              <a:off x="6415088" y="1760538"/>
              <a:ext cx="276225" cy="138113"/>
            </a:xfrm>
            <a:custGeom>
              <a:avLst/>
              <a:gdLst>
                <a:gd name="T0" fmla="*/ 52 w 523"/>
                <a:gd name="T1" fmla="*/ 209 h 261"/>
                <a:gd name="T2" fmla="*/ 469 w 523"/>
                <a:gd name="T3" fmla="*/ 209 h 261"/>
                <a:gd name="T4" fmla="*/ 469 w 523"/>
                <a:gd name="T5" fmla="*/ 52 h 261"/>
                <a:gd name="T6" fmla="*/ 52 w 523"/>
                <a:gd name="T7" fmla="*/ 52 h 261"/>
                <a:gd name="T8" fmla="*/ 52 w 523"/>
                <a:gd name="T9" fmla="*/ 209 h 261"/>
                <a:gd name="T10" fmla="*/ 495 w 523"/>
                <a:gd name="T11" fmla="*/ 261 h 261"/>
                <a:gd name="T12" fmla="*/ 26 w 523"/>
                <a:gd name="T13" fmla="*/ 261 h 261"/>
                <a:gd name="T14" fmla="*/ 20 w 523"/>
                <a:gd name="T15" fmla="*/ 261 h 261"/>
                <a:gd name="T16" fmla="*/ 16 w 523"/>
                <a:gd name="T17" fmla="*/ 259 h 261"/>
                <a:gd name="T18" fmla="*/ 11 w 523"/>
                <a:gd name="T19" fmla="*/ 256 h 261"/>
                <a:gd name="T20" fmla="*/ 7 w 523"/>
                <a:gd name="T21" fmla="*/ 253 h 261"/>
                <a:gd name="T22" fmla="*/ 4 w 523"/>
                <a:gd name="T23" fmla="*/ 249 h 261"/>
                <a:gd name="T24" fmla="*/ 1 w 523"/>
                <a:gd name="T25" fmla="*/ 245 h 261"/>
                <a:gd name="T26" fmla="*/ 0 w 523"/>
                <a:gd name="T27" fmla="*/ 240 h 261"/>
                <a:gd name="T28" fmla="*/ 0 w 523"/>
                <a:gd name="T29" fmla="*/ 235 h 261"/>
                <a:gd name="T30" fmla="*/ 0 w 523"/>
                <a:gd name="T31" fmla="*/ 26 h 261"/>
                <a:gd name="T32" fmla="*/ 0 w 523"/>
                <a:gd name="T33" fmla="*/ 20 h 261"/>
                <a:gd name="T34" fmla="*/ 1 w 523"/>
                <a:gd name="T35" fmla="*/ 16 h 261"/>
                <a:gd name="T36" fmla="*/ 4 w 523"/>
                <a:gd name="T37" fmla="*/ 11 h 261"/>
                <a:gd name="T38" fmla="*/ 7 w 523"/>
                <a:gd name="T39" fmla="*/ 7 h 261"/>
                <a:gd name="T40" fmla="*/ 11 w 523"/>
                <a:gd name="T41" fmla="*/ 4 h 261"/>
                <a:gd name="T42" fmla="*/ 16 w 523"/>
                <a:gd name="T43" fmla="*/ 1 h 261"/>
                <a:gd name="T44" fmla="*/ 20 w 523"/>
                <a:gd name="T45" fmla="*/ 0 h 261"/>
                <a:gd name="T46" fmla="*/ 26 w 523"/>
                <a:gd name="T47" fmla="*/ 0 h 261"/>
                <a:gd name="T48" fmla="*/ 495 w 523"/>
                <a:gd name="T49" fmla="*/ 0 h 261"/>
                <a:gd name="T50" fmla="*/ 501 w 523"/>
                <a:gd name="T51" fmla="*/ 0 h 261"/>
                <a:gd name="T52" fmla="*/ 505 w 523"/>
                <a:gd name="T53" fmla="*/ 1 h 261"/>
                <a:gd name="T54" fmla="*/ 511 w 523"/>
                <a:gd name="T55" fmla="*/ 4 h 261"/>
                <a:gd name="T56" fmla="*/ 514 w 523"/>
                <a:gd name="T57" fmla="*/ 7 h 261"/>
                <a:gd name="T58" fmla="*/ 517 w 523"/>
                <a:gd name="T59" fmla="*/ 11 h 261"/>
                <a:gd name="T60" fmla="*/ 520 w 523"/>
                <a:gd name="T61" fmla="*/ 16 h 261"/>
                <a:gd name="T62" fmla="*/ 521 w 523"/>
                <a:gd name="T63" fmla="*/ 20 h 261"/>
                <a:gd name="T64" fmla="*/ 523 w 523"/>
                <a:gd name="T65" fmla="*/ 26 h 261"/>
                <a:gd name="T66" fmla="*/ 523 w 523"/>
                <a:gd name="T67" fmla="*/ 235 h 261"/>
                <a:gd name="T68" fmla="*/ 521 w 523"/>
                <a:gd name="T69" fmla="*/ 240 h 261"/>
                <a:gd name="T70" fmla="*/ 520 w 523"/>
                <a:gd name="T71" fmla="*/ 245 h 261"/>
                <a:gd name="T72" fmla="*/ 517 w 523"/>
                <a:gd name="T73" fmla="*/ 249 h 261"/>
                <a:gd name="T74" fmla="*/ 514 w 523"/>
                <a:gd name="T75" fmla="*/ 253 h 261"/>
                <a:gd name="T76" fmla="*/ 511 w 523"/>
                <a:gd name="T77" fmla="*/ 256 h 261"/>
                <a:gd name="T78" fmla="*/ 505 w 523"/>
                <a:gd name="T79" fmla="*/ 259 h 261"/>
                <a:gd name="T80" fmla="*/ 501 w 523"/>
                <a:gd name="T81" fmla="*/ 261 h 261"/>
                <a:gd name="T82" fmla="*/ 495 w 523"/>
                <a:gd name="T83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3" h="261">
                  <a:moveTo>
                    <a:pt x="52" y="209"/>
                  </a:moveTo>
                  <a:lnTo>
                    <a:pt x="469" y="209"/>
                  </a:lnTo>
                  <a:lnTo>
                    <a:pt x="469" y="52"/>
                  </a:lnTo>
                  <a:lnTo>
                    <a:pt x="52" y="52"/>
                  </a:lnTo>
                  <a:lnTo>
                    <a:pt x="52" y="209"/>
                  </a:lnTo>
                  <a:close/>
                  <a:moveTo>
                    <a:pt x="495" y="261"/>
                  </a:moveTo>
                  <a:lnTo>
                    <a:pt x="26" y="261"/>
                  </a:lnTo>
                  <a:lnTo>
                    <a:pt x="20" y="261"/>
                  </a:lnTo>
                  <a:lnTo>
                    <a:pt x="16" y="259"/>
                  </a:lnTo>
                  <a:lnTo>
                    <a:pt x="11" y="256"/>
                  </a:lnTo>
                  <a:lnTo>
                    <a:pt x="7" y="253"/>
                  </a:lnTo>
                  <a:lnTo>
                    <a:pt x="4" y="249"/>
                  </a:lnTo>
                  <a:lnTo>
                    <a:pt x="1" y="245"/>
                  </a:lnTo>
                  <a:lnTo>
                    <a:pt x="0" y="240"/>
                  </a:lnTo>
                  <a:lnTo>
                    <a:pt x="0" y="235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1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495" y="0"/>
                  </a:lnTo>
                  <a:lnTo>
                    <a:pt x="501" y="0"/>
                  </a:lnTo>
                  <a:lnTo>
                    <a:pt x="505" y="1"/>
                  </a:lnTo>
                  <a:lnTo>
                    <a:pt x="511" y="4"/>
                  </a:lnTo>
                  <a:lnTo>
                    <a:pt x="514" y="7"/>
                  </a:lnTo>
                  <a:lnTo>
                    <a:pt x="517" y="11"/>
                  </a:lnTo>
                  <a:lnTo>
                    <a:pt x="520" y="16"/>
                  </a:lnTo>
                  <a:lnTo>
                    <a:pt x="521" y="20"/>
                  </a:lnTo>
                  <a:lnTo>
                    <a:pt x="523" y="26"/>
                  </a:lnTo>
                  <a:lnTo>
                    <a:pt x="523" y="235"/>
                  </a:lnTo>
                  <a:lnTo>
                    <a:pt x="521" y="240"/>
                  </a:lnTo>
                  <a:lnTo>
                    <a:pt x="520" y="245"/>
                  </a:lnTo>
                  <a:lnTo>
                    <a:pt x="517" y="249"/>
                  </a:lnTo>
                  <a:lnTo>
                    <a:pt x="514" y="253"/>
                  </a:lnTo>
                  <a:lnTo>
                    <a:pt x="511" y="256"/>
                  </a:lnTo>
                  <a:lnTo>
                    <a:pt x="505" y="259"/>
                  </a:lnTo>
                  <a:lnTo>
                    <a:pt x="501" y="261"/>
                  </a:lnTo>
                  <a:lnTo>
                    <a:pt x="495" y="2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8" name="Group 297"/>
          <p:cNvGrpSpPr/>
          <p:nvPr/>
        </p:nvGrpSpPr>
        <p:grpSpPr>
          <a:xfrm>
            <a:off x="5217413" y="2391507"/>
            <a:ext cx="384610" cy="322613"/>
            <a:chOff x="7434263" y="5710238"/>
            <a:chExt cx="531813" cy="446088"/>
          </a:xfrm>
          <a:solidFill>
            <a:schemeClr val="bg1"/>
          </a:solidFill>
        </p:grpSpPr>
        <p:sp>
          <p:nvSpPr>
            <p:cNvPr id="299" name="Freeform 17"/>
            <p:cNvSpPr>
              <a:spLocks noEditPoints="1"/>
            </p:cNvSpPr>
            <p:nvPr/>
          </p:nvSpPr>
          <p:spPr bwMode="auto">
            <a:xfrm>
              <a:off x="7434263" y="5710238"/>
              <a:ext cx="531813" cy="446088"/>
            </a:xfrm>
            <a:custGeom>
              <a:avLst/>
              <a:gdLst>
                <a:gd name="T0" fmla="*/ 54 w 1341"/>
                <a:gd name="T1" fmla="*/ 1073 h 1127"/>
                <a:gd name="T2" fmla="*/ 1288 w 1341"/>
                <a:gd name="T3" fmla="*/ 1073 h 1127"/>
                <a:gd name="T4" fmla="*/ 1288 w 1341"/>
                <a:gd name="T5" fmla="*/ 54 h 1127"/>
                <a:gd name="T6" fmla="*/ 54 w 1341"/>
                <a:gd name="T7" fmla="*/ 54 h 1127"/>
                <a:gd name="T8" fmla="*/ 54 w 1341"/>
                <a:gd name="T9" fmla="*/ 1073 h 1127"/>
                <a:gd name="T10" fmla="*/ 1314 w 1341"/>
                <a:gd name="T11" fmla="*/ 1127 h 1127"/>
                <a:gd name="T12" fmla="*/ 27 w 1341"/>
                <a:gd name="T13" fmla="*/ 1127 h 1127"/>
                <a:gd name="T14" fmla="*/ 21 w 1341"/>
                <a:gd name="T15" fmla="*/ 1127 h 1127"/>
                <a:gd name="T16" fmla="*/ 17 w 1341"/>
                <a:gd name="T17" fmla="*/ 1124 h 1127"/>
                <a:gd name="T18" fmla="*/ 12 w 1341"/>
                <a:gd name="T19" fmla="*/ 1122 h 1127"/>
                <a:gd name="T20" fmla="*/ 8 w 1341"/>
                <a:gd name="T21" fmla="*/ 1119 h 1127"/>
                <a:gd name="T22" fmla="*/ 4 w 1341"/>
                <a:gd name="T23" fmla="*/ 1115 h 1127"/>
                <a:gd name="T24" fmla="*/ 2 w 1341"/>
                <a:gd name="T25" fmla="*/ 1111 h 1127"/>
                <a:gd name="T26" fmla="*/ 0 w 1341"/>
                <a:gd name="T27" fmla="*/ 1105 h 1127"/>
                <a:gd name="T28" fmla="*/ 0 w 1341"/>
                <a:gd name="T29" fmla="*/ 1100 h 1127"/>
                <a:gd name="T30" fmla="*/ 0 w 1341"/>
                <a:gd name="T31" fmla="*/ 27 h 1127"/>
                <a:gd name="T32" fmla="*/ 0 w 1341"/>
                <a:gd name="T33" fmla="*/ 21 h 1127"/>
                <a:gd name="T34" fmla="*/ 2 w 1341"/>
                <a:gd name="T35" fmla="*/ 17 h 1127"/>
                <a:gd name="T36" fmla="*/ 4 w 1341"/>
                <a:gd name="T37" fmla="*/ 12 h 1127"/>
                <a:gd name="T38" fmla="*/ 8 w 1341"/>
                <a:gd name="T39" fmla="*/ 8 h 1127"/>
                <a:gd name="T40" fmla="*/ 12 w 1341"/>
                <a:gd name="T41" fmla="*/ 4 h 1127"/>
                <a:gd name="T42" fmla="*/ 17 w 1341"/>
                <a:gd name="T43" fmla="*/ 2 h 1127"/>
                <a:gd name="T44" fmla="*/ 21 w 1341"/>
                <a:gd name="T45" fmla="*/ 1 h 1127"/>
                <a:gd name="T46" fmla="*/ 27 w 1341"/>
                <a:gd name="T47" fmla="*/ 0 h 1127"/>
                <a:gd name="T48" fmla="*/ 1314 w 1341"/>
                <a:gd name="T49" fmla="*/ 0 h 1127"/>
                <a:gd name="T50" fmla="*/ 1319 w 1341"/>
                <a:gd name="T51" fmla="*/ 1 h 1127"/>
                <a:gd name="T52" fmla="*/ 1325 w 1341"/>
                <a:gd name="T53" fmla="*/ 2 h 1127"/>
                <a:gd name="T54" fmla="*/ 1329 w 1341"/>
                <a:gd name="T55" fmla="*/ 4 h 1127"/>
                <a:gd name="T56" fmla="*/ 1333 w 1341"/>
                <a:gd name="T57" fmla="*/ 8 h 1127"/>
                <a:gd name="T58" fmla="*/ 1336 w 1341"/>
                <a:gd name="T59" fmla="*/ 12 h 1127"/>
                <a:gd name="T60" fmla="*/ 1338 w 1341"/>
                <a:gd name="T61" fmla="*/ 17 h 1127"/>
                <a:gd name="T62" fmla="*/ 1341 w 1341"/>
                <a:gd name="T63" fmla="*/ 21 h 1127"/>
                <a:gd name="T64" fmla="*/ 1341 w 1341"/>
                <a:gd name="T65" fmla="*/ 27 h 1127"/>
                <a:gd name="T66" fmla="*/ 1341 w 1341"/>
                <a:gd name="T67" fmla="*/ 1100 h 1127"/>
                <a:gd name="T68" fmla="*/ 1341 w 1341"/>
                <a:gd name="T69" fmla="*/ 1105 h 1127"/>
                <a:gd name="T70" fmla="*/ 1338 w 1341"/>
                <a:gd name="T71" fmla="*/ 1111 h 1127"/>
                <a:gd name="T72" fmla="*/ 1336 w 1341"/>
                <a:gd name="T73" fmla="*/ 1115 h 1127"/>
                <a:gd name="T74" fmla="*/ 1333 w 1341"/>
                <a:gd name="T75" fmla="*/ 1119 h 1127"/>
                <a:gd name="T76" fmla="*/ 1329 w 1341"/>
                <a:gd name="T77" fmla="*/ 1122 h 1127"/>
                <a:gd name="T78" fmla="*/ 1325 w 1341"/>
                <a:gd name="T79" fmla="*/ 1124 h 1127"/>
                <a:gd name="T80" fmla="*/ 1319 w 1341"/>
                <a:gd name="T81" fmla="*/ 1127 h 1127"/>
                <a:gd name="T82" fmla="*/ 1314 w 1341"/>
                <a:gd name="T83" fmla="*/ 112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1" h="1127">
                  <a:moveTo>
                    <a:pt x="54" y="1073"/>
                  </a:moveTo>
                  <a:lnTo>
                    <a:pt x="1288" y="1073"/>
                  </a:lnTo>
                  <a:lnTo>
                    <a:pt x="1288" y="54"/>
                  </a:lnTo>
                  <a:lnTo>
                    <a:pt x="54" y="54"/>
                  </a:lnTo>
                  <a:lnTo>
                    <a:pt x="54" y="1073"/>
                  </a:lnTo>
                  <a:close/>
                  <a:moveTo>
                    <a:pt x="1314" y="1127"/>
                  </a:moveTo>
                  <a:lnTo>
                    <a:pt x="27" y="1127"/>
                  </a:lnTo>
                  <a:lnTo>
                    <a:pt x="21" y="1127"/>
                  </a:lnTo>
                  <a:lnTo>
                    <a:pt x="17" y="1124"/>
                  </a:lnTo>
                  <a:lnTo>
                    <a:pt x="12" y="1122"/>
                  </a:lnTo>
                  <a:lnTo>
                    <a:pt x="8" y="1119"/>
                  </a:lnTo>
                  <a:lnTo>
                    <a:pt x="4" y="1115"/>
                  </a:lnTo>
                  <a:lnTo>
                    <a:pt x="2" y="1111"/>
                  </a:lnTo>
                  <a:lnTo>
                    <a:pt x="0" y="1105"/>
                  </a:lnTo>
                  <a:lnTo>
                    <a:pt x="0" y="1100"/>
                  </a:lnTo>
                  <a:lnTo>
                    <a:pt x="0" y="27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1" y="1"/>
                  </a:lnTo>
                  <a:lnTo>
                    <a:pt x="27" y="0"/>
                  </a:lnTo>
                  <a:lnTo>
                    <a:pt x="1314" y="0"/>
                  </a:lnTo>
                  <a:lnTo>
                    <a:pt x="1319" y="1"/>
                  </a:lnTo>
                  <a:lnTo>
                    <a:pt x="1325" y="2"/>
                  </a:lnTo>
                  <a:lnTo>
                    <a:pt x="1329" y="4"/>
                  </a:lnTo>
                  <a:lnTo>
                    <a:pt x="1333" y="8"/>
                  </a:lnTo>
                  <a:lnTo>
                    <a:pt x="1336" y="12"/>
                  </a:lnTo>
                  <a:lnTo>
                    <a:pt x="1338" y="17"/>
                  </a:lnTo>
                  <a:lnTo>
                    <a:pt x="1341" y="21"/>
                  </a:lnTo>
                  <a:lnTo>
                    <a:pt x="1341" y="27"/>
                  </a:lnTo>
                  <a:lnTo>
                    <a:pt x="1341" y="1100"/>
                  </a:lnTo>
                  <a:lnTo>
                    <a:pt x="1341" y="1105"/>
                  </a:lnTo>
                  <a:lnTo>
                    <a:pt x="1338" y="1111"/>
                  </a:lnTo>
                  <a:lnTo>
                    <a:pt x="1336" y="1115"/>
                  </a:lnTo>
                  <a:lnTo>
                    <a:pt x="1333" y="1119"/>
                  </a:lnTo>
                  <a:lnTo>
                    <a:pt x="1329" y="1122"/>
                  </a:lnTo>
                  <a:lnTo>
                    <a:pt x="1325" y="1124"/>
                  </a:lnTo>
                  <a:lnTo>
                    <a:pt x="1319" y="1127"/>
                  </a:lnTo>
                  <a:lnTo>
                    <a:pt x="1314" y="1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Rectangle 18"/>
            <p:cNvSpPr>
              <a:spLocks noChangeArrowheads="1"/>
            </p:cNvSpPr>
            <p:nvPr/>
          </p:nvSpPr>
          <p:spPr bwMode="auto">
            <a:xfrm>
              <a:off x="7443788" y="5795963"/>
              <a:ext cx="5111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Rectangle 19"/>
            <p:cNvSpPr>
              <a:spLocks noChangeArrowheads="1"/>
            </p:cNvSpPr>
            <p:nvPr/>
          </p:nvSpPr>
          <p:spPr bwMode="auto">
            <a:xfrm>
              <a:off x="7689850" y="5719763"/>
              <a:ext cx="20638" cy="427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3098981" y="3213544"/>
            <a:ext cx="417097" cy="372408"/>
            <a:chOff x="6543675" y="4589463"/>
            <a:chExt cx="711200" cy="635000"/>
          </a:xfrm>
          <a:solidFill>
            <a:schemeClr val="bg1"/>
          </a:solidFill>
        </p:grpSpPr>
        <p:sp>
          <p:nvSpPr>
            <p:cNvPr id="303" name="Freeform 37"/>
            <p:cNvSpPr>
              <a:spLocks noEditPoints="1"/>
            </p:cNvSpPr>
            <p:nvPr/>
          </p:nvSpPr>
          <p:spPr bwMode="auto">
            <a:xfrm>
              <a:off x="6543675" y="4814888"/>
              <a:ext cx="711200" cy="409575"/>
            </a:xfrm>
            <a:custGeom>
              <a:avLst/>
              <a:gdLst>
                <a:gd name="T0" fmla="*/ 802 w 2237"/>
                <a:gd name="T1" fmla="*/ 866 h 1289"/>
                <a:gd name="T2" fmla="*/ 779 w 2237"/>
                <a:gd name="T3" fmla="*/ 872 h 1289"/>
                <a:gd name="T4" fmla="*/ 97 w 2237"/>
                <a:gd name="T5" fmla="*/ 830 h 1289"/>
                <a:gd name="T6" fmla="*/ 1547 w 2237"/>
                <a:gd name="T7" fmla="*/ 349 h 1289"/>
                <a:gd name="T8" fmla="*/ 1556 w 2237"/>
                <a:gd name="T9" fmla="*/ 388 h 1289"/>
                <a:gd name="T10" fmla="*/ 1557 w 2237"/>
                <a:gd name="T11" fmla="*/ 430 h 1289"/>
                <a:gd name="T12" fmla="*/ 1551 w 2237"/>
                <a:gd name="T13" fmla="*/ 464 h 1289"/>
                <a:gd name="T14" fmla="*/ 798 w 2237"/>
                <a:gd name="T15" fmla="*/ 488 h 1289"/>
                <a:gd name="T16" fmla="*/ 776 w 2237"/>
                <a:gd name="T17" fmla="*/ 495 h 1289"/>
                <a:gd name="T18" fmla="*/ 761 w 2237"/>
                <a:gd name="T19" fmla="*/ 513 h 1289"/>
                <a:gd name="T20" fmla="*/ 759 w 2237"/>
                <a:gd name="T21" fmla="*/ 537 h 1289"/>
                <a:gd name="T22" fmla="*/ 770 w 2237"/>
                <a:gd name="T23" fmla="*/ 557 h 1289"/>
                <a:gd name="T24" fmla="*/ 790 w 2237"/>
                <a:gd name="T25" fmla="*/ 568 h 1289"/>
                <a:gd name="T26" fmla="*/ 1568 w 2237"/>
                <a:gd name="T27" fmla="*/ 568 h 1289"/>
                <a:gd name="T28" fmla="*/ 1589 w 2237"/>
                <a:gd name="T29" fmla="*/ 555 h 1289"/>
                <a:gd name="T30" fmla="*/ 2063 w 2237"/>
                <a:gd name="T31" fmla="*/ 81 h 1289"/>
                <a:gd name="T32" fmla="*/ 2069 w 2237"/>
                <a:gd name="T33" fmla="*/ 82 h 1289"/>
                <a:gd name="T34" fmla="*/ 2104 w 2237"/>
                <a:gd name="T35" fmla="*/ 99 h 1289"/>
                <a:gd name="T36" fmla="*/ 2142 w 2237"/>
                <a:gd name="T37" fmla="*/ 134 h 1289"/>
                <a:gd name="T38" fmla="*/ 2156 w 2237"/>
                <a:gd name="T39" fmla="*/ 158 h 1289"/>
                <a:gd name="T40" fmla="*/ 2158 w 2237"/>
                <a:gd name="T41" fmla="*/ 175 h 1289"/>
                <a:gd name="T42" fmla="*/ 2174 w 2237"/>
                <a:gd name="T43" fmla="*/ 52 h 1289"/>
                <a:gd name="T44" fmla="*/ 2125 w 2237"/>
                <a:gd name="T45" fmla="*/ 17 h 1289"/>
                <a:gd name="T46" fmla="*/ 2080 w 2237"/>
                <a:gd name="T47" fmla="*/ 2 h 1289"/>
                <a:gd name="T48" fmla="*/ 2044 w 2237"/>
                <a:gd name="T49" fmla="*/ 3 h 1289"/>
                <a:gd name="T50" fmla="*/ 2017 w 2237"/>
                <a:gd name="T51" fmla="*/ 15 h 1289"/>
                <a:gd name="T52" fmla="*/ 1635 w 2237"/>
                <a:gd name="T53" fmla="*/ 379 h 1289"/>
                <a:gd name="T54" fmla="*/ 1627 w 2237"/>
                <a:gd name="T55" fmla="*/ 337 h 1289"/>
                <a:gd name="T56" fmla="*/ 1616 w 2237"/>
                <a:gd name="T57" fmla="*/ 306 h 1289"/>
                <a:gd name="T58" fmla="*/ 1597 w 2237"/>
                <a:gd name="T59" fmla="*/ 276 h 1289"/>
                <a:gd name="T60" fmla="*/ 1580 w 2237"/>
                <a:gd name="T61" fmla="*/ 262 h 1289"/>
                <a:gd name="T62" fmla="*/ 1563 w 2237"/>
                <a:gd name="T63" fmla="*/ 257 h 1289"/>
                <a:gd name="T64" fmla="*/ 558 w 2237"/>
                <a:gd name="T65" fmla="*/ 260 h 1289"/>
                <a:gd name="T66" fmla="*/ 11 w 2237"/>
                <a:gd name="T67" fmla="*/ 802 h 1289"/>
                <a:gd name="T68" fmla="*/ 0 w 2237"/>
                <a:gd name="T69" fmla="*/ 822 h 1289"/>
                <a:gd name="T70" fmla="*/ 3 w 2237"/>
                <a:gd name="T71" fmla="*/ 846 h 1289"/>
                <a:gd name="T72" fmla="*/ 430 w 2237"/>
                <a:gd name="T73" fmla="*/ 1277 h 1289"/>
                <a:gd name="T74" fmla="*/ 451 w 2237"/>
                <a:gd name="T75" fmla="*/ 1288 h 1289"/>
                <a:gd name="T76" fmla="*/ 474 w 2237"/>
                <a:gd name="T77" fmla="*/ 1285 h 1289"/>
                <a:gd name="T78" fmla="*/ 817 w 2237"/>
                <a:gd name="T79" fmla="*/ 946 h 1289"/>
                <a:gd name="T80" fmla="*/ 1501 w 2237"/>
                <a:gd name="T81" fmla="*/ 943 h 1289"/>
                <a:gd name="T82" fmla="*/ 2219 w 2237"/>
                <a:gd name="T83" fmla="*/ 229 h 1289"/>
                <a:gd name="T84" fmla="*/ 2232 w 2237"/>
                <a:gd name="T85" fmla="*/ 209 h 1289"/>
                <a:gd name="T86" fmla="*/ 2237 w 2237"/>
                <a:gd name="T87" fmla="*/ 176 h 1289"/>
                <a:gd name="T88" fmla="*/ 2235 w 2237"/>
                <a:gd name="T89" fmla="*/ 146 h 1289"/>
                <a:gd name="T90" fmla="*/ 2224 w 2237"/>
                <a:gd name="T91" fmla="*/ 114 h 1289"/>
                <a:gd name="T92" fmla="*/ 2200 w 2237"/>
                <a:gd name="T93" fmla="*/ 80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37" h="1289">
                  <a:moveTo>
                    <a:pt x="2157" y="178"/>
                  </a:moveTo>
                  <a:lnTo>
                    <a:pt x="1470" y="866"/>
                  </a:lnTo>
                  <a:lnTo>
                    <a:pt x="802" y="866"/>
                  </a:lnTo>
                  <a:lnTo>
                    <a:pt x="794" y="867"/>
                  </a:lnTo>
                  <a:lnTo>
                    <a:pt x="786" y="869"/>
                  </a:lnTo>
                  <a:lnTo>
                    <a:pt x="779" y="872"/>
                  </a:lnTo>
                  <a:lnTo>
                    <a:pt x="772" y="878"/>
                  </a:lnTo>
                  <a:lnTo>
                    <a:pt x="459" y="1193"/>
                  </a:lnTo>
                  <a:lnTo>
                    <a:pt x="97" y="830"/>
                  </a:lnTo>
                  <a:lnTo>
                    <a:pt x="589" y="337"/>
                  </a:lnTo>
                  <a:lnTo>
                    <a:pt x="1542" y="337"/>
                  </a:lnTo>
                  <a:lnTo>
                    <a:pt x="1547" y="349"/>
                  </a:lnTo>
                  <a:lnTo>
                    <a:pt x="1552" y="365"/>
                  </a:lnTo>
                  <a:lnTo>
                    <a:pt x="1554" y="375"/>
                  </a:lnTo>
                  <a:lnTo>
                    <a:pt x="1556" y="388"/>
                  </a:lnTo>
                  <a:lnTo>
                    <a:pt x="1557" y="401"/>
                  </a:lnTo>
                  <a:lnTo>
                    <a:pt x="1557" y="417"/>
                  </a:lnTo>
                  <a:lnTo>
                    <a:pt x="1557" y="430"/>
                  </a:lnTo>
                  <a:lnTo>
                    <a:pt x="1556" y="444"/>
                  </a:lnTo>
                  <a:lnTo>
                    <a:pt x="1554" y="455"/>
                  </a:lnTo>
                  <a:lnTo>
                    <a:pt x="1551" y="464"/>
                  </a:lnTo>
                  <a:lnTo>
                    <a:pt x="1546" y="480"/>
                  </a:lnTo>
                  <a:lnTo>
                    <a:pt x="1540" y="488"/>
                  </a:lnTo>
                  <a:lnTo>
                    <a:pt x="798" y="488"/>
                  </a:lnTo>
                  <a:lnTo>
                    <a:pt x="790" y="490"/>
                  </a:lnTo>
                  <a:lnTo>
                    <a:pt x="783" y="492"/>
                  </a:lnTo>
                  <a:lnTo>
                    <a:pt x="776" y="495"/>
                  </a:lnTo>
                  <a:lnTo>
                    <a:pt x="770" y="501"/>
                  </a:lnTo>
                  <a:lnTo>
                    <a:pt x="766" y="506"/>
                  </a:lnTo>
                  <a:lnTo>
                    <a:pt x="761" y="513"/>
                  </a:lnTo>
                  <a:lnTo>
                    <a:pt x="759" y="521"/>
                  </a:lnTo>
                  <a:lnTo>
                    <a:pt x="759" y="529"/>
                  </a:lnTo>
                  <a:lnTo>
                    <a:pt x="759" y="537"/>
                  </a:lnTo>
                  <a:lnTo>
                    <a:pt x="761" y="544"/>
                  </a:lnTo>
                  <a:lnTo>
                    <a:pt x="766" y="551"/>
                  </a:lnTo>
                  <a:lnTo>
                    <a:pt x="770" y="557"/>
                  </a:lnTo>
                  <a:lnTo>
                    <a:pt x="776" y="562"/>
                  </a:lnTo>
                  <a:lnTo>
                    <a:pt x="783" y="566"/>
                  </a:lnTo>
                  <a:lnTo>
                    <a:pt x="790" y="568"/>
                  </a:lnTo>
                  <a:lnTo>
                    <a:pt x="798" y="569"/>
                  </a:lnTo>
                  <a:lnTo>
                    <a:pt x="1559" y="569"/>
                  </a:lnTo>
                  <a:lnTo>
                    <a:pt x="1568" y="568"/>
                  </a:lnTo>
                  <a:lnTo>
                    <a:pt x="1576" y="565"/>
                  </a:lnTo>
                  <a:lnTo>
                    <a:pt x="1583" y="560"/>
                  </a:lnTo>
                  <a:lnTo>
                    <a:pt x="1589" y="555"/>
                  </a:lnTo>
                  <a:lnTo>
                    <a:pt x="1591" y="553"/>
                  </a:lnTo>
                  <a:lnTo>
                    <a:pt x="1593" y="551"/>
                  </a:lnTo>
                  <a:lnTo>
                    <a:pt x="2063" y="81"/>
                  </a:lnTo>
                  <a:lnTo>
                    <a:pt x="2063" y="81"/>
                  </a:lnTo>
                  <a:lnTo>
                    <a:pt x="2064" y="81"/>
                  </a:lnTo>
                  <a:lnTo>
                    <a:pt x="2069" y="82"/>
                  </a:lnTo>
                  <a:lnTo>
                    <a:pt x="2083" y="87"/>
                  </a:lnTo>
                  <a:lnTo>
                    <a:pt x="2093" y="91"/>
                  </a:lnTo>
                  <a:lnTo>
                    <a:pt x="2104" y="99"/>
                  </a:lnTo>
                  <a:lnTo>
                    <a:pt x="2118" y="110"/>
                  </a:lnTo>
                  <a:lnTo>
                    <a:pt x="2133" y="125"/>
                  </a:lnTo>
                  <a:lnTo>
                    <a:pt x="2142" y="134"/>
                  </a:lnTo>
                  <a:lnTo>
                    <a:pt x="2149" y="143"/>
                  </a:lnTo>
                  <a:lnTo>
                    <a:pt x="2153" y="152"/>
                  </a:lnTo>
                  <a:lnTo>
                    <a:pt x="2156" y="158"/>
                  </a:lnTo>
                  <a:lnTo>
                    <a:pt x="2157" y="165"/>
                  </a:lnTo>
                  <a:lnTo>
                    <a:pt x="2158" y="171"/>
                  </a:lnTo>
                  <a:lnTo>
                    <a:pt x="2158" y="175"/>
                  </a:lnTo>
                  <a:lnTo>
                    <a:pt x="2157" y="178"/>
                  </a:lnTo>
                  <a:close/>
                  <a:moveTo>
                    <a:pt x="2190" y="68"/>
                  </a:moveTo>
                  <a:lnTo>
                    <a:pt x="2174" y="52"/>
                  </a:lnTo>
                  <a:lnTo>
                    <a:pt x="2157" y="39"/>
                  </a:lnTo>
                  <a:lnTo>
                    <a:pt x="2141" y="27"/>
                  </a:lnTo>
                  <a:lnTo>
                    <a:pt x="2125" y="17"/>
                  </a:lnTo>
                  <a:lnTo>
                    <a:pt x="2110" y="11"/>
                  </a:lnTo>
                  <a:lnTo>
                    <a:pt x="2094" y="5"/>
                  </a:lnTo>
                  <a:lnTo>
                    <a:pt x="2080" y="2"/>
                  </a:lnTo>
                  <a:lnTo>
                    <a:pt x="2065" y="0"/>
                  </a:lnTo>
                  <a:lnTo>
                    <a:pt x="2054" y="2"/>
                  </a:lnTo>
                  <a:lnTo>
                    <a:pt x="2044" y="3"/>
                  </a:lnTo>
                  <a:lnTo>
                    <a:pt x="2036" y="6"/>
                  </a:lnTo>
                  <a:lnTo>
                    <a:pt x="2028" y="8"/>
                  </a:lnTo>
                  <a:lnTo>
                    <a:pt x="2017" y="15"/>
                  </a:lnTo>
                  <a:lnTo>
                    <a:pt x="2011" y="21"/>
                  </a:lnTo>
                  <a:lnTo>
                    <a:pt x="1636" y="394"/>
                  </a:lnTo>
                  <a:lnTo>
                    <a:pt x="1635" y="379"/>
                  </a:lnTo>
                  <a:lnTo>
                    <a:pt x="1633" y="363"/>
                  </a:lnTo>
                  <a:lnTo>
                    <a:pt x="1631" y="350"/>
                  </a:lnTo>
                  <a:lnTo>
                    <a:pt x="1627" y="337"/>
                  </a:lnTo>
                  <a:lnTo>
                    <a:pt x="1624" y="326"/>
                  </a:lnTo>
                  <a:lnTo>
                    <a:pt x="1621" y="316"/>
                  </a:lnTo>
                  <a:lnTo>
                    <a:pt x="1616" y="306"/>
                  </a:lnTo>
                  <a:lnTo>
                    <a:pt x="1613" y="298"/>
                  </a:lnTo>
                  <a:lnTo>
                    <a:pt x="1604" y="285"/>
                  </a:lnTo>
                  <a:lnTo>
                    <a:pt x="1597" y="276"/>
                  </a:lnTo>
                  <a:lnTo>
                    <a:pt x="1591" y="269"/>
                  </a:lnTo>
                  <a:lnTo>
                    <a:pt x="1586" y="266"/>
                  </a:lnTo>
                  <a:lnTo>
                    <a:pt x="1580" y="262"/>
                  </a:lnTo>
                  <a:lnTo>
                    <a:pt x="1575" y="259"/>
                  </a:lnTo>
                  <a:lnTo>
                    <a:pt x="1568" y="258"/>
                  </a:lnTo>
                  <a:lnTo>
                    <a:pt x="1563" y="257"/>
                  </a:lnTo>
                  <a:lnTo>
                    <a:pt x="573" y="257"/>
                  </a:lnTo>
                  <a:lnTo>
                    <a:pt x="565" y="258"/>
                  </a:lnTo>
                  <a:lnTo>
                    <a:pt x="558" y="260"/>
                  </a:lnTo>
                  <a:lnTo>
                    <a:pt x="551" y="263"/>
                  </a:lnTo>
                  <a:lnTo>
                    <a:pt x="544" y="269"/>
                  </a:lnTo>
                  <a:lnTo>
                    <a:pt x="11" y="802"/>
                  </a:lnTo>
                  <a:lnTo>
                    <a:pt x="7" y="808"/>
                  </a:lnTo>
                  <a:lnTo>
                    <a:pt x="3" y="815"/>
                  </a:lnTo>
                  <a:lnTo>
                    <a:pt x="0" y="822"/>
                  </a:lnTo>
                  <a:lnTo>
                    <a:pt x="0" y="830"/>
                  </a:lnTo>
                  <a:lnTo>
                    <a:pt x="0" y="838"/>
                  </a:lnTo>
                  <a:lnTo>
                    <a:pt x="3" y="846"/>
                  </a:lnTo>
                  <a:lnTo>
                    <a:pt x="7" y="852"/>
                  </a:lnTo>
                  <a:lnTo>
                    <a:pt x="11" y="858"/>
                  </a:lnTo>
                  <a:lnTo>
                    <a:pt x="430" y="1277"/>
                  </a:lnTo>
                  <a:lnTo>
                    <a:pt x="437" y="1282"/>
                  </a:lnTo>
                  <a:lnTo>
                    <a:pt x="443" y="1285"/>
                  </a:lnTo>
                  <a:lnTo>
                    <a:pt x="451" y="1288"/>
                  </a:lnTo>
                  <a:lnTo>
                    <a:pt x="459" y="1289"/>
                  </a:lnTo>
                  <a:lnTo>
                    <a:pt x="467" y="1288"/>
                  </a:lnTo>
                  <a:lnTo>
                    <a:pt x="474" y="1285"/>
                  </a:lnTo>
                  <a:lnTo>
                    <a:pt x="480" y="1282"/>
                  </a:lnTo>
                  <a:lnTo>
                    <a:pt x="487" y="1277"/>
                  </a:lnTo>
                  <a:lnTo>
                    <a:pt x="817" y="946"/>
                  </a:lnTo>
                  <a:lnTo>
                    <a:pt x="1486" y="946"/>
                  </a:lnTo>
                  <a:lnTo>
                    <a:pt x="1494" y="945"/>
                  </a:lnTo>
                  <a:lnTo>
                    <a:pt x="1501" y="943"/>
                  </a:lnTo>
                  <a:lnTo>
                    <a:pt x="1508" y="940"/>
                  </a:lnTo>
                  <a:lnTo>
                    <a:pt x="1514" y="934"/>
                  </a:lnTo>
                  <a:lnTo>
                    <a:pt x="2219" y="229"/>
                  </a:lnTo>
                  <a:lnTo>
                    <a:pt x="2223" y="225"/>
                  </a:lnTo>
                  <a:lnTo>
                    <a:pt x="2226" y="220"/>
                  </a:lnTo>
                  <a:lnTo>
                    <a:pt x="2232" y="209"/>
                  </a:lnTo>
                  <a:lnTo>
                    <a:pt x="2235" y="193"/>
                  </a:lnTo>
                  <a:lnTo>
                    <a:pt x="2237" y="185"/>
                  </a:lnTo>
                  <a:lnTo>
                    <a:pt x="2237" y="176"/>
                  </a:lnTo>
                  <a:lnTo>
                    <a:pt x="2237" y="166"/>
                  </a:lnTo>
                  <a:lnTo>
                    <a:pt x="2237" y="157"/>
                  </a:lnTo>
                  <a:lnTo>
                    <a:pt x="2235" y="146"/>
                  </a:lnTo>
                  <a:lnTo>
                    <a:pt x="2233" y="136"/>
                  </a:lnTo>
                  <a:lnTo>
                    <a:pt x="2228" y="125"/>
                  </a:lnTo>
                  <a:lnTo>
                    <a:pt x="2224" y="114"/>
                  </a:lnTo>
                  <a:lnTo>
                    <a:pt x="2217" y="102"/>
                  </a:lnTo>
                  <a:lnTo>
                    <a:pt x="2209" y="91"/>
                  </a:lnTo>
                  <a:lnTo>
                    <a:pt x="2200" y="80"/>
                  </a:lnTo>
                  <a:lnTo>
                    <a:pt x="219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38"/>
            <p:cNvSpPr>
              <a:spLocks noEditPoints="1"/>
            </p:cNvSpPr>
            <p:nvPr/>
          </p:nvSpPr>
          <p:spPr bwMode="auto">
            <a:xfrm>
              <a:off x="6772275" y="4589463"/>
              <a:ext cx="279400" cy="277813"/>
            </a:xfrm>
            <a:custGeom>
              <a:avLst/>
              <a:gdLst>
                <a:gd name="T0" fmla="*/ 79 w 879"/>
                <a:gd name="T1" fmla="*/ 800 h 879"/>
                <a:gd name="T2" fmla="*/ 800 w 879"/>
                <a:gd name="T3" fmla="*/ 800 h 879"/>
                <a:gd name="T4" fmla="*/ 800 w 879"/>
                <a:gd name="T5" fmla="*/ 80 h 879"/>
                <a:gd name="T6" fmla="*/ 79 w 879"/>
                <a:gd name="T7" fmla="*/ 80 h 879"/>
                <a:gd name="T8" fmla="*/ 79 w 879"/>
                <a:gd name="T9" fmla="*/ 800 h 879"/>
                <a:gd name="T10" fmla="*/ 839 w 879"/>
                <a:gd name="T11" fmla="*/ 879 h 879"/>
                <a:gd name="T12" fmla="*/ 40 w 879"/>
                <a:gd name="T13" fmla="*/ 879 h 879"/>
                <a:gd name="T14" fmla="*/ 31 w 879"/>
                <a:gd name="T15" fmla="*/ 879 h 879"/>
                <a:gd name="T16" fmla="*/ 24 w 879"/>
                <a:gd name="T17" fmla="*/ 877 h 879"/>
                <a:gd name="T18" fmla="*/ 18 w 879"/>
                <a:gd name="T19" fmla="*/ 873 h 879"/>
                <a:gd name="T20" fmla="*/ 11 w 879"/>
                <a:gd name="T21" fmla="*/ 868 h 879"/>
                <a:gd name="T22" fmla="*/ 7 w 879"/>
                <a:gd name="T23" fmla="*/ 863 h 879"/>
                <a:gd name="T24" fmla="*/ 3 w 879"/>
                <a:gd name="T25" fmla="*/ 856 h 879"/>
                <a:gd name="T26" fmla="*/ 1 w 879"/>
                <a:gd name="T27" fmla="*/ 848 h 879"/>
                <a:gd name="T28" fmla="*/ 0 w 879"/>
                <a:gd name="T29" fmla="*/ 840 h 879"/>
                <a:gd name="T30" fmla="*/ 0 w 879"/>
                <a:gd name="T31" fmla="*/ 40 h 879"/>
                <a:gd name="T32" fmla="*/ 1 w 879"/>
                <a:gd name="T33" fmla="*/ 32 h 879"/>
                <a:gd name="T34" fmla="*/ 3 w 879"/>
                <a:gd name="T35" fmla="*/ 24 h 879"/>
                <a:gd name="T36" fmla="*/ 7 w 879"/>
                <a:gd name="T37" fmla="*/ 17 h 879"/>
                <a:gd name="T38" fmla="*/ 11 w 879"/>
                <a:gd name="T39" fmla="*/ 12 h 879"/>
                <a:gd name="T40" fmla="*/ 18 w 879"/>
                <a:gd name="T41" fmla="*/ 6 h 879"/>
                <a:gd name="T42" fmla="*/ 24 w 879"/>
                <a:gd name="T43" fmla="*/ 3 h 879"/>
                <a:gd name="T44" fmla="*/ 31 w 879"/>
                <a:gd name="T45" fmla="*/ 1 h 879"/>
                <a:gd name="T46" fmla="*/ 40 w 879"/>
                <a:gd name="T47" fmla="*/ 0 h 879"/>
                <a:gd name="T48" fmla="*/ 839 w 879"/>
                <a:gd name="T49" fmla="*/ 0 h 879"/>
                <a:gd name="T50" fmla="*/ 847 w 879"/>
                <a:gd name="T51" fmla="*/ 1 h 879"/>
                <a:gd name="T52" fmla="*/ 855 w 879"/>
                <a:gd name="T53" fmla="*/ 3 h 879"/>
                <a:gd name="T54" fmla="*/ 862 w 879"/>
                <a:gd name="T55" fmla="*/ 6 h 879"/>
                <a:gd name="T56" fmla="*/ 868 w 879"/>
                <a:gd name="T57" fmla="*/ 12 h 879"/>
                <a:gd name="T58" fmla="*/ 873 w 879"/>
                <a:gd name="T59" fmla="*/ 17 h 879"/>
                <a:gd name="T60" fmla="*/ 876 w 879"/>
                <a:gd name="T61" fmla="*/ 24 h 879"/>
                <a:gd name="T62" fmla="*/ 878 w 879"/>
                <a:gd name="T63" fmla="*/ 32 h 879"/>
                <a:gd name="T64" fmla="*/ 879 w 879"/>
                <a:gd name="T65" fmla="*/ 40 h 879"/>
                <a:gd name="T66" fmla="*/ 879 w 879"/>
                <a:gd name="T67" fmla="*/ 840 h 879"/>
                <a:gd name="T68" fmla="*/ 878 w 879"/>
                <a:gd name="T69" fmla="*/ 848 h 879"/>
                <a:gd name="T70" fmla="*/ 876 w 879"/>
                <a:gd name="T71" fmla="*/ 856 h 879"/>
                <a:gd name="T72" fmla="*/ 873 w 879"/>
                <a:gd name="T73" fmla="*/ 863 h 879"/>
                <a:gd name="T74" fmla="*/ 868 w 879"/>
                <a:gd name="T75" fmla="*/ 868 h 879"/>
                <a:gd name="T76" fmla="*/ 862 w 879"/>
                <a:gd name="T77" fmla="*/ 873 h 879"/>
                <a:gd name="T78" fmla="*/ 855 w 879"/>
                <a:gd name="T79" fmla="*/ 877 h 879"/>
                <a:gd name="T80" fmla="*/ 847 w 879"/>
                <a:gd name="T81" fmla="*/ 879 h 879"/>
                <a:gd name="T82" fmla="*/ 839 w 879"/>
                <a:gd name="T83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9" h="879">
                  <a:moveTo>
                    <a:pt x="79" y="800"/>
                  </a:moveTo>
                  <a:lnTo>
                    <a:pt x="800" y="800"/>
                  </a:lnTo>
                  <a:lnTo>
                    <a:pt x="800" y="80"/>
                  </a:lnTo>
                  <a:lnTo>
                    <a:pt x="79" y="80"/>
                  </a:lnTo>
                  <a:lnTo>
                    <a:pt x="79" y="800"/>
                  </a:lnTo>
                  <a:close/>
                  <a:moveTo>
                    <a:pt x="839" y="879"/>
                  </a:moveTo>
                  <a:lnTo>
                    <a:pt x="40" y="879"/>
                  </a:lnTo>
                  <a:lnTo>
                    <a:pt x="31" y="879"/>
                  </a:lnTo>
                  <a:lnTo>
                    <a:pt x="24" y="877"/>
                  </a:lnTo>
                  <a:lnTo>
                    <a:pt x="18" y="873"/>
                  </a:lnTo>
                  <a:lnTo>
                    <a:pt x="11" y="868"/>
                  </a:lnTo>
                  <a:lnTo>
                    <a:pt x="7" y="863"/>
                  </a:lnTo>
                  <a:lnTo>
                    <a:pt x="3" y="856"/>
                  </a:lnTo>
                  <a:lnTo>
                    <a:pt x="1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2"/>
                  </a:lnTo>
                  <a:lnTo>
                    <a:pt x="18" y="6"/>
                  </a:lnTo>
                  <a:lnTo>
                    <a:pt x="24" y="3"/>
                  </a:lnTo>
                  <a:lnTo>
                    <a:pt x="31" y="1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1"/>
                  </a:lnTo>
                  <a:lnTo>
                    <a:pt x="855" y="3"/>
                  </a:lnTo>
                  <a:lnTo>
                    <a:pt x="862" y="6"/>
                  </a:lnTo>
                  <a:lnTo>
                    <a:pt x="868" y="12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40"/>
                  </a:lnTo>
                  <a:lnTo>
                    <a:pt x="879" y="840"/>
                  </a:lnTo>
                  <a:lnTo>
                    <a:pt x="878" y="848"/>
                  </a:lnTo>
                  <a:lnTo>
                    <a:pt x="876" y="856"/>
                  </a:lnTo>
                  <a:lnTo>
                    <a:pt x="873" y="863"/>
                  </a:lnTo>
                  <a:lnTo>
                    <a:pt x="868" y="868"/>
                  </a:lnTo>
                  <a:lnTo>
                    <a:pt x="862" y="873"/>
                  </a:lnTo>
                  <a:lnTo>
                    <a:pt x="855" y="877"/>
                  </a:lnTo>
                  <a:lnTo>
                    <a:pt x="847" y="879"/>
                  </a:lnTo>
                  <a:lnTo>
                    <a:pt x="839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6899275" y="4589463"/>
              <a:ext cx="25400" cy="277813"/>
            </a:xfrm>
            <a:custGeom>
              <a:avLst/>
              <a:gdLst>
                <a:gd name="T0" fmla="*/ 41 w 81"/>
                <a:gd name="T1" fmla="*/ 879 h 879"/>
                <a:gd name="T2" fmla="*/ 33 w 81"/>
                <a:gd name="T3" fmla="*/ 879 h 879"/>
                <a:gd name="T4" fmla="*/ 25 w 81"/>
                <a:gd name="T5" fmla="*/ 877 h 879"/>
                <a:gd name="T6" fmla="*/ 18 w 81"/>
                <a:gd name="T7" fmla="*/ 873 h 879"/>
                <a:gd name="T8" fmla="*/ 13 w 81"/>
                <a:gd name="T9" fmla="*/ 868 h 879"/>
                <a:gd name="T10" fmla="*/ 7 w 81"/>
                <a:gd name="T11" fmla="*/ 863 h 879"/>
                <a:gd name="T12" fmla="*/ 4 w 81"/>
                <a:gd name="T13" fmla="*/ 856 h 879"/>
                <a:gd name="T14" fmla="*/ 2 w 81"/>
                <a:gd name="T15" fmla="*/ 848 h 879"/>
                <a:gd name="T16" fmla="*/ 0 w 81"/>
                <a:gd name="T17" fmla="*/ 840 h 879"/>
                <a:gd name="T18" fmla="*/ 0 w 81"/>
                <a:gd name="T19" fmla="*/ 40 h 879"/>
                <a:gd name="T20" fmla="*/ 2 w 81"/>
                <a:gd name="T21" fmla="*/ 32 h 879"/>
                <a:gd name="T22" fmla="*/ 4 w 81"/>
                <a:gd name="T23" fmla="*/ 24 h 879"/>
                <a:gd name="T24" fmla="*/ 7 w 81"/>
                <a:gd name="T25" fmla="*/ 17 h 879"/>
                <a:gd name="T26" fmla="*/ 13 w 81"/>
                <a:gd name="T27" fmla="*/ 12 h 879"/>
                <a:gd name="T28" fmla="*/ 18 w 81"/>
                <a:gd name="T29" fmla="*/ 6 h 879"/>
                <a:gd name="T30" fmla="*/ 25 w 81"/>
                <a:gd name="T31" fmla="*/ 3 h 879"/>
                <a:gd name="T32" fmla="*/ 33 w 81"/>
                <a:gd name="T33" fmla="*/ 1 h 879"/>
                <a:gd name="T34" fmla="*/ 41 w 81"/>
                <a:gd name="T35" fmla="*/ 0 h 879"/>
                <a:gd name="T36" fmla="*/ 49 w 81"/>
                <a:gd name="T37" fmla="*/ 1 h 879"/>
                <a:gd name="T38" fmla="*/ 56 w 81"/>
                <a:gd name="T39" fmla="*/ 3 h 879"/>
                <a:gd name="T40" fmla="*/ 63 w 81"/>
                <a:gd name="T41" fmla="*/ 6 h 879"/>
                <a:gd name="T42" fmla="*/ 69 w 81"/>
                <a:gd name="T43" fmla="*/ 12 h 879"/>
                <a:gd name="T44" fmla="*/ 74 w 81"/>
                <a:gd name="T45" fmla="*/ 17 h 879"/>
                <a:gd name="T46" fmla="*/ 78 w 81"/>
                <a:gd name="T47" fmla="*/ 24 h 879"/>
                <a:gd name="T48" fmla="*/ 80 w 81"/>
                <a:gd name="T49" fmla="*/ 32 h 879"/>
                <a:gd name="T50" fmla="*/ 81 w 81"/>
                <a:gd name="T51" fmla="*/ 40 h 879"/>
                <a:gd name="T52" fmla="*/ 81 w 81"/>
                <a:gd name="T53" fmla="*/ 840 h 879"/>
                <a:gd name="T54" fmla="*/ 80 w 81"/>
                <a:gd name="T55" fmla="*/ 848 h 879"/>
                <a:gd name="T56" fmla="*/ 78 w 81"/>
                <a:gd name="T57" fmla="*/ 856 h 879"/>
                <a:gd name="T58" fmla="*/ 74 w 81"/>
                <a:gd name="T59" fmla="*/ 863 h 879"/>
                <a:gd name="T60" fmla="*/ 69 w 81"/>
                <a:gd name="T61" fmla="*/ 868 h 879"/>
                <a:gd name="T62" fmla="*/ 63 w 81"/>
                <a:gd name="T63" fmla="*/ 873 h 879"/>
                <a:gd name="T64" fmla="*/ 56 w 81"/>
                <a:gd name="T65" fmla="*/ 877 h 879"/>
                <a:gd name="T66" fmla="*/ 49 w 81"/>
                <a:gd name="T67" fmla="*/ 879 h 879"/>
                <a:gd name="T68" fmla="*/ 41 w 81"/>
                <a:gd name="T69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879">
                  <a:moveTo>
                    <a:pt x="41" y="879"/>
                  </a:moveTo>
                  <a:lnTo>
                    <a:pt x="33" y="879"/>
                  </a:lnTo>
                  <a:lnTo>
                    <a:pt x="25" y="877"/>
                  </a:lnTo>
                  <a:lnTo>
                    <a:pt x="18" y="873"/>
                  </a:lnTo>
                  <a:lnTo>
                    <a:pt x="13" y="868"/>
                  </a:lnTo>
                  <a:lnTo>
                    <a:pt x="7" y="863"/>
                  </a:lnTo>
                  <a:lnTo>
                    <a:pt x="4" y="856"/>
                  </a:lnTo>
                  <a:lnTo>
                    <a:pt x="2" y="848"/>
                  </a:lnTo>
                  <a:lnTo>
                    <a:pt x="0" y="8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lnTo>
                    <a:pt x="49" y="1"/>
                  </a:lnTo>
                  <a:lnTo>
                    <a:pt x="56" y="3"/>
                  </a:lnTo>
                  <a:lnTo>
                    <a:pt x="63" y="6"/>
                  </a:lnTo>
                  <a:lnTo>
                    <a:pt x="69" y="12"/>
                  </a:lnTo>
                  <a:lnTo>
                    <a:pt x="74" y="17"/>
                  </a:lnTo>
                  <a:lnTo>
                    <a:pt x="78" y="24"/>
                  </a:lnTo>
                  <a:lnTo>
                    <a:pt x="80" y="32"/>
                  </a:lnTo>
                  <a:lnTo>
                    <a:pt x="81" y="40"/>
                  </a:lnTo>
                  <a:lnTo>
                    <a:pt x="81" y="840"/>
                  </a:lnTo>
                  <a:lnTo>
                    <a:pt x="80" y="848"/>
                  </a:lnTo>
                  <a:lnTo>
                    <a:pt x="78" y="856"/>
                  </a:lnTo>
                  <a:lnTo>
                    <a:pt x="74" y="863"/>
                  </a:lnTo>
                  <a:lnTo>
                    <a:pt x="69" y="868"/>
                  </a:lnTo>
                  <a:lnTo>
                    <a:pt x="63" y="873"/>
                  </a:lnTo>
                  <a:lnTo>
                    <a:pt x="56" y="877"/>
                  </a:lnTo>
                  <a:lnTo>
                    <a:pt x="49" y="879"/>
                  </a:lnTo>
                  <a:lnTo>
                    <a:pt x="41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6772275" y="4716463"/>
              <a:ext cx="279400" cy="25400"/>
            </a:xfrm>
            <a:custGeom>
              <a:avLst/>
              <a:gdLst>
                <a:gd name="T0" fmla="*/ 839 w 879"/>
                <a:gd name="T1" fmla="*/ 80 h 80"/>
                <a:gd name="T2" fmla="*/ 40 w 879"/>
                <a:gd name="T3" fmla="*/ 80 h 80"/>
                <a:gd name="T4" fmla="*/ 31 w 879"/>
                <a:gd name="T5" fmla="*/ 79 h 80"/>
                <a:gd name="T6" fmla="*/ 24 w 879"/>
                <a:gd name="T7" fmla="*/ 76 h 80"/>
                <a:gd name="T8" fmla="*/ 18 w 879"/>
                <a:gd name="T9" fmla="*/ 73 h 80"/>
                <a:gd name="T10" fmla="*/ 11 w 879"/>
                <a:gd name="T11" fmla="*/ 69 h 80"/>
                <a:gd name="T12" fmla="*/ 7 w 879"/>
                <a:gd name="T13" fmla="*/ 62 h 80"/>
                <a:gd name="T14" fmla="*/ 3 w 879"/>
                <a:gd name="T15" fmla="*/ 55 h 80"/>
                <a:gd name="T16" fmla="*/ 1 w 879"/>
                <a:gd name="T17" fmla="*/ 48 h 80"/>
                <a:gd name="T18" fmla="*/ 0 w 879"/>
                <a:gd name="T19" fmla="*/ 39 h 80"/>
                <a:gd name="T20" fmla="*/ 1 w 879"/>
                <a:gd name="T21" fmla="*/ 32 h 80"/>
                <a:gd name="T22" fmla="*/ 3 w 879"/>
                <a:gd name="T23" fmla="*/ 24 h 80"/>
                <a:gd name="T24" fmla="*/ 7 w 879"/>
                <a:gd name="T25" fmla="*/ 17 h 80"/>
                <a:gd name="T26" fmla="*/ 11 w 879"/>
                <a:gd name="T27" fmla="*/ 11 h 80"/>
                <a:gd name="T28" fmla="*/ 18 w 879"/>
                <a:gd name="T29" fmla="*/ 7 h 80"/>
                <a:gd name="T30" fmla="*/ 24 w 879"/>
                <a:gd name="T31" fmla="*/ 2 h 80"/>
                <a:gd name="T32" fmla="*/ 31 w 879"/>
                <a:gd name="T33" fmla="*/ 0 h 80"/>
                <a:gd name="T34" fmla="*/ 40 w 879"/>
                <a:gd name="T35" fmla="*/ 0 h 80"/>
                <a:gd name="T36" fmla="*/ 839 w 879"/>
                <a:gd name="T37" fmla="*/ 0 h 80"/>
                <a:gd name="T38" fmla="*/ 847 w 879"/>
                <a:gd name="T39" fmla="*/ 0 h 80"/>
                <a:gd name="T40" fmla="*/ 855 w 879"/>
                <a:gd name="T41" fmla="*/ 2 h 80"/>
                <a:gd name="T42" fmla="*/ 862 w 879"/>
                <a:gd name="T43" fmla="*/ 7 h 80"/>
                <a:gd name="T44" fmla="*/ 868 w 879"/>
                <a:gd name="T45" fmla="*/ 11 h 80"/>
                <a:gd name="T46" fmla="*/ 873 w 879"/>
                <a:gd name="T47" fmla="*/ 17 h 80"/>
                <a:gd name="T48" fmla="*/ 876 w 879"/>
                <a:gd name="T49" fmla="*/ 24 h 80"/>
                <a:gd name="T50" fmla="*/ 878 w 879"/>
                <a:gd name="T51" fmla="*/ 32 h 80"/>
                <a:gd name="T52" fmla="*/ 879 w 879"/>
                <a:gd name="T53" fmla="*/ 39 h 80"/>
                <a:gd name="T54" fmla="*/ 878 w 879"/>
                <a:gd name="T55" fmla="*/ 48 h 80"/>
                <a:gd name="T56" fmla="*/ 876 w 879"/>
                <a:gd name="T57" fmla="*/ 55 h 80"/>
                <a:gd name="T58" fmla="*/ 873 w 879"/>
                <a:gd name="T59" fmla="*/ 62 h 80"/>
                <a:gd name="T60" fmla="*/ 868 w 879"/>
                <a:gd name="T61" fmla="*/ 69 h 80"/>
                <a:gd name="T62" fmla="*/ 862 w 879"/>
                <a:gd name="T63" fmla="*/ 73 h 80"/>
                <a:gd name="T64" fmla="*/ 855 w 879"/>
                <a:gd name="T65" fmla="*/ 76 h 80"/>
                <a:gd name="T66" fmla="*/ 847 w 879"/>
                <a:gd name="T67" fmla="*/ 79 h 80"/>
                <a:gd name="T68" fmla="*/ 839 w 879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9" h="80">
                  <a:moveTo>
                    <a:pt x="839" y="80"/>
                  </a:moveTo>
                  <a:lnTo>
                    <a:pt x="40" y="80"/>
                  </a:lnTo>
                  <a:lnTo>
                    <a:pt x="31" y="79"/>
                  </a:lnTo>
                  <a:lnTo>
                    <a:pt x="24" y="76"/>
                  </a:lnTo>
                  <a:lnTo>
                    <a:pt x="18" y="73"/>
                  </a:lnTo>
                  <a:lnTo>
                    <a:pt x="11" y="69"/>
                  </a:lnTo>
                  <a:lnTo>
                    <a:pt x="7" y="62"/>
                  </a:lnTo>
                  <a:lnTo>
                    <a:pt x="3" y="55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1" y="32"/>
                  </a:lnTo>
                  <a:lnTo>
                    <a:pt x="3" y="24"/>
                  </a:lnTo>
                  <a:lnTo>
                    <a:pt x="7" y="17"/>
                  </a:lnTo>
                  <a:lnTo>
                    <a:pt x="11" y="11"/>
                  </a:lnTo>
                  <a:lnTo>
                    <a:pt x="18" y="7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839" y="0"/>
                  </a:lnTo>
                  <a:lnTo>
                    <a:pt x="847" y="0"/>
                  </a:lnTo>
                  <a:lnTo>
                    <a:pt x="855" y="2"/>
                  </a:lnTo>
                  <a:lnTo>
                    <a:pt x="862" y="7"/>
                  </a:lnTo>
                  <a:lnTo>
                    <a:pt x="868" y="11"/>
                  </a:lnTo>
                  <a:lnTo>
                    <a:pt x="873" y="17"/>
                  </a:lnTo>
                  <a:lnTo>
                    <a:pt x="876" y="24"/>
                  </a:lnTo>
                  <a:lnTo>
                    <a:pt x="878" y="32"/>
                  </a:lnTo>
                  <a:lnTo>
                    <a:pt x="879" y="39"/>
                  </a:lnTo>
                  <a:lnTo>
                    <a:pt x="878" y="48"/>
                  </a:lnTo>
                  <a:lnTo>
                    <a:pt x="876" y="55"/>
                  </a:lnTo>
                  <a:lnTo>
                    <a:pt x="873" y="62"/>
                  </a:lnTo>
                  <a:lnTo>
                    <a:pt x="868" y="69"/>
                  </a:lnTo>
                  <a:lnTo>
                    <a:pt x="862" y="73"/>
                  </a:lnTo>
                  <a:lnTo>
                    <a:pt x="855" y="76"/>
                  </a:lnTo>
                  <a:lnTo>
                    <a:pt x="847" y="79"/>
                  </a:lnTo>
                  <a:lnTo>
                    <a:pt x="839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8" name="Oval 307"/>
          <p:cNvSpPr/>
          <p:nvPr/>
        </p:nvSpPr>
        <p:spPr>
          <a:xfrm>
            <a:off x="381676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1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09" name="Oval 308"/>
          <p:cNvSpPr/>
          <p:nvPr/>
        </p:nvSpPr>
        <p:spPr>
          <a:xfrm>
            <a:off x="381676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2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0" name="Oval 309"/>
          <p:cNvSpPr/>
          <p:nvPr/>
        </p:nvSpPr>
        <p:spPr>
          <a:xfrm>
            <a:off x="381676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3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81676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4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8499857" y="1513281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5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8499857" y="2386699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6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8499857" y="3260117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7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315" name="Oval 314"/>
          <p:cNvSpPr/>
          <p:nvPr/>
        </p:nvSpPr>
        <p:spPr>
          <a:xfrm>
            <a:off x="8499857" y="4133535"/>
            <a:ext cx="264597" cy="264597"/>
          </a:xfrm>
          <a:prstGeom prst="ellipse">
            <a:avLst/>
          </a:prstGeom>
          <a:solidFill>
            <a:srgbClr val="EEEEF2"/>
          </a:solidFill>
          <a:ln w="38100">
            <a:solidFill>
              <a:srgbClr val="7F8C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00" dirty="0" smtClean="0">
                <a:solidFill>
                  <a:srgbClr val="7F8C8D"/>
                </a:solidFill>
                <a:latin typeface="Calibri Light" panose="020F0302020204030204" pitchFamily="34" charset="0"/>
              </a:rPr>
              <a:t>8</a:t>
            </a:r>
            <a:endParaRPr lang="id-ID" sz="1000" dirty="0">
              <a:solidFill>
                <a:srgbClr val="7F8C8D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633446" y="5715000"/>
            <a:ext cx="600837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Authenticity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 </a:t>
            </a:r>
            <a:r>
              <a:rPr lang="fr-FR" sz="5400" b="1" cap="none" spc="0" dirty="0" err="1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effectiv</a:t>
            </a:r>
            <a:r>
              <a:rPr lang="fr-FR" sz="5400" b="1" cap="none" spc="0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glow rad="139700">
                    <a:schemeClr val="accent3">
                      <a:satMod val="175000"/>
                      <a:alpha val="40000"/>
                    </a:schemeClr>
                  </a:glow>
                </a:effectLst>
                <a:latin typeface="Yu Gothic Light" pitchFamily="34" charset="-128"/>
                <a:ea typeface="Yu Gothic Light" pitchFamily="34" charset="-128"/>
              </a:rPr>
              <a:t>.</a:t>
            </a:r>
            <a:endParaRPr lang="fr-FR" sz="5400" b="1" cap="none" spc="0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latin typeface="Yu Gothic Light" pitchFamily="34" charset="-128"/>
              <a:ea typeface="Yu Gothic Light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89403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Db7D5PqEaAy7wBu.yR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mo5aNd0kyuV0hakdJ_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WzKZuQyka7HEmn3qX9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Y3r1vTck2hXbVIcZxf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lsn5c9AUSAyPKEprGR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lsn5c9AUSAyPKEprGR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Y3r1vTck2hXbVIcZxf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yOmGT0TE.aY6zMxQrW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wDaUH20mX2QIkxJe_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6X2PnoQEOrhH_e7cLT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gZtGLaw0WzjSci4zJo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AXH6fHI0CMUCph1eXq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Zja6pVzk2V2t5jpPbA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AM.uCUakKJA9TWWEGp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atKx4BPE6tjT5DZEBz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VwdqlSQkSd.WDVeZaS8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asIGKs_UGOEWoccXLp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55k4Ps20W5H1NGyY3d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faHwhC_UGPhSo2PrwP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g2IXHoBU2j9yXHijKI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KnOnwbw0Kx4zXcdAHs_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pKfV1takGfaenIkJfM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afDQTw8EGAioVNh3C0.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nSk6KB1kOgvlFz_.gZ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oEuEfrq0.VYgxTJTyH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</TotalTime>
  <Words>1049</Words>
  <Application>Microsoft Office PowerPoint</Application>
  <PresentationFormat>Affichage à l'écran (4:3)</PresentationFormat>
  <Paragraphs>395</Paragraphs>
  <Slides>25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27" baseType="lpstr">
      <vt:lpstr>Thème Office</vt:lpstr>
      <vt:lpstr>think-cell Slide</vt:lpstr>
      <vt:lpstr>Présentation PowerPoint</vt:lpstr>
      <vt:lpstr>GOAL</vt:lpstr>
      <vt:lpstr>GOALS</vt:lpstr>
      <vt:lpstr>DataNest : La smart data !</vt:lpstr>
      <vt:lpstr>DataNest, c’est pour qui ?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’offre DataNest.</vt:lpstr>
      <vt:lpstr>Présentation PowerPoint</vt:lpstr>
      <vt:lpstr>Matrice SWO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yman</dc:creator>
  <cp:lastModifiedBy>Ayman</cp:lastModifiedBy>
  <cp:revision>24</cp:revision>
  <dcterms:created xsi:type="dcterms:W3CDTF">2015-02-07T09:42:15Z</dcterms:created>
  <dcterms:modified xsi:type="dcterms:W3CDTF">2015-02-07T11:03:10Z</dcterms:modified>
</cp:coreProperties>
</file>